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3"/>
  </p:notesMasterIdLst>
  <p:handoutMasterIdLst>
    <p:handoutMasterId r:id="rId14"/>
  </p:handoutMasterIdLst>
  <p:sldIdLst>
    <p:sldId id="358" r:id="rId2"/>
    <p:sldId id="2147473334" r:id="rId3"/>
    <p:sldId id="2147473352" r:id="rId4"/>
    <p:sldId id="2147473324" r:id="rId5"/>
    <p:sldId id="2147473345" r:id="rId6"/>
    <p:sldId id="2147473354" r:id="rId7"/>
    <p:sldId id="2147473340" r:id="rId8"/>
    <p:sldId id="2147473347" r:id="rId9"/>
    <p:sldId id="2147473331" r:id="rId10"/>
    <p:sldId id="2147473349" r:id="rId11"/>
    <p:sldId id="2147473353" r:id="rId12"/>
  </p:sldIdLst>
  <p:sldSz cx="9906000" cy="6858000" type="A4"/>
  <p:notesSz cx="6646863" cy="97774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080" userDrawn="1">
          <p15:clr>
            <a:srgbClr val="A4A3A4"/>
          </p15:clr>
        </p15:guide>
        <p15:guide id="2" pos="209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E3C"/>
    <a:srgbClr val="FAF7B8"/>
    <a:srgbClr val="FF5A00"/>
    <a:srgbClr val="0064C8"/>
    <a:srgbClr val="99D6EC"/>
    <a:srgbClr val="0098D0"/>
    <a:srgbClr val="B197D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3681" autoAdjust="0"/>
  </p:normalViewPr>
  <p:slideViewPr>
    <p:cSldViewPr snapToGrid="0">
      <p:cViewPr varScale="1">
        <p:scale>
          <a:sx n="65" d="100"/>
          <a:sy n="65" d="100"/>
        </p:scale>
        <p:origin x="1112" y="60"/>
      </p:cViewPr>
      <p:guideLst>
        <p:guide orient="horz" pos="414"/>
        <p:guide pos="126"/>
      </p:guideLst>
    </p:cSldViewPr>
  </p:slideViewPr>
  <p:notesTextViewPr>
    <p:cViewPr>
      <p:scale>
        <a:sx n="1" d="1"/>
        <a:sy n="1" d="1"/>
      </p:scale>
      <p:origin x="0" y="0"/>
    </p:cViewPr>
  </p:notesTextViewPr>
  <p:sorterViewPr>
    <p:cViewPr>
      <p:scale>
        <a:sx n="100" d="100"/>
        <a:sy n="100" d="100"/>
      </p:scale>
      <p:origin x="0" y="-1352"/>
    </p:cViewPr>
  </p:sorterViewPr>
  <p:notesViewPr>
    <p:cSldViewPr snapToGrid="0">
      <p:cViewPr varScale="1">
        <p:scale>
          <a:sx n="46" d="100"/>
          <a:sy n="46" d="100"/>
        </p:scale>
        <p:origin x="2808" y="36"/>
      </p:cViewPr>
      <p:guideLst>
        <p:guide orient="horz" pos="3080"/>
        <p:guide pos="209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880308" cy="488871"/>
          </a:xfrm>
          <a:prstGeom prst="rect">
            <a:avLst/>
          </a:prstGeom>
        </p:spPr>
        <p:txBody>
          <a:bodyPr vert="horz" lIns="90439" tIns="45219" rIns="90439" bIns="45219"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765019" y="2"/>
            <a:ext cx="2880308" cy="488871"/>
          </a:xfrm>
          <a:prstGeom prst="rect">
            <a:avLst/>
          </a:prstGeom>
        </p:spPr>
        <p:txBody>
          <a:bodyPr vert="horz" lIns="90439" tIns="45219" rIns="90439" bIns="45219" rtlCol="0"/>
          <a:lstStyle>
            <a:lvl1pPr algn="r">
              <a:defRPr sz="1200"/>
            </a:lvl1pPr>
          </a:lstStyle>
          <a:p>
            <a:r>
              <a:rPr lang="ja-JP" altLang="en-US" sz="140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286848"/>
            <a:ext cx="2880308" cy="488871"/>
          </a:xfrm>
          <a:prstGeom prst="rect">
            <a:avLst/>
          </a:prstGeom>
        </p:spPr>
        <p:txBody>
          <a:bodyPr vert="horz" lIns="90439" tIns="45219" rIns="90439" bIns="45219"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765019" y="9286848"/>
            <a:ext cx="2880308" cy="488871"/>
          </a:xfrm>
          <a:prstGeom prst="rect">
            <a:avLst/>
          </a:prstGeom>
        </p:spPr>
        <p:txBody>
          <a:bodyPr vert="horz" lIns="90439" tIns="45219" rIns="90439" bIns="45219"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880308" cy="488871"/>
          </a:xfrm>
          <a:prstGeom prst="rect">
            <a:avLst/>
          </a:prstGeom>
        </p:spPr>
        <p:txBody>
          <a:bodyPr vert="horz" lIns="90439" tIns="45219" rIns="90439" bIns="45219" rtlCol="0"/>
          <a:lstStyle>
            <a:lvl1pPr algn="l">
              <a:defRPr sz="1200"/>
            </a:lvl1pPr>
          </a:lstStyle>
          <a:p>
            <a:endParaRPr kumimoji="1" lang="ja-JP" altLang="en-US"/>
          </a:p>
        </p:txBody>
      </p:sp>
      <p:sp>
        <p:nvSpPr>
          <p:cNvPr id="3" name="日付プレースホルダー 2"/>
          <p:cNvSpPr>
            <a:spLocks noGrp="1"/>
          </p:cNvSpPr>
          <p:nvPr>
            <p:ph type="dt" idx="1"/>
          </p:nvPr>
        </p:nvSpPr>
        <p:spPr>
          <a:xfrm>
            <a:off x="3765019" y="2"/>
            <a:ext cx="2880308" cy="488871"/>
          </a:xfrm>
          <a:prstGeom prst="rect">
            <a:avLst/>
          </a:prstGeom>
        </p:spPr>
        <p:txBody>
          <a:bodyPr vert="horz" lIns="90439" tIns="45219" rIns="90439" bIns="45219" rtlCol="0"/>
          <a:lstStyle>
            <a:lvl1pPr algn="r">
              <a:defRPr sz="1400">
                <a:latin typeface="ＭＳ Ｐゴシック" pitchFamily="50" charset="-128"/>
                <a:ea typeface="ＭＳ Ｐゴシック" pitchFamily="50" charset="-128"/>
              </a:defRPr>
            </a:lvl1pPr>
          </a:lstStyle>
          <a:p>
            <a:r>
              <a:rPr lang="ja-JP" altLang="en-US"/>
              <a:t>機密性○</a:t>
            </a:r>
            <a:endParaRPr lang="en-US" altLang="ja-JP"/>
          </a:p>
        </p:txBody>
      </p:sp>
      <p:sp>
        <p:nvSpPr>
          <p:cNvPr id="4" name="スライド イメージ プレースホルダー 3"/>
          <p:cNvSpPr>
            <a:spLocks noGrp="1" noRot="1" noChangeAspect="1"/>
          </p:cNvSpPr>
          <p:nvPr>
            <p:ph type="sldImg" idx="2"/>
          </p:nvPr>
        </p:nvSpPr>
        <p:spPr>
          <a:xfrm>
            <a:off x="674688" y="731838"/>
            <a:ext cx="5297487" cy="3668712"/>
          </a:xfrm>
          <a:prstGeom prst="rect">
            <a:avLst/>
          </a:prstGeom>
          <a:noFill/>
          <a:ln w="12700">
            <a:solidFill>
              <a:prstClr val="black"/>
            </a:solidFill>
          </a:ln>
        </p:spPr>
        <p:txBody>
          <a:bodyPr vert="horz" lIns="90439" tIns="45219" rIns="90439" bIns="45219" rtlCol="0" anchor="ctr"/>
          <a:lstStyle/>
          <a:p>
            <a:endParaRPr lang="ja-JP" altLang="en-US"/>
          </a:p>
        </p:txBody>
      </p:sp>
      <p:sp>
        <p:nvSpPr>
          <p:cNvPr id="5" name="ノート プレースホルダー 4"/>
          <p:cNvSpPr>
            <a:spLocks noGrp="1"/>
          </p:cNvSpPr>
          <p:nvPr>
            <p:ph type="body" sz="quarter" idx="3"/>
          </p:nvPr>
        </p:nvSpPr>
        <p:spPr>
          <a:xfrm>
            <a:off x="664687" y="4644272"/>
            <a:ext cx="5317490" cy="4399836"/>
          </a:xfrm>
          <a:prstGeom prst="rect">
            <a:avLst/>
          </a:prstGeom>
        </p:spPr>
        <p:txBody>
          <a:bodyPr vert="horz" lIns="90439" tIns="45219" rIns="90439" bIns="4521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286848"/>
            <a:ext cx="2880308" cy="488871"/>
          </a:xfrm>
          <a:prstGeom prst="rect">
            <a:avLst/>
          </a:prstGeom>
        </p:spPr>
        <p:txBody>
          <a:bodyPr vert="horz" lIns="90439" tIns="45219" rIns="90439" bIns="4521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65019" y="9286848"/>
            <a:ext cx="2880308" cy="488871"/>
          </a:xfrm>
          <a:prstGeom prst="rect">
            <a:avLst/>
          </a:prstGeom>
        </p:spPr>
        <p:txBody>
          <a:bodyPr vert="horz" lIns="90439" tIns="45219" rIns="90439" bIns="45219"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9" name="ノート プレースホルダー 2">
            <a:extLst>
              <a:ext uri="{FF2B5EF4-FFF2-40B4-BE49-F238E27FC236}">
                <a16:creationId xmlns:a16="http://schemas.microsoft.com/office/drawing/2014/main" id="{37C7C809-A1B4-4B69-8031-D929DBD51DBE}"/>
              </a:ext>
            </a:extLst>
          </p:cNvPr>
          <p:cNvSpPr txBox="1">
            <a:spLocks/>
          </p:cNvSpPr>
          <p:nvPr/>
        </p:nvSpPr>
        <p:spPr>
          <a:xfrm>
            <a:off x="634924" y="4903180"/>
            <a:ext cx="5317490" cy="4447906"/>
          </a:xfrm>
          <a:prstGeom prst="rect">
            <a:avLst/>
          </a:prstGeom>
          <a:ln w="12700">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sz="1100" b="1">
                <a:latin typeface="+mn-ea"/>
              </a:rPr>
              <a:t>■資料説明の前に（国公募の背景などについて）</a:t>
            </a:r>
            <a:endParaRPr lang="en-US" altLang="ja-JP" sz="1100" b="1">
              <a:latin typeface="+mn-ea"/>
            </a:endParaRPr>
          </a:p>
          <a:p>
            <a:endParaRPr lang="en-US" altLang="ja-JP" sz="1100" b="1">
              <a:latin typeface="+mn-ea"/>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〇万博期間中の</a:t>
            </a:r>
            <a:r>
              <a:rPr lang="en-US" altLang="ja-JP" sz="1100">
                <a:latin typeface="Meiryo UI" panose="020B0604030504040204" pitchFamily="50" charset="-128"/>
                <a:ea typeface="Meiryo UI" panose="020B0604030504040204" pitchFamily="50" charset="-128"/>
                <a:cs typeface="Meiryo UI" panose="020B0604030504040204" pitchFamily="50" charset="-128"/>
              </a:rPr>
              <a:t>9</a:t>
            </a:r>
            <a:r>
              <a:rPr lang="ja-JP" altLang="en-US" sz="1100">
                <a:latin typeface="Meiryo UI" panose="020B0604030504040204" pitchFamily="50" charset="-128"/>
                <a:ea typeface="Meiryo UI" panose="020B0604030504040204" pitchFamily="50" charset="-128"/>
                <a:cs typeface="Meiryo UI" panose="020B0604030504040204" pitchFamily="50" charset="-128"/>
              </a:rPr>
              <a:t>月に国（経産省）が万博会場内で「</a:t>
            </a:r>
            <a:r>
              <a:rPr lang="en-US" altLang="ja-JP" sz="1100">
                <a:latin typeface="Meiryo UI" panose="020B0604030504040204" pitchFamily="50" charset="-128"/>
                <a:ea typeface="Meiryo UI" panose="020B0604030504040204" pitchFamily="50" charset="-128"/>
                <a:cs typeface="Meiryo UI" panose="020B0604030504040204" pitchFamily="50" charset="-128"/>
              </a:rPr>
              <a:t>Global Start-up Expo</a:t>
            </a:r>
            <a:r>
              <a:rPr lang="ja-JP" altLang="en-US" sz="1100">
                <a:latin typeface="Meiryo UI" panose="020B0604030504040204" pitchFamily="50" charset="-128"/>
                <a:ea typeface="Meiryo UI" panose="020B0604030504040204" pitchFamily="50" charset="-128"/>
                <a:cs typeface="Meiryo UI" panose="020B0604030504040204" pitchFamily="50" charset="-128"/>
              </a:rPr>
              <a:t>（</a:t>
            </a:r>
            <a:r>
              <a:rPr lang="en-US" altLang="ja-JP" sz="1100">
                <a:latin typeface="Meiryo UI" panose="020B0604030504040204" pitchFamily="50" charset="-128"/>
                <a:ea typeface="Meiryo UI" panose="020B0604030504040204" pitchFamily="50" charset="-128"/>
                <a:cs typeface="Meiryo UI" panose="020B0604030504040204" pitchFamily="50" charset="-128"/>
              </a:rPr>
              <a:t>GSE</a:t>
            </a:r>
            <a:r>
              <a:rPr lang="ja-JP" altLang="en-US" sz="1100">
                <a:latin typeface="Meiryo UI" panose="020B0604030504040204" pitchFamily="50" charset="-128"/>
                <a:ea typeface="Meiryo UI" panose="020B0604030504040204" pitchFamily="50" charset="-128"/>
                <a:cs typeface="Meiryo UI" panose="020B0604030504040204" pitchFamily="50" charset="-128"/>
              </a:rPr>
              <a:t>）　</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a:t>
            </a:r>
            <a:r>
              <a:rPr lang="en-US" altLang="ja-JP" sz="1100">
                <a:latin typeface="Meiryo UI" panose="020B0604030504040204" pitchFamily="50" charset="-128"/>
                <a:ea typeface="Meiryo UI" panose="020B0604030504040204" pitchFamily="50" charset="-128"/>
                <a:cs typeface="Meiryo UI" panose="020B0604030504040204" pitchFamily="50" charset="-128"/>
              </a:rPr>
              <a:t>2025</a:t>
            </a:r>
            <a:r>
              <a:rPr lang="ja-JP" altLang="en-US" sz="1100">
                <a:latin typeface="Meiryo UI" panose="020B0604030504040204" pitchFamily="50" charset="-128"/>
                <a:ea typeface="Meiryo UI" panose="020B0604030504040204" pitchFamily="50" charset="-128"/>
                <a:cs typeface="Meiryo UI" panose="020B0604030504040204" pitchFamily="50" charset="-128"/>
              </a:rPr>
              <a:t>」を実施（</a:t>
            </a:r>
            <a:r>
              <a:rPr lang="en-US" altLang="ja-JP" sz="1100">
                <a:latin typeface="Meiryo UI" panose="020B0604030504040204" pitchFamily="50" charset="-128"/>
                <a:ea typeface="Meiryo UI" panose="020B0604030504040204" pitchFamily="50" charset="-128"/>
                <a:cs typeface="Meiryo UI" panose="020B0604030504040204" pitchFamily="50" charset="-128"/>
              </a:rPr>
              <a:t>9</a:t>
            </a:r>
            <a:r>
              <a:rPr lang="ja-JP" altLang="en-US" sz="1100">
                <a:latin typeface="Meiryo UI" panose="020B0604030504040204" pitchFamily="50" charset="-128"/>
                <a:ea typeface="Meiryo UI" panose="020B0604030504040204" pitchFamily="50" charset="-128"/>
                <a:cs typeface="Meiryo UI" panose="020B0604030504040204" pitchFamily="50" charset="-128"/>
              </a:rPr>
              <a:t>月</a:t>
            </a:r>
            <a:r>
              <a:rPr lang="en-US" altLang="ja-JP" sz="1100">
                <a:latin typeface="Meiryo UI" panose="020B0604030504040204" pitchFamily="50" charset="-128"/>
                <a:ea typeface="Meiryo UI" panose="020B0604030504040204" pitchFamily="50" charset="-128"/>
                <a:cs typeface="Meiryo UI" panose="020B0604030504040204" pitchFamily="50" charset="-128"/>
              </a:rPr>
              <a:t>17</a:t>
            </a:r>
            <a:r>
              <a:rPr lang="ja-JP" altLang="en-US" sz="1100">
                <a:latin typeface="Meiryo UI" panose="020B0604030504040204" pitchFamily="50" charset="-128"/>
                <a:ea typeface="Meiryo UI" panose="020B0604030504040204" pitchFamily="50" charset="-128"/>
                <a:cs typeface="Meiryo UI" panose="020B0604030504040204" pitchFamily="50" charset="-128"/>
              </a:rPr>
              <a:t>、</a:t>
            </a:r>
            <a:r>
              <a:rPr lang="en-US" altLang="ja-JP" sz="1100">
                <a:latin typeface="Meiryo UI" panose="020B0604030504040204" pitchFamily="50" charset="-128"/>
                <a:ea typeface="Meiryo UI" panose="020B0604030504040204" pitchFamily="50" charset="-128"/>
                <a:cs typeface="Meiryo UI" panose="020B0604030504040204" pitchFamily="50" charset="-128"/>
              </a:rPr>
              <a:t>18</a:t>
            </a:r>
            <a:r>
              <a:rPr lang="ja-JP" altLang="en-US" sz="1100">
                <a:latin typeface="Meiryo UI" panose="020B0604030504040204" pitchFamily="50" charset="-128"/>
                <a:ea typeface="Meiryo UI" panose="020B0604030504040204" pitchFamily="50" charset="-128"/>
                <a:cs typeface="Meiryo UI" panose="020B0604030504040204" pitchFamily="50" charset="-128"/>
              </a:rPr>
              <a:t>日）</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大阪府・市においては、その週（</a:t>
            </a:r>
            <a:r>
              <a:rPr lang="en-US" altLang="ja-JP" sz="1100">
                <a:latin typeface="Meiryo UI" panose="020B0604030504040204" pitchFamily="50" charset="-128"/>
                <a:ea typeface="Meiryo UI" panose="020B0604030504040204" pitchFamily="50" charset="-128"/>
                <a:cs typeface="Meiryo UI" panose="020B0604030504040204" pitchFamily="50" charset="-128"/>
              </a:rPr>
              <a:t>9</a:t>
            </a:r>
            <a:r>
              <a:rPr lang="ja-JP" altLang="en-US" sz="1100">
                <a:latin typeface="Meiryo UI" panose="020B0604030504040204" pitchFamily="50" charset="-128"/>
                <a:ea typeface="Meiryo UI" panose="020B0604030504040204" pitchFamily="50" charset="-128"/>
                <a:cs typeface="Meiryo UI" panose="020B0604030504040204" pitchFamily="50" charset="-128"/>
              </a:rPr>
              <a:t>月</a:t>
            </a:r>
            <a:r>
              <a:rPr lang="en-US" altLang="ja-JP" sz="1100">
                <a:latin typeface="Meiryo UI" panose="020B0604030504040204" pitchFamily="50" charset="-128"/>
                <a:ea typeface="Meiryo UI" panose="020B0604030504040204" pitchFamily="50" charset="-128"/>
                <a:cs typeface="Meiryo UI" panose="020B0604030504040204" pitchFamily="50" charset="-128"/>
              </a:rPr>
              <a:t>16</a:t>
            </a:r>
            <a:r>
              <a:rPr lang="ja-JP" altLang="en-US" sz="1100">
                <a:latin typeface="Meiryo UI" panose="020B0604030504040204" pitchFamily="50" charset="-128"/>
                <a:ea typeface="Meiryo UI" panose="020B0604030504040204" pitchFamily="50" charset="-128"/>
                <a:cs typeface="Meiryo UI" panose="020B0604030504040204" pitchFamily="50" charset="-128"/>
              </a:rPr>
              <a:t>日（火）～</a:t>
            </a:r>
            <a:r>
              <a:rPr lang="en-US" altLang="ja-JP" sz="1100">
                <a:latin typeface="Meiryo UI" panose="020B0604030504040204" pitchFamily="50" charset="-128"/>
                <a:ea typeface="Meiryo UI" panose="020B0604030504040204" pitchFamily="50" charset="-128"/>
                <a:cs typeface="Meiryo UI" panose="020B0604030504040204" pitchFamily="50" charset="-128"/>
              </a:rPr>
              <a:t>19</a:t>
            </a:r>
            <a:r>
              <a:rPr lang="ja-JP" altLang="en-US" sz="1100">
                <a:latin typeface="Meiryo UI" panose="020B0604030504040204" pitchFamily="50" charset="-128"/>
                <a:ea typeface="Meiryo UI" panose="020B0604030504040204" pitchFamily="50" charset="-128"/>
                <a:cs typeface="Meiryo UI" panose="020B0604030504040204" pitchFamily="50" charset="-128"/>
              </a:rPr>
              <a:t>日（金））を「</a:t>
            </a:r>
            <a:r>
              <a:rPr lang="en-US" altLang="ja-JP" sz="1100">
                <a:latin typeface="Meiryo UI" panose="020B0604030504040204" pitchFamily="50" charset="-128"/>
                <a:ea typeface="Meiryo UI" panose="020B0604030504040204" pitchFamily="50" charset="-128"/>
                <a:cs typeface="Meiryo UI" panose="020B0604030504040204" pitchFamily="50" charset="-128"/>
              </a:rPr>
              <a:t>GSE</a:t>
            </a:r>
            <a:r>
              <a:rPr lang="ja-JP" altLang="en-US" sz="1100">
                <a:latin typeface="Meiryo UI" panose="020B0604030504040204" pitchFamily="50" charset="-128"/>
                <a:ea typeface="Meiryo UI" panose="020B0604030504040204" pitchFamily="50" charset="-128"/>
                <a:cs typeface="Meiryo UI" panose="020B0604030504040204" pitchFamily="50" charset="-128"/>
              </a:rPr>
              <a:t>ウィーク」とし、</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連携イベントを「うめきた」で実施</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各分野のキーパーソンや海外の投資家が登壇し、また来場者が</a:t>
            </a:r>
            <a:r>
              <a:rPr lang="en-US" altLang="ja-JP" sz="1100">
                <a:latin typeface="Meiryo UI" panose="020B0604030504040204" pitchFamily="50" charset="-128"/>
                <a:ea typeface="Meiryo UI" panose="020B0604030504040204" pitchFamily="50" charset="-128"/>
                <a:cs typeface="Meiryo UI" panose="020B0604030504040204" pitchFamily="50" charset="-128"/>
              </a:rPr>
              <a:t>6,000</a:t>
            </a:r>
            <a:r>
              <a:rPr lang="ja-JP" altLang="en-US" sz="1100">
                <a:latin typeface="Meiryo UI" panose="020B0604030504040204" pitchFamily="50" charset="-128"/>
                <a:ea typeface="Meiryo UI" panose="020B0604030504040204" pitchFamily="50" charset="-128"/>
                <a:cs typeface="Meiryo UI" panose="020B0604030504040204" pitchFamily="50" charset="-128"/>
              </a:rPr>
              <a:t>人を超える実績を</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あげるなど、高い評価を得た。</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〇府としては、</a:t>
            </a:r>
            <a:r>
              <a:rPr lang="en-US" altLang="ja-JP" sz="1100">
                <a:latin typeface="Meiryo UI" panose="020B0604030504040204" pitchFamily="50" charset="-128"/>
                <a:ea typeface="Meiryo UI" panose="020B0604030504040204" pitchFamily="50" charset="-128"/>
                <a:cs typeface="Meiryo UI" panose="020B0604030504040204" pitchFamily="50" charset="-128"/>
              </a:rPr>
              <a:t>2026</a:t>
            </a:r>
            <a:r>
              <a:rPr lang="ja-JP" altLang="en-US" sz="1100">
                <a:latin typeface="Meiryo UI" panose="020B0604030504040204" pitchFamily="50" charset="-128"/>
                <a:ea typeface="Meiryo UI" panose="020B0604030504040204" pitchFamily="50" charset="-128"/>
                <a:cs typeface="Meiryo UI" panose="020B0604030504040204" pitchFamily="50" charset="-128"/>
              </a:rPr>
              <a:t>年以降も、万博レガシーとして大阪で継続開催することを国に要望</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吉村知事からも石破前首相や岸田元首相等に対して、直接、訴えかけ）。</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一方で、国内各自治体からも、それぞれの地での開催を望む声が上がり、</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経産省として、その開催地選定にあたり、公平性を期する必要から公募実施を判断。</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応募資格は、大阪府（京阪神地区）を含む、「エコシステム拠点都市」に選定の</a:t>
            </a:r>
            <a:r>
              <a:rPr lang="en-US" altLang="ja-JP" sz="1100">
                <a:latin typeface="Meiryo UI" panose="020B0604030504040204" pitchFamily="50" charset="-128"/>
                <a:ea typeface="Meiryo UI" panose="020B0604030504040204" pitchFamily="50" charset="-128"/>
                <a:cs typeface="Meiryo UI" panose="020B0604030504040204" pitchFamily="50" charset="-128"/>
              </a:rPr>
              <a:t>13</a:t>
            </a:r>
            <a:r>
              <a:rPr lang="ja-JP" altLang="en-US" sz="1100">
                <a:latin typeface="Meiryo UI" panose="020B0604030504040204" pitchFamily="50" charset="-128"/>
                <a:ea typeface="Meiryo UI" panose="020B0604030504040204" pitchFamily="50" charset="-128"/>
                <a:cs typeface="Meiryo UI" panose="020B0604030504040204" pitchFamily="50" charset="-128"/>
              </a:rPr>
              <a:t>圏域。</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締切は本日</a:t>
            </a:r>
            <a:r>
              <a:rPr lang="en-US" altLang="ja-JP" sz="1100">
                <a:latin typeface="Meiryo UI" panose="020B0604030504040204" pitchFamily="50" charset="-128"/>
                <a:ea typeface="Meiryo UI" panose="020B0604030504040204" pitchFamily="50" charset="-128"/>
                <a:cs typeface="Meiryo UI" panose="020B0604030504040204" pitchFamily="50" charset="-128"/>
              </a:rPr>
              <a:t>12</a:t>
            </a:r>
            <a:r>
              <a:rPr lang="ja-JP" altLang="en-US" sz="1100">
                <a:latin typeface="Meiryo UI" panose="020B0604030504040204" pitchFamily="50" charset="-128"/>
                <a:ea typeface="Meiryo UI" panose="020B0604030504040204" pitchFamily="50" charset="-128"/>
                <a:cs typeface="Meiryo UI" panose="020B0604030504040204" pitchFamily="50" charset="-128"/>
              </a:rPr>
              <a:t>月</a:t>
            </a:r>
            <a:r>
              <a:rPr lang="en-US" altLang="ja-JP" sz="1100">
                <a:latin typeface="Meiryo UI" panose="020B0604030504040204" pitchFamily="50" charset="-128"/>
                <a:ea typeface="Meiryo UI" panose="020B0604030504040204" pitchFamily="50" charset="-128"/>
                <a:cs typeface="Meiryo UI" panose="020B0604030504040204" pitchFamily="50" charset="-128"/>
              </a:rPr>
              <a:t>19</a:t>
            </a:r>
            <a:r>
              <a:rPr lang="ja-JP" altLang="en-US" sz="1100">
                <a:latin typeface="Meiryo UI" panose="020B0604030504040204" pitchFamily="50" charset="-128"/>
                <a:ea typeface="Meiryo UI" panose="020B0604030504040204" pitchFamily="50" charset="-128"/>
                <a:cs typeface="Meiryo UI" panose="020B0604030504040204" pitchFamily="50" charset="-128"/>
              </a:rPr>
              <a:t>日で、別添資料で経産省に提出（採否決定：来年</a:t>
            </a:r>
            <a:r>
              <a:rPr lang="en-US" altLang="ja-JP" sz="1100">
                <a:latin typeface="Meiryo UI" panose="020B0604030504040204" pitchFamily="50" charset="-128"/>
                <a:ea typeface="Meiryo UI" panose="020B0604030504040204" pitchFamily="50" charset="-128"/>
                <a:cs typeface="Meiryo UI" panose="020B0604030504040204" pitchFamily="50" charset="-128"/>
              </a:rPr>
              <a:t>1</a:t>
            </a:r>
            <a:r>
              <a:rPr lang="ja-JP" altLang="en-US" sz="1100">
                <a:latin typeface="Meiryo UI" panose="020B0604030504040204" pitchFamily="50" charset="-128"/>
                <a:ea typeface="Meiryo UI" panose="020B0604030504040204" pitchFamily="50" charset="-128"/>
                <a:cs typeface="Meiryo UI" panose="020B0604030504040204" pitchFamily="50" charset="-128"/>
              </a:rPr>
              <a:t>月中旬）</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公募採択のメリット：</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今回の公募は、</a:t>
            </a:r>
            <a:r>
              <a:rPr lang="en-US" altLang="ja-JP" sz="1100">
                <a:latin typeface="Meiryo UI" panose="020B0604030504040204" pitchFamily="50" charset="-128"/>
                <a:ea typeface="Meiryo UI" panose="020B0604030504040204" pitchFamily="50" charset="-128"/>
                <a:cs typeface="Meiryo UI" panose="020B0604030504040204" pitchFamily="50" charset="-128"/>
              </a:rPr>
              <a:t>2026</a:t>
            </a:r>
            <a:r>
              <a:rPr lang="ja-JP" altLang="en-US" sz="1100">
                <a:latin typeface="Meiryo UI" panose="020B0604030504040204" pitchFamily="50" charset="-128"/>
                <a:ea typeface="Meiryo UI" panose="020B0604030504040204" pitchFamily="50" charset="-128"/>
                <a:cs typeface="Meiryo UI" panose="020B0604030504040204" pitchFamily="50" charset="-128"/>
              </a:rPr>
              <a:t>年及び</a:t>
            </a:r>
            <a:r>
              <a:rPr lang="en-US" altLang="ja-JP" sz="1100">
                <a:latin typeface="Meiryo UI" panose="020B0604030504040204" pitchFamily="50" charset="-128"/>
                <a:ea typeface="Meiryo UI" panose="020B0604030504040204" pitchFamily="50" charset="-128"/>
                <a:cs typeface="Meiryo UI" panose="020B0604030504040204" pitchFamily="50" charset="-128"/>
              </a:rPr>
              <a:t>2027</a:t>
            </a:r>
            <a:r>
              <a:rPr lang="ja-JP" altLang="en-US" sz="1100">
                <a:latin typeface="Meiryo UI" panose="020B0604030504040204" pitchFamily="50" charset="-128"/>
                <a:ea typeface="Meiryo UI" panose="020B0604030504040204" pitchFamily="50" charset="-128"/>
                <a:cs typeface="Meiryo UI" panose="020B0604030504040204" pitchFamily="50" charset="-128"/>
              </a:rPr>
              <a:t>年の２か年に亘ることが想定されており、採択されれば</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a:t>
            </a:r>
            <a:r>
              <a:rPr lang="en-US" altLang="ja-JP" sz="1100">
                <a:latin typeface="Meiryo UI" panose="020B0604030504040204" pitchFamily="50" charset="-128"/>
                <a:ea typeface="Meiryo UI" panose="020B0604030504040204" pitchFamily="50" charset="-128"/>
                <a:cs typeface="Meiryo UI" panose="020B0604030504040204" pitchFamily="50" charset="-128"/>
              </a:rPr>
              <a:t>Global Start-up Expo</a:t>
            </a:r>
            <a:r>
              <a:rPr lang="ja-JP" altLang="en-US" sz="1100">
                <a:latin typeface="Meiryo UI" panose="020B0604030504040204" pitchFamily="50" charset="-128"/>
                <a:ea typeface="Meiryo UI" panose="020B0604030504040204" pitchFamily="50" charset="-128"/>
                <a:cs typeface="Meiryo UI" panose="020B0604030504040204" pitchFamily="50" charset="-128"/>
              </a:rPr>
              <a:t>（</a:t>
            </a:r>
            <a:r>
              <a:rPr lang="en-US" altLang="ja-JP" sz="1100">
                <a:latin typeface="Meiryo UI" panose="020B0604030504040204" pitchFamily="50" charset="-128"/>
                <a:ea typeface="Meiryo UI" panose="020B0604030504040204" pitchFamily="50" charset="-128"/>
                <a:cs typeface="Meiryo UI" panose="020B0604030504040204" pitchFamily="50" charset="-128"/>
              </a:rPr>
              <a:t>GSE</a:t>
            </a:r>
            <a:r>
              <a:rPr lang="ja-JP" altLang="en-US" sz="1100">
                <a:latin typeface="Meiryo UI" panose="020B0604030504040204" pitchFamily="50" charset="-128"/>
                <a:ea typeface="Meiryo UI" panose="020B0604030504040204" pitchFamily="50" charset="-128"/>
                <a:cs typeface="Meiryo UI" panose="020B0604030504040204" pitchFamily="50" charset="-128"/>
              </a:rPr>
              <a:t>）」の冠を使用することが可能</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 「</a:t>
            </a:r>
            <a:r>
              <a:rPr lang="en-US" altLang="ja-JP" sz="1100">
                <a:latin typeface="Meiryo UI" panose="020B0604030504040204" pitchFamily="50" charset="-128"/>
                <a:ea typeface="Meiryo UI" panose="020B0604030504040204" pitchFamily="50" charset="-128"/>
                <a:cs typeface="Meiryo UI" panose="020B0604030504040204" pitchFamily="50" charset="-128"/>
              </a:rPr>
              <a:t>GSE</a:t>
            </a:r>
            <a:r>
              <a:rPr lang="ja-JP" altLang="en-US" sz="1100">
                <a:latin typeface="Meiryo UI" panose="020B0604030504040204" pitchFamily="50" charset="-128"/>
                <a:ea typeface="Meiryo UI" panose="020B0604030504040204" pitchFamily="50" charset="-128"/>
                <a:cs typeface="Meiryo UI" panose="020B0604030504040204" pitchFamily="50" charset="-128"/>
              </a:rPr>
              <a:t>」ブランドは、万博で海外にも認知）</a:t>
            </a:r>
          </a:p>
          <a:p>
            <a:r>
              <a:rPr lang="ja-JP" altLang="en-US" sz="1100">
                <a:latin typeface="Meiryo UI" panose="020B0604030504040204" pitchFamily="50" charset="-128"/>
                <a:ea typeface="Meiryo UI" panose="020B0604030504040204" pitchFamily="50" charset="-128"/>
                <a:cs typeface="Meiryo UI" panose="020B0604030504040204" pitchFamily="50" charset="-128"/>
              </a:rPr>
              <a:t>　　＊公募要件に明記はないが、経済産業省は、打ち合わせの中で、「海外からの関係者の招</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a:latin typeface="Meiryo UI" panose="020B0604030504040204" pitchFamily="50" charset="-128"/>
                <a:ea typeface="Meiryo UI" panose="020B0604030504040204" pitchFamily="50" charset="-128"/>
                <a:cs typeface="Meiryo UI" panose="020B0604030504040204" pitchFamily="50" charset="-128"/>
              </a:rPr>
              <a:t>　　　　へい（</a:t>
            </a:r>
            <a:r>
              <a:rPr lang="en-US" altLang="ja-JP" sz="1100">
                <a:latin typeface="Meiryo UI" panose="020B0604030504040204" pitchFamily="50" charset="-128"/>
                <a:ea typeface="Meiryo UI" panose="020B0604030504040204" pitchFamily="50" charset="-128"/>
                <a:cs typeface="Meiryo UI" panose="020B0604030504040204" pitchFamily="50" charset="-128"/>
              </a:rPr>
              <a:t>100</a:t>
            </a:r>
            <a:r>
              <a:rPr lang="ja-JP" altLang="en-US" sz="1100">
                <a:latin typeface="Meiryo UI" panose="020B0604030504040204" pitchFamily="50" charset="-128"/>
                <a:ea typeface="Meiryo UI" panose="020B0604030504040204" pitchFamily="50" charset="-128"/>
                <a:cs typeface="Meiryo UI" panose="020B0604030504040204" pitchFamily="50" charset="-128"/>
              </a:rPr>
              <a:t>名程度）を予算（</a:t>
            </a:r>
            <a:r>
              <a:rPr lang="en-US" altLang="ja-JP" sz="1100">
                <a:latin typeface="Meiryo UI" panose="020B0604030504040204" pitchFamily="50" charset="-128"/>
                <a:ea typeface="Meiryo UI" panose="020B0604030504040204" pitchFamily="50" charset="-128"/>
                <a:cs typeface="Meiryo UI" panose="020B0604030504040204" pitchFamily="50" charset="-128"/>
              </a:rPr>
              <a:t>2</a:t>
            </a:r>
            <a:r>
              <a:rPr lang="ja-JP" altLang="en-US" sz="1100">
                <a:latin typeface="Meiryo UI" panose="020B0604030504040204" pitchFamily="50" charset="-128"/>
                <a:ea typeface="Meiryo UI" panose="020B0604030504040204" pitchFamily="50" charset="-128"/>
                <a:cs typeface="Meiryo UI" panose="020B0604030504040204" pitchFamily="50" charset="-128"/>
              </a:rPr>
              <a:t>億円）でサポート」することを示唆</a:t>
            </a:r>
          </a:p>
          <a:p>
            <a:pPr>
              <a:lnSpc>
                <a:spcPts val="1275"/>
              </a:lnSpc>
            </a:pP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〇「過去の開催実績（特に来場者（海外招へい））」や「予算規模」等の公募条件を考える</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と、東京都や福岡市が優位にあり、府としては厳しい状況にあるが、それら他自治体・地域と</a:t>
            </a:r>
            <a:endParaRPr lang="en-US" altLang="ja-JP" sz="1100">
              <a:latin typeface="Meiryo UI" panose="020B0604030504040204" pitchFamily="50" charset="-128"/>
              <a:ea typeface="Meiryo UI" panose="020B0604030504040204" pitchFamily="50" charset="-128"/>
              <a:cs typeface="Meiryo UI" panose="020B0604030504040204" pitchFamily="50" charset="-128"/>
            </a:endParaRPr>
          </a:p>
          <a:p>
            <a:pPr>
              <a:lnSpc>
                <a:spcPts val="1275"/>
              </a:lnSpc>
            </a:pPr>
            <a:r>
              <a:rPr lang="ja-JP" altLang="en-US" sz="1100">
                <a:latin typeface="Meiryo UI" panose="020B0604030504040204" pitchFamily="50" charset="-128"/>
                <a:ea typeface="Meiryo UI" panose="020B0604030504040204" pitchFamily="50" charset="-128"/>
                <a:cs typeface="Meiryo UI" panose="020B0604030504040204" pitchFamily="50" charset="-128"/>
              </a:rPr>
              <a:t>　の差別化を図った打ち出しを行い、採択を勝ち取りたい。</a:t>
            </a:r>
          </a:p>
          <a:p>
            <a:endParaRPr lang="ja-JP" altLang="en-US" dirty="0"/>
          </a:p>
        </p:txBody>
      </p:sp>
      <p:sp>
        <p:nvSpPr>
          <p:cNvPr id="10" name="タイトル 1">
            <a:extLst>
              <a:ext uri="{FF2B5EF4-FFF2-40B4-BE49-F238E27FC236}">
                <a16:creationId xmlns:a16="http://schemas.microsoft.com/office/drawing/2014/main" id="{EAEC92C1-3EAB-41F9-8DE0-8CA024A70E46}"/>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30745116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7" name="ノート プレースホルダー 2">
            <a:extLst>
              <a:ext uri="{FF2B5EF4-FFF2-40B4-BE49-F238E27FC236}">
                <a16:creationId xmlns:a16="http://schemas.microsoft.com/office/drawing/2014/main" id="{DB26897B-2693-4B7E-B341-4C4786EA344E}"/>
              </a:ext>
            </a:extLst>
          </p:cNvPr>
          <p:cNvSpPr txBox="1">
            <a:spLocks/>
          </p:cNvSpPr>
          <p:nvPr/>
        </p:nvSpPr>
        <p:spPr>
          <a:xfrm>
            <a:off x="634924" y="5081291"/>
            <a:ext cx="5317490" cy="4399836"/>
          </a:xfrm>
          <a:prstGeom prst="rect">
            <a:avLst/>
          </a:prstGeom>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Ｐ１０（実施体制）</a:t>
            </a: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今回の公募では、産学官により構成される「実行委員会の組成」が要件とされている。</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そのため、大阪府・市が中心となり、関西一円の経済界、アカデミアなどともタッグを組</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み、「ナショナルイベント」の名にふさわしいイベントを企画・実施していきたい。</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a:t>
            </a:r>
            <a:r>
              <a:rPr lang="en-US" altLang="ja-JP">
                <a:latin typeface="Meiryo UI" panose="020B0604030504040204" pitchFamily="50" charset="-128"/>
                <a:ea typeface="Meiryo UI" panose="020B0604030504040204" pitchFamily="50" charset="-128"/>
                <a:cs typeface="Meiryo UI" panose="020B0604030504040204" pitchFamily="50" charset="-128"/>
              </a:rPr>
              <a:t>※</a:t>
            </a:r>
            <a:r>
              <a:rPr lang="ja-JP" altLang="en-US">
                <a:latin typeface="Meiryo UI" panose="020B0604030504040204" pitchFamily="50" charset="-128"/>
                <a:ea typeface="Meiryo UI" panose="020B0604030504040204" pitchFamily="50" charset="-128"/>
                <a:cs typeface="Meiryo UI" panose="020B0604030504040204" pitchFamily="50" charset="-128"/>
              </a:rPr>
              <a:t>）プロデューサー候補の「小村隆祐」氏は、起業家人材の育成を中心に、スタート</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アップ支援を展開されてこられており、「</a:t>
            </a:r>
            <a:r>
              <a:rPr lang="en-US" altLang="ja-JP">
                <a:latin typeface="Meiryo UI" panose="020B0604030504040204" pitchFamily="50" charset="-128"/>
                <a:ea typeface="Meiryo UI" panose="020B0604030504040204" pitchFamily="50" charset="-128"/>
                <a:cs typeface="Meiryo UI" panose="020B0604030504040204" pitchFamily="50" charset="-128"/>
              </a:rPr>
              <a:t>GSE2026</a:t>
            </a:r>
            <a:r>
              <a:rPr lang="ja-JP" altLang="en-US">
                <a:latin typeface="Meiryo UI" panose="020B0604030504040204" pitchFamily="50" charset="-128"/>
                <a:ea typeface="Meiryo UI" panose="020B0604030504040204" pitchFamily="50" charset="-128"/>
                <a:cs typeface="Meiryo UI" panose="020B0604030504040204" pitchFamily="50" charset="-128"/>
              </a:rPr>
              <a:t>」では、「海外からの人材（投</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資家等）招へい」のところでの‘目利き（人選）’を中心とした役割を期待してい</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る。</a:t>
            </a:r>
          </a:p>
          <a:p>
            <a:endParaRPr lang="ja-JP" altLang="en-US" dirty="0"/>
          </a:p>
        </p:txBody>
      </p:sp>
      <p:sp>
        <p:nvSpPr>
          <p:cNvPr id="8" name="タイトル 1">
            <a:extLst>
              <a:ext uri="{FF2B5EF4-FFF2-40B4-BE49-F238E27FC236}">
                <a16:creationId xmlns:a16="http://schemas.microsoft.com/office/drawing/2014/main" id="{13AD7A97-B1AE-48E3-A034-156F390462E5}"/>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3759735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9" name="ノート プレースホルダー 2">
            <a:extLst>
              <a:ext uri="{FF2B5EF4-FFF2-40B4-BE49-F238E27FC236}">
                <a16:creationId xmlns:a16="http://schemas.microsoft.com/office/drawing/2014/main" id="{BEA9529E-998C-4EBD-AA82-FEB113E6EC84}"/>
              </a:ext>
            </a:extLst>
          </p:cNvPr>
          <p:cNvSpPr txBox="1">
            <a:spLocks/>
          </p:cNvSpPr>
          <p:nvPr/>
        </p:nvSpPr>
        <p:spPr>
          <a:xfrm>
            <a:off x="664687" y="5148539"/>
            <a:ext cx="5317490" cy="4399836"/>
          </a:xfrm>
          <a:prstGeom prst="rect">
            <a:avLst/>
          </a:prstGeom>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Ｐ１１（過去実績）</a:t>
            </a: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a:t>
            </a:r>
            <a:r>
              <a:rPr kumimoji="0" lang="ja-JP" altLang="en-US">
                <a:latin typeface="Meiryo UI" panose="020B0604030504040204" pitchFamily="50" charset="-128"/>
                <a:ea typeface="Meiryo UI" panose="020B0604030504040204" pitchFamily="50" charset="-128"/>
              </a:rPr>
              <a:t>大阪は、今年度、国実施の</a:t>
            </a:r>
            <a:r>
              <a:rPr kumimoji="0" lang="en-US" altLang="ja-JP">
                <a:latin typeface="Meiryo UI" panose="020B0604030504040204" pitchFamily="50" charset="-128"/>
                <a:ea typeface="Meiryo UI" panose="020B0604030504040204" pitchFamily="50" charset="-128"/>
              </a:rPr>
              <a:t>GSE2025</a:t>
            </a:r>
            <a:r>
              <a:rPr kumimoji="0" lang="ja-JP" altLang="en-US">
                <a:latin typeface="Meiryo UI" panose="020B0604030504040204" pitchFamily="50" charset="-128"/>
                <a:ea typeface="Meiryo UI" panose="020B0604030504040204" pitchFamily="50" charset="-128"/>
              </a:rPr>
              <a:t>にあわせて、大規模なグローバルスタートアップ</a:t>
            </a:r>
            <a:endParaRPr kumimoji="0" lang="en-US" altLang="ja-JP">
              <a:latin typeface="Meiryo UI" panose="020B0604030504040204" pitchFamily="50" charset="-128"/>
              <a:ea typeface="Meiryo UI" panose="020B0604030504040204" pitchFamily="50" charset="-128"/>
            </a:endParaRPr>
          </a:p>
          <a:p>
            <a:r>
              <a:rPr kumimoji="0" lang="ja-JP" altLang="en-US">
                <a:latin typeface="Meiryo UI" panose="020B0604030504040204" pitchFamily="50" charset="-128"/>
                <a:ea typeface="Meiryo UI" panose="020B0604030504040204" pitchFamily="50" charset="-128"/>
              </a:rPr>
              <a:t>　イベントを開催した実績があり、来場者数等の公募要件をクリアしている。</a:t>
            </a:r>
            <a:endParaRPr kumimoji="0" lang="en-US" altLang="ja-JP">
              <a:latin typeface="Meiryo UI" panose="020B0604030504040204" pitchFamily="50" charset="-128"/>
              <a:ea typeface="Meiryo UI" panose="020B0604030504040204" pitchFamily="50" charset="-128"/>
            </a:endParaRPr>
          </a:p>
          <a:p>
            <a:endParaRPr kumimoji="0" lang="en-US" altLang="ja-JP">
              <a:latin typeface="Meiryo UI" panose="020B0604030504040204" pitchFamily="50" charset="-128"/>
              <a:ea typeface="Meiryo UI" panose="020B0604030504040204" pitchFamily="50" charset="-128"/>
            </a:endParaRPr>
          </a:p>
          <a:p>
            <a:r>
              <a:rPr kumimoji="0" lang="ja-JP" altLang="en-US">
                <a:latin typeface="Meiryo UI" panose="020B0604030504040204" pitchFamily="50" charset="-128"/>
                <a:ea typeface="Meiryo UI" panose="020B0604030504040204" pitchFamily="50" charset="-128"/>
              </a:rPr>
              <a:t>〇これまでの経験を糧に、</a:t>
            </a:r>
            <a:r>
              <a:rPr kumimoji="0" lang="en-US" altLang="ja-JP">
                <a:latin typeface="Meiryo UI" panose="020B0604030504040204" pitchFamily="50" charset="-128"/>
                <a:ea typeface="Meiryo UI" panose="020B0604030504040204" pitchFamily="50" charset="-128"/>
              </a:rPr>
              <a:t>GSE2026</a:t>
            </a:r>
            <a:r>
              <a:rPr kumimoji="0" lang="ja-JP" altLang="en-US">
                <a:latin typeface="Meiryo UI" panose="020B0604030504040204" pitchFamily="50" charset="-128"/>
                <a:ea typeface="Meiryo UI" panose="020B0604030504040204" pitchFamily="50" charset="-128"/>
              </a:rPr>
              <a:t>を成功に導きます。</a:t>
            </a:r>
            <a:endParaRPr kumimoji="0" lang="en-US" altLang="ja-JP">
              <a:latin typeface="Meiryo UI" panose="020B0604030504040204" pitchFamily="50" charset="-128"/>
              <a:ea typeface="Meiryo UI" panose="020B0604030504040204" pitchFamily="50" charset="-128"/>
            </a:endParaRPr>
          </a:p>
          <a:p>
            <a:endParaRPr lang="ja-JP" altLang="en-US" dirty="0"/>
          </a:p>
        </p:txBody>
      </p:sp>
      <p:sp>
        <p:nvSpPr>
          <p:cNvPr id="10" name="タイトル 1">
            <a:extLst>
              <a:ext uri="{FF2B5EF4-FFF2-40B4-BE49-F238E27FC236}">
                <a16:creationId xmlns:a16="http://schemas.microsoft.com/office/drawing/2014/main" id="{2710F80D-2E80-4E73-94FF-730C89271E16}"/>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3218175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5" name="ノート プレースホルダー 2">
            <a:extLst>
              <a:ext uri="{FF2B5EF4-FFF2-40B4-BE49-F238E27FC236}">
                <a16:creationId xmlns:a16="http://schemas.microsoft.com/office/drawing/2014/main" id="{13C7F3AB-1EEB-4234-B79F-2A5EDB8767FC}"/>
              </a:ext>
            </a:extLst>
          </p:cNvPr>
          <p:cNvSpPr txBox="1">
            <a:spLocks/>
          </p:cNvSpPr>
          <p:nvPr/>
        </p:nvSpPr>
        <p:spPr>
          <a:xfrm>
            <a:off x="634924" y="4903180"/>
            <a:ext cx="5317490" cy="4447906"/>
          </a:xfrm>
          <a:prstGeom prst="rect">
            <a:avLst/>
          </a:prstGeom>
          <a:ln w="12700">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dirty="0">
                <a:latin typeface="+mn-ea"/>
              </a:rPr>
              <a:t>■資料「提案書」Ｐ２（全体ビジョン）</a:t>
            </a:r>
          </a:p>
          <a:p>
            <a:endParaRPr lang="en-US" altLang="ja-JP" dirty="0"/>
          </a:p>
          <a:p>
            <a:r>
              <a:rPr lang="ja-JP" altLang="en-US" dirty="0">
                <a:latin typeface="Meiryo UI" panose="020B0604030504040204" pitchFamily="50" charset="-128"/>
                <a:ea typeface="Meiryo UI" panose="020B0604030504040204" pitchFamily="50" charset="-128"/>
                <a:cs typeface="Meiryo UI" panose="020B0604030504040204" pitchFamily="50" charset="-128"/>
              </a:rPr>
              <a:t>〇今回の公募イベントのメインテーマは「ディープテック」とされている。</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先般、高市総理が発表された「国家戦略技術領域（</a:t>
            </a:r>
            <a:r>
              <a:rPr lang="en-US" altLang="ja-JP" dirty="0">
                <a:latin typeface="Meiryo UI" panose="020B0604030504040204" pitchFamily="50" charset="-128"/>
                <a:ea typeface="Meiryo UI" panose="020B0604030504040204" pitchFamily="50" charset="-128"/>
                <a:cs typeface="Meiryo UI" panose="020B0604030504040204" pitchFamily="50" charset="-128"/>
              </a:rPr>
              <a:t>※1</a:t>
            </a:r>
            <a:r>
              <a:rPr lang="ja-JP" altLang="en-US" dirty="0">
                <a:latin typeface="Meiryo UI" panose="020B0604030504040204" pitchFamily="50" charset="-128"/>
                <a:ea typeface="Meiryo UI" panose="020B0604030504040204" pitchFamily="50" charset="-128"/>
                <a:cs typeface="Meiryo UI" panose="020B0604030504040204" pitchFamily="50" charset="-128"/>
              </a:rPr>
              <a:t>）」の６分野すべてをテーマ</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として扱うことが公募要件の</a:t>
            </a:r>
            <a:r>
              <a:rPr lang="en-US" altLang="ja-JP" dirty="0">
                <a:latin typeface="Meiryo UI" panose="020B0604030504040204" pitchFamily="50" charset="-128"/>
                <a:ea typeface="Meiryo UI" panose="020B0604030504040204" pitchFamily="50" charset="-128"/>
                <a:cs typeface="Meiryo UI" panose="020B0604030504040204" pitchFamily="50" charset="-128"/>
              </a:rPr>
              <a:t>1</a:t>
            </a:r>
            <a:r>
              <a:rPr lang="ja-JP" altLang="en-US" dirty="0">
                <a:latin typeface="Meiryo UI" panose="020B0604030504040204" pitchFamily="50" charset="-128"/>
                <a:ea typeface="Meiryo UI" panose="020B0604030504040204" pitchFamily="50" charset="-128"/>
                <a:cs typeface="Meiryo UI" panose="020B0604030504040204" pitchFamily="50" charset="-128"/>
              </a:rPr>
              <a:t>つ</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 A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先端ロボット、半導体・通信、量子、バイオ・ヘルスケア、宇宙、フュージョンエネルギー</a:t>
            </a:r>
          </a:p>
          <a:p>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〇大阪・関西は、</a:t>
            </a:r>
            <a:r>
              <a:rPr lang="ja-JP" altLang="en-US" dirty="0">
                <a:latin typeface="Meiryo UI" panose="020B0604030504040204" pitchFamily="50" charset="-128"/>
                <a:ea typeface="Meiryo UI" panose="020B0604030504040204" pitchFamily="50" charset="-128"/>
              </a:rPr>
              <a:t>バイオ・ヘルスケア、フュージョン、量子などに強みがあるので、十分、これ</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らを基軸に据えることができ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一方で、</a:t>
            </a:r>
            <a:r>
              <a:rPr lang="en-US" altLang="ja-JP" dirty="0">
                <a:latin typeface="Meiryo UI" panose="020B0604030504040204" pitchFamily="50" charset="-128"/>
                <a:ea typeface="Meiryo UI" panose="020B0604030504040204" pitchFamily="50" charset="-128"/>
              </a:rPr>
              <a:t>AI</a:t>
            </a:r>
            <a:r>
              <a:rPr lang="ja-JP" altLang="en-US" dirty="0">
                <a:latin typeface="Meiryo UI" panose="020B0604030504040204" pitchFamily="50" charset="-128"/>
                <a:ea typeface="Meiryo UI" panose="020B0604030504040204" pitchFamily="50" charset="-128"/>
              </a:rPr>
              <a:t>・半導体、宇宙といった分野は、正直なところ、強みに欠く。</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こうした分野は、</a:t>
            </a:r>
            <a:r>
              <a:rPr lang="ja-JP" altLang="en-US" dirty="0">
                <a:latin typeface="Meiryo UI" panose="020B0604030504040204" pitchFamily="50" charset="-128"/>
                <a:ea typeface="Meiryo UI" panose="020B0604030504040204" pitchFamily="50" charset="-128"/>
              </a:rPr>
              <a:t>それぞれを強みとする府県（</a:t>
            </a:r>
            <a:r>
              <a:rPr lang="en-US" altLang="ja-JP" dirty="0">
                <a:latin typeface="Meiryo UI" panose="020B0604030504040204" pitchFamily="50" charset="-128"/>
                <a:ea typeface="Meiryo UI" panose="020B0604030504040204" pitchFamily="50" charset="-128"/>
              </a:rPr>
              <a:t>AI</a:t>
            </a:r>
            <a:r>
              <a:rPr lang="ja-JP" altLang="en-US" dirty="0">
                <a:latin typeface="Meiryo UI" panose="020B0604030504040204" pitchFamily="50" charset="-128"/>
                <a:ea typeface="Meiryo UI" panose="020B0604030504040204" pitchFamily="50" charset="-128"/>
              </a:rPr>
              <a:t>：茨木県、半導体：北海道・広島</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県・熊本県、宇宙（愛知県））との連携により対応したい。</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今回公募の「</a:t>
            </a:r>
            <a:r>
              <a:rPr lang="en-US" altLang="ja-JP" dirty="0">
                <a:latin typeface="Meiryo UI" panose="020B0604030504040204" pitchFamily="50" charset="-128"/>
                <a:ea typeface="Meiryo UI" panose="020B0604030504040204" pitchFamily="50" charset="-128"/>
                <a:cs typeface="Meiryo UI" panose="020B0604030504040204" pitchFamily="50" charset="-128"/>
              </a:rPr>
              <a:t>GSE2026</a:t>
            </a:r>
            <a:r>
              <a:rPr lang="ja-JP" altLang="en-US" dirty="0">
                <a:latin typeface="Meiryo UI" panose="020B0604030504040204" pitchFamily="50" charset="-128"/>
                <a:ea typeface="Meiryo UI" panose="020B0604030504040204" pitchFamily="50" charset="-128"/>
                <a:cs typeface="Meiryo UI" panose="020B0604030504040204" pitchFamily="50" charset="-128"/>
              </a:rPr>
              <a:t>」は、「ナショナルイベント」としての実施が求められていること</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から、府としては、その趣旨を踏まえ、積極的に「他府県連携」を前面に打ち出したい</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ポイント。</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〇また、「大阪・関西万博の開催地」の強みを活かし、これまでに構築した国内外のネット</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ワークを最大限、活用して、魅力的な企画立案・国内外からの集客につなげたい。</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　現在、構築中の「万博技術実装化センター（仮称）」の取組みとの相乗効果も狙う。</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cs typeface="Meiryo UI" panose="020B0604030504040204" pitchFamily="50" charset="-128"/>
            </a:endParaRPr>
          </a:p>
          <a:p>
            <a:endParaRPr lang="en-US" altLang="ja-JP" dirty="0"/>
          </a:p>
          <a:p>
            <a:endParaRPr lang="ja-JP" altLang="en-US" dirty="0"/>
          </a:p>
        </p:txBody>
      </p:sp>
      <p:sp>
        <p:nvSpPr>
          <p:cNvPr id="6" name="タイトル 1">
            <a:extLst>
              <a:ext uri="{FF2B5EF4-FFF2-40B4-BE49-F238E27FC236}">
                <a16:creationId xmlns:a16="http://schemas.microsoft.com/office/drawing/2014/main" id="{8CA84280-EA07-456D-A8AE-A146B8528F60}"/>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114560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5" name="ノート プレースホルダー 2">
            <a:extLst>
              <a:ext uri="{FF2B5EF4-FFF2-40B4-BE49-F238E27FC236}">
                <a16:creationId xmlns:a16="http://schemas.microsoft.com/office/drawing/2014/main" id="{6EB9FFE5-DB82-44A2-B355-DFAB45CEAC7A}"/>
              </a:ext>
            </a:extLst>
          </p:cNvPr>
          <p:cNvSpPr txBox="1">
            <a:spLocks/>
          </p:cNvSpPr>
          <p:nvPr/>
        </p:nvSpPr>
        <p:spPr>
          <a:xfrm>
            <a:off x="634924" y="4903180"/>
            <a:ext cx="5317490" cy="4447906"/>
          </a:xfrm>
          <a:prstGeom prst="rect">
            <a:avLst/>
          </a:prstGeom>
          <a:ln w="12700">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dirty="0">
                <a:latin typeface="+mn-ea"/>
              </a:rPr>
              <a:t>■資料「提案書」Ｐ３（全体構成）</a:t>
            </a:r>
          </a:p>
          <a:p>
            <a:endParaRPr lang="en-US" altLang="ja-JP" dirty="0"/>
          </a:p>
          <a:p>
            <a:pPr algn="l"/>
            <a:r>
              <a:rPr lang="ja-JP" altLang="en-US" dirty="0">
                <a:latin typeface="Meiryo UI" panose="020B0604030504040204" pitchFamily="50" charset="-128"/>
                <a:ea typeface="Meiryo UI" panose="020B0604030504040204" pitchFamily="50" charset="-128"/>
                <a:cs typeface="Meiryo UI" panose="020B0604030504040204" pitchFamily="50" charset="-128"/>
              </a:rPr>
              <a:t>〇１０月中のイベント（</a:t>
            </a:r>
            <a:r>
              <a:rPr lang="en-US" altLang="ja-JP" dirty="0">
                <a:latin typeface="Meiryo UI" panose="020B0604030504040204" pitchFamily="50" charset="-128"/>
                <a:ea typeface="Meiryo UI" panose="020B0604030504040204" pitchFamily="50" charset="-128"/>
                <a:cs typeface="Meiryo UI" panose="020B0604030504040204" pitchFamily="50" charset="-128"/>
              </a:rPr>
              <a:t>3</a:t>
            </a:r>
            <a:r>
              <a:rPr lang="ja-JP" altLang="en-US" dirty="0">
                <a:latin typeface="Meiryo UI" panose="020B0604030504040204" pitchFamily="50" charset="-128"/>
                <a:ea typeface="Meiryo UI" panose="020B0604030504040204" pitchFamily="50" charset="-128"/>
                <a:cs typeface="Meiryo UI" panose="020B0604030504040204" pitchFamily="50" charset="-128"/>
              </a:rPr>
              <a:t>日間）を計画。</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gn="l"/>
            <a:r>
              <a:rPr lang="ja-JP" altLang="en-US" dirty="0">
                <a:latin typeface="Meiryo UI" panose="020B0604030504040204" pitchFamily="50" charset="-128"/>
                <a:ea typeface="Meiryo UI" panose="020B0604030504040204" pitchFamily="50" charset="-128"/>
                <a:cs typeface="Meiryo UI" panose="020B0604030504040204" pitchFamily="50" charset="-128"/>
              </a:rPr>
              <a:t>　大阪府・市連携に加え、産学官連携、特に</a:t>
            </a:r>
            <a:r>
              <a:rPr kumimoji="0" lang="ja-JP" altLang="en-US" dirty="0">
                <a:latin typeface="Meiryo UI" panose="020B0604030504040204" pitchFamily="50" charset="-128"/>
                <a:ea typeface="Meiryo UI" panose="020B0604030504040204" pitchFamily="50" charset="-128"/>
              </a:rPr>
              <a:t>国内の他府県が強みとする領域について、</a:t>
            </a:r>
            <a:endParaRPr kumimoji="0" lang="en-US" altLang="ja-JP" dirty="0">
              <a:latin typeface="Meiryo UI" panose="020B0604030504040204" pitchFamily="50" charset="-128"/>
              <a:ea typeface="Meiryo UI" panose="020B0604030504040204" pitchFamily="50" charset="-128"/>
            </a:endParaRPr>
          </a:p>
          <a:p>
            <a:pPr algn="l"/>
            <a:r>
              <a:rPr kumimoji="0" lang="ja-JP" altLang="en-US" dirty="0">
                <a:latin typeface="Meiryo UI" panose="020B0604030504040204" pitchFamily="50" charset="-128"/>
                <a:ea typeface="Meiryo UI" panose="020B0604030504040204" pitchFamily="50" charset="-128"/>
              </a:rPr>
              <a:t>　当該都市との連携を通じて総力を結集して取り組む</a:t>
            </a:r>
            <a:r>
              <a:rPr lang="ja-JP" altLang="en-US" dirty="0">
                <a:latin typeface="Meiryo UI" panose="020B0604030504040204" pitchFamily="50" charset="-128"/>
                <a:ea typeface="Meiryo UI" panose="020B0604030504040204" pitchFamily="50" charset="-128"/>
                <a:cs typeface="Meiryo UI" panose="020B0604030504040204" pitchFamily="50" charset="-128"/>
              </a:rPr>
              <a:t>予定。</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gn="l"/>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gn="l"/>
            <a:r>
              <a:rPr lang="ja-JP" altLang="en-US" dirty="0">
                <a:latin typeface="Meiryo UI" panose="020B0604030504040204" pitchFamily="50" charset="-128"/>
                <a:ea typeface="Meiryo UI" panose="020B0604030504040204" pitchFamily="50" charset="-128"/>
                <a:cs typeface="Meiryo UI" panose="020B0604030504040204" pitchFamily="50" charset="-128"/>
              </a:rPr>
              <a:t>〇また、１週間のイベントだけで終わるのではなく、</a:t>
            </a:r>
            <a:r>
              <a:rPr kumimoji="0" lang="ja-JP" altLang="en-US" dirty="0">
                <a:latin typeface="Meiryo UI" panose="020B0604030504040204" pitchFamily="50" charset="-128"/>
                <a:ea typeface="Meiryo UI" panose="020B0604030504040204" pitchFamily="50" charset="-128"/>
              </a:rPr>
              <a:t>大阪・関西万博を通じて構築した</a:t>
            </a:r>
            <a:endParaRPr kumimoji="0" lang="en-US" altLang="ja-JP" dirty="0">
              <a:latin typeface="Meiryo UI" panose="020B0604030504040204" pitchFamily="50" charset="-128"/>
              <a:ea typeface="Meiryo UI" panose="020B0604030504040204" pitchFamily="50" charset="-128"/>
            </a:endParaRPr>
          </a:p>
          <a:p>
            <a:pPr algn="l"/>
            <a:r>
              <a:rPr kumimoji="0" lang="ja-JP" altLang="en-US" dirty="0">
                <a:latin typeface="Meiryo UI" panose="020B0604030504040204" pitchFamily="50" charset="-128"/>
                <a:ea typeface="Meiryo UI" panose="020B0604030504040204" pitchFamily="50" charset="-128"/>
              </a:rPr>
              <a:t>　国内外との関係性・ネットワークを活用し、イベント前後も含めたプロモーションやフォロー</a:t>
            </a:r>
            <a:endParaRPr kumimoji="0" lang="en-US" altLang="ja-JP" dirty="0">
              <a:latin typeface="Meiryo UI" panose="020B0604030504040204" pitchFamily="50" charset="-128"/>
              <a:ea typeface="Meiryo UI" panose="020B0604030504040204" pitchFamily="50" charset="-128"/>
            </a:endParaRPr>
          </a:p>
          <a:p>
            <a:pPr algn="l"/>
            <a:r>
              <a:rPr kumimoji="0" lang="ja-JP" altLang="en-US" dirty="0">
                <a:latin typeface="Meiryo UI" panose="020B0604030504040204" pitchFamily="50" charset="-128"/>
                <a:ea typeface="Meiryo UI" panose="020B0604030504040204" pitchFamily="50" charset="-128"/>
              </a:rPr>
              <a:t>　アップなども展開することで、グローバルなエコシステムの構築をめざす。</a:t>
            </a:r>
            <a:endParaRPr lang="ja-JP" altLang="en-US" dirty="0">
              <a:latin typeface="Meiryo UI" panose="020B0604030504040204" pitchFamily="50" charset="-128"/>
              <a:ea typeface="Meiryo UI" panose="020B0604030504040204" pitchFamily="50" charset="-128"/>
              <a:cs typeface="Meiryo UI" panose="020B0604030504040204" pitchFamily="50" charset="-128"/>
            </a:endParaRPr>
          </a:p>
          <a:p>
            <a:endParaRPr lang="ja-JP" altLang="en-US" dirty="0"/>
          </a:p>
        </p:txBody>
      </p:sp>
      <p:sp>
        <p:nvSpPr>
          <p:cNvPr id="6" name="タイトル 1">
            <a:extLst>
              <a:ext uri="{FF2B5EF4-FFF2-40B4-BE49-F238E27FC236}">
                <a16:creationId xmlns:a16="http://schemas.microsoft.com/office/drawing/2014/main" id="{ABF12EAC-DE38-4B9D-8394-0041E50FB2D6}"/>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3016099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7" name="ノート プレースホルダー 2">
            <a:extLst>
              <a:ext uri="{FF2B5EF4-FFF2-40B4-BE49-F238E27FC236}">
                <a16:creationId xmlns:a16="http://schemas.microsoft.com/office/drawing/2014/main" id="{C4CB108D-9A32-4E11-BEF7-A27D84F829F6}"/>
              </a:ext>
            </a:extLst>
          </p:cNvPr>
          <p:cNvSpPr txBox="1">
            <a:spLocks/>
          </p:cNvSpPr>
          <p:nvPr/>
        </p:nvSpPr>
        <p:spPr>
          <a:xfrm>
            <a:off x="634924" y="5019167"/>
            <a:ext cx="5317490" cy="4399836"/>
          </a:xfrm>
          <a:prstGeom prst="rect">
            <a:avLst/>
          </a:prstGeom>
          <a:ln>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Ｐ４（具体の基調講演、セッション）及び</a:t>
            </a:r>
            <a:r>
              <a:rPr lang="en-US" altLang="ja-JP" b="1">
                <a:latin typeface="+mn-ea"/>
              </a:rPr>
              <a:t>P</a:t>
            </a:r>
            <a:r>
              <a:rPr lang="ja-JP" altLang="en-US" b="1">
                <a:latin typeface="+mn-ea"/>
              </a:rPr>
              <a:t>５（コンテンツ等）</a:t>
            </a: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万博期間中に来阪した、海外ミッション団からは、「ライフサイエンス」への関心の高さが</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窺えるなど、自他ともに大阪・関西におけるディープテック分野の高いポテンシャルが認め</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られた。</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各分野、それぞれをテーマとして設定し、吉野先生や山中先生、坂口先生など、</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ノーベル賞を受賞された先生方のほか、</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最前線で活躍されている澤先生などのお力もお借りしながら、国内のスタートアップと国</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内外の企業や投資家などのマッチング促進を行いたい。</a:t>
            </a:r>
          </a:p>
          <a:p>
            <a:endParaRPr lang="ja-JP" altLang="en-US" dirty="0"/>
          </a:p>
        </p:txBody>
      </p:sp>
      <p:sp>
        <p:nvSpPr>
          <p:cNvPr id="8" name="タイトル 1">
            <a:extLst>
              <a:ext uri="{FF2B5EF4-FFF2-40B4-BE49-F238E27FC236}">
                <a16:creationId xmlns:a16="http://schemas.microsoft.com/office/drawing/2014/main" id="{37277AB8-BCDB-4160-B369-096BF74F36D3}"/>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2986389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r>
              <a:rPr lang="ja-JP" altLang="en-US"/>
              <a:t>機密性○</a:t>
            </a:r>
            <a:endParaRPr lang="en-US" altLang="ja-JP"/>
          </a:p>
        </p:txBody>
      </p:sp>
      <p:sp>
        <p:nvSpPr>
          <p:cNvPr id="9" name="ノート プレースホルダー 2">
            <a:extLst>
              <a:ext uri="{FF2B5EF4-FFF2-40B4-BE49-F238E27FC236}">
                <a16:creationId xmlns:a16="http://schemas.microsoft.com/office/drawing/2014/main" id="{E07BC15B-2DF2-46E7-83AF-E3E39E2D412F}"/>
              </a:ext>
            </a:extLst>
          </p:cNvPr>
          <p:cNvSpPr txBox="1">
            <a:spLocks/>
          </p:cNvSpPr>
          <p:nvPr/>
        </p:nvSpPr>
        <p:spPr>
          <a:xfrm>
            <a:off x="664997" y="4930523"/>
            <a:ext cx="5316870" cy="4399133"/>
          </a:xfrm>
          <a:prstGeom prst="rect">
            <a:avLst/>
          </a:prstGeom>
          <a:ln>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Ｐ４（具体の基調講演、セッション）及び</a:t>
            </a:r>
            <a:r>
              <a:rPr lang="en-US" altLang="ja-JP" b="1">
                <a:latin typeface="+mn-ea"/>
              </a:rPr>
              <a:t>P</a:t>
            </a:r>
            <a:r>
              <a:rPr lang="ja-JP" altLang="en-US" b="1">
                <a:latin typeface="+mn-ea"/>
              </a:rPr>
              <a:t>５（コンテンツ等）</a:t>
            </a:r>
          </a:p>
          <a:p>
            <a:endParaRPr lang="en-US" altLang="ja-JP"/>
          </a:p>
          <a:p>
            <a:endParaRPr lang="en-US" altLang="ja-JP"/>
          </a:p>
          <a:p>
            <a:endParaRPr lang="en-US" altLang="ja-JP"/>
          </a:p>
          <a:p>
            <a:endParaRPr lang="en-US" altLang="ja-JP"/>
          </a:p>
          <a:p>
            <a:pPr algn="ctr"/>
            <a:r>
              <a:rPr lang="ja-JP" altLang="en-US"/>
              <a:t>（前ページ説明で包含）</a:t>
            </a:r>
            <a:endParaRPr lang="ja-JP" altLang="en-US" dirty="0"/>
          </a:p>
        </p:txBody>
      </p:sp>
      <p:sp>
        <p:nvSpPr>
          <p:cNvPr id="10" name="タイトル 1">
            <a:extLst>
              <a:ext uri="{FF2B5EF4-FFF2-40B4-BE49-F238E27FC236}">
                <a16:creationId xmlns:a16="http://schemas.microsoft.com/office/drawing/2014/main" id="{41F1C286-D279-40EB-9E3B-34FF5CD56B4C}"/>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2811027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日付プレースホルダー 3"/>
          <p:cNvSpPr>
            <a:spLocks noGrp="1"/>
          </p:cNvSpPr>
          <p:nvPr>
            <p:ph type="dt" idx="1"/>
          </p:nvPr>
        </p:nvSpPr>
        <p:spPr/>
        <p:txBody>
          <a:bodyPr/>
          <a:lstStyle/>
          <a:p>
            <a:pPr defTabSz="896681">
              <a:defRPr/>
            </a:pPr>
            <a:r>
              <a:rPr lang="ja-JP" altLang="en-US">
                <a:solidFill>
                  <a:prstClr val="black"/>
                </a:solidFill>
              </a:rPr>
              <a:t>機密性○</a:t>
            </a:r>
            <a:endParaRPr lang="en-US" altLang="ja-JP">
              <a:solidFill>
                <a:prstClr val="black"/>
              </a:solidFill>
            </a:endParaRPr>
          </a:p>
        </p:txBody>
      </p:sp>
      <p:sp>
        <p:nvSpPr>
          <p:cNvPr id="7" name="ノート プレースホルダー 2">
            <a:extLst>
              <a:ext uri="{FF2B5EF4-FFF2-40B4-BE49-F238E27FC236}">
                <a16:creationId xmlns:a16="http://schemas.microsoft.com/office/drawing/2014/main" id="{D9B6B868-F0B9-4360-835F-5A380EB09137}"/>
              </a:ext>
            </a:extLst>
          </p:cNvPr>
          <p:cNvSpPr txBox="1">
            <a:spLocks/>
          </p:cNvSpPr>
          <p:nvPr/>
        </p:nvSpPr>
        <p:spPr>
          <a:xfrm>
            <a:off x="664687" y="5053144"/>
            <a:ext cx="5317490" cy="4399836"/>
          </a:xfrm>
          <a:prstGeom prst="rect">
            <a:avLst/>
          </a:prstGeom>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Ｐ６（サイドイベント）</a:t>
            </a: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イベントは、関西の中心地・イノベーションの中心地である「うめきた」で実施。</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大阪府市のみならず、民間が実施するイベントも集中的に実施することで、重厚感のあ</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る発信を行う。</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endParaRPr lang="ja-JP" altLang="en-US" dirty="0"/>
          </a:p>
        </p:txBody>
      </p:sp>
      <p:sp>
        <p:nvSpPr>
          <p:cNvPr id="8" name="タイトル 1">
            <a:extLst>
              <a:ext uri="{FF2B5EF4-FFF2-40B4-BE49-F238E27FC236}">
                <a16:creationId xmlns:a16="http://schemas.microsoft.com/office/drawing/2014/main" id="{DDEAB0C8-9DF4-4A79-A691-ED9C9B2DD364}"/>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1337288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0BB82-0616-9A2B-FB4B-4133CAD8596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B7EB74A-B94B-5594-5D2F-14CF02E3829B}"/>
              </a:ext>
            </a:extLst>
          </p:cNvPr>
          <p:cNvSpPr>
            <a:spLocks noGrp="1" noRot="1" noChangeAspect="1"/>
          </p:cNvSpPr>
          <p:nvPr>
            <p:ph type="sldImg"/>
          </p:nvPr>
        </p:nvSpPr>
        <p:spPr/>
      </p:sp>
      <p:sp>
        <p:nvSpPr>
          <p:cNvPr id="4" name="スライド番号プレースホルダー 3">
            <a:extLst>
              <a:ext uri="{FF2B5EF4-FFF2-40B4-BE49-F238E27FC236}">
                <a16:creationId xmlns:a16="http://schemas.microsoft.com/office/drawing/2014/main" id="{332E8F94-182B-D584-86DB-3B125F6FDC07}"/>
              </a:ext>
            </a:extLst>
          </p:cNvPr>
          <p:cNvSpPr>
            <a:spLocks noGrp="1"/>
          </p:cNvSpPr>
          <p:nvPr>
            <p:ph type="sldNum" sz="quarter" idx="10"/>
          </p:nvPr>
        </p:nvSpPr>
        <p:spPr/>
        <p:txBody>
          <a:bodyPr/>
          <a:lstStyle/>
          <a:p>
            <a:fld id="{9A46D08D-8DBD-4A15-A6DF-A3E8EA9D69C1}" type="slidenum">
              <a:rPr kumimoji="1" lang="ja-JP" altLang="en-US" smtClean="0"/>
              <a:t>7</a:t>
            </a:fld>
            <a:endParaRPr kumimoji="1" lang="ja-JP" altLang="en-US"/>
          </a:p>
        </p:txBody>
      </p:sp>
      <p:sp>
        <p:nvSpPr>
          <p:cNvPr id="7" name="ノート プレースホルダー 2">
            <a:extLst>
              <a:ext uri="{FF2B5EF4-FFF2-40B4-BE49-F238E27FC236}">
                <a16:creationId xmlns:a16="http://schemas.microsoft.com/office/drawing/2014/main" id="{90AB310E-5CA9-44E2-A5B3-2C36031BFF37}"/>
              </a:ext>
            </a:extLst>
          </p:cNvPr>
          <p:cNvSpPr txBox="1">
            <a:spLocks/>
          </p:cNvSpPr>
          <p:nvPr/>
        </p:nvSpPr>
        <p:spPr>
          <a:xfrm>
            <a:off x="664687" y="5039514"/>
            <a:ext cx="5317490" cy="4399836"/>
          </a:xfrm>
          <a:prstGeom prst="rect">
            <a:avLst/>
          </a:prstGeom>
          <a:ln w="12700">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　</a:t>
            </a:r>
            <a:r>
              <a:rPr lang="en-US" altLang="ja-JP" b="1">
                <a:latin typeface="+mn-ea"/>
              </a:rPr>
              <a:t>P</a:t>
            </a:r>
            <a:r>
              <a:rPr lang="ja-JP" altLang="en-US" b="1">
                <a:latin typeface="+mn-ea"/>
              </a:rPr>
              <a:t>７（オンサイトツアー）</a:t>
            </a: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その一方で、関西一円の代表的な研究機関や施設等へのツアーも企画。そこに「観</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光」や「食」の要素も加えることで、全体の盛り上げ・関西の魅力発信にもつなげたい。</a:t>
            </a:r>
          </a:p>
          <a:p>
            <a:endParaRPr lang="ja-JP" altLang="en-US" dirty="0"/>
          </a:p>
        </p:txBody>
      </p:sp>
      <p:sp>
        <p:nvSpPr>
          <p:cNvPr id="8" name="タイトル 1">
            <a:extLst>
              <a:ext uri="{FF2B5EF4-FFF2-40B4-BE49-F238E27FC236}">
                <a16:creationId xmlns:a16="http://schemas.microsoft.com/office/drawing/2014/main" id="{40B71977-9E38-4528-9338-8D07BBEE3FCC}"/>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3597926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8</a:t>
            </a:fld>
            <a:endParaRPr kumimoji="1" lang="ja-JP" altLang="en-US"/>
          </a:p>
        </p:txBody>
      </p:sp>
      <p:sp>
        <p:nvSpPr>
          <p:cNvPr id="9" name="ノート プレースホルダー 2">
            <a:extLst>
              <a:ext uri="{FF2B5EF4-FFF2-40B4-BE49-F238E27FC236}">
                <a16:creationId xmlns:a16="http://schemas.microsoft.com/office/drawing/2014/main" id="{1C57A751-6400-418D-B8E2-FFD7C6585B45}"/>
              </a:ext>
            </a:extLst>
          </p:cNvPr>
          <p:cNvSpPr txBox="1">
            <a:spLocks/>
          </p:cNvSpPr>
          <p:nvPr/>
        </p:nvSpPr>
        <p:spPr>
          <a:xfrm>
            <a:off x="664687" y="4985000"/>
            <a:ext cx="5317490" cy="4399836"/>
          </a:xfrm>
          <a:prstGeom prst="rect">
            <a:avLst/>
          </a:prstGeom>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a:latin typeface="+mn-ea"/>
              </a:rPr>
              <a:t>■資料「提案書」Ｐ８（海外ネットワーク）</a:t>
            </a:r>
          </a:p>
          <a:p>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大阪としては、京阪神地域として令和</a:t>
            </a:r>
            <a:r>
              <a:rPr lang="en-US" altLang="ja-JP">
                <a:latin typeface="Meiryo UI" panose="020B0604030504040204" pitchFamily="50" charset="-128"/>
                <a:ea typeface="Meiryo UI" panose="020B0604030504040204" pitchFamily="50" charset="-128"/>
                <a:cs typeface="Meiryo UI" panose="020B0604030504040204" pitchFamily="50" charset="-128"/>
              </a:rPr>
              <a:t>2</a:t>
            </a:r>
            <a:r>
              <a:rPr lang="ja-JP" altLang="en-US">
                <a:latin typeface="Meiryo UI" panose="020B0604030504040204" pitchFamily="50" charset="-128"/>
                <a:ea typeface="Meiryo UI" panose="020B0604030504040204" pitchFamily="50" charset="-128"/>
                <a:cs typeface="Meiryo UI" panose="020B0604030504040204" pitchFamily="50" charset="-128"/>
              </a:rPr>
              <a:t>年度に国の「グローバル拠点都市」に選定され、</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海外の</a:t>
            </a:r>
            <a:r>
              <a:rPr lang="en-US" altLang="ja-JP">
                <a:latin typeface="Meiryo UI" panose="020B0604030504040204" pitchFamily="50" charset="-128"/>
                <a:ea typeface="Meiryo UI" panose="020B0604030504040204" pitchFamily="50" charset="-128"/>
                <a:cs typeface="Meiryo UI" panose="020B0604030504040204" pitchFamily="50" charset="-128"/>
              </a:rPr>
              <a:t>VC</a:t>
            </a:r>
            <a:r>
              <a:rPr lang="ja-JP" altLang="en-US">
                <a:latin typeface="Meiryo UI" panose="020B0604030504040204" pitchFamily="50" charset="-128"/>
                <a:ea typeface="Meiryo UI" panose="020B0604030504040204" pitchFamily="50" charset="-128"/>
                <a:cs typeface="Meiryo UI" panose="020B0604030504040204" pitchFamily="50" charset="-128"/>
              </a:rPr>
              <a:t>等とのネットワーク形成に取り組んできた。</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〇加えて、大阪・関西万博を通じて、多くの国・地域と交流することで、新たな関係性も</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構築。</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r>
              <a:rPr lang="ja-JP" altLang="en-US">
                <a:latin typeface="Meiryo UI" panose="020B0604030504040204" pitchFamily="50" charset="-128"/>
                <a:ea typeface="Meiryo UI" panose="020B0604030504040204" pitchFamily="50" charset="-128"/>
                <a:cs typeface="Meiryo UI" panose="020B0604030504040204" pitchFamily="50" charset="-128"/>
              </a:rPr>
              <a:t>　　ここでは、大阪は十分グローバルな展開が可能であることを訴えたい。</a:t>
            </a:r>
            <a:endParaRPr lang="ja-JP" altLang="en-US" dirty="0"/>
          </a:p>
        </p:txBody>
      </p:sp>
      <p:sp>
        <p:nvSpPr>
          <p:cNvPr id="10" name="タイトル 1">
            <a:extLst>
              <a:ext uri="{FF2B5EF4-FFF2-40B4-BE49-F238E27FC236}">
                <a16:creationId xmlns:a16="http://schemas.microsoft.com/office/drawing/2014/main" id="{FA4D803C-3A9C-4027-B8A2-CD7D8F0897AF}"/>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spTree>
    <p:extLst>
      <p:ext uri="{BB962C8B-B14F-4D97-AF65-F5344CB8AC3E}">
        <p14:creationId xmlns:p14="http://schemas.microsoft.com/office/powerpoint/2010/main" val="690330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ノート プレースホルダー 2">
            <a:extLst>
              <a:ext uri="{FF2B5EF4-FFF2-40B4-BE49-F238E27FC236}">
                <a16:creationId xmlns:a16="http://schemas.microsoft.com/office/drawing/2014/main" id="{3B6702B2-31F5-47A5-BD8B-C35C55036B3D}"/>
              </a:ext>
            </a:extLst>
          </p:cNvPr>
          <p:cNvSpPr txBox="1">
            <a:spLocks/>
          </p:cNvSpPr>
          <p:nvPr/>
        </p:nvSpPr>
        <p:spPr>
          <a:xfrm>
            <a:off x="664687" y="5189430"/>
            <a:ext cx="5317490" cy="4399836"/>
          </a:xfrm>
          <a:prstGeom prst="rect">
            <a:avLst/>
          </a:prstGeom>
          <a:ln w="12700">
            <a:noFill/>
          </a:ln>
        </p:spPr>
        <p:txBody>
          <a:bodyPr vert="horz" lIns="90439" tIns="45219" rIns="90439" bIns="45219" rtlCol="0"/>
          <a:lst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b="1" dirty="0">
                <a:latin typeface="+mn-ea"/>
              </a:rPr>
              <a:t>■資料「提案書」Ｐ９</a:t>
            </a:r>
          </a:p>
          <a:p>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a:latin typeface="Meiryo UI" panose="020B0604030504040204" pitchFamily="50" charset="-128"/>
                <a:ea typeface="Meiryo UI" panose="020B0604030504040204" pitchFamily="50" charset="-128"/>
                <a:cs typeface="Meiryo UI" panose="020B0604030504040204" pitchFamily="50" charset="-128"/>
              </a:rPr>
              <a:t>〇</a:t>
            </a:r>
            <a:r>
              <a:rPr kumimoji="0" lang="en-US" altLang="ja-JP" dirty="0">
                <a:latin typeface="Meiryo UI" panose="020B0604030504040204" pitchFamily="50" charset="-128"/>
                <a:ea typeface="Meiryo UI" panose="020B0604030504040204" pitchFamily="50" charset="-128"/>
              </a:rPr>
              <a:t>GSE2026</a:t>
            </a:r>
            <a:r>
              <a:rPr kumimoji="0" lang="ja-JP" altLang="en-US" dirty="0">
                <a:latin typeface="Meiryo UI" panose="020B0604030504040204" pitchFamily="50" charset="-128"/>
                <a:ea typeface="Meiryo UI" panose="020B0604030504040204" pitchFamily="50" charset="-128"/>
              </a:rPr>
              <a:t>をイベント単体の活動とせず、「エコシステム構築」を目標に定め、</a:t>
            </a:r>
            <a:endParaRPr kumimoji="0" lang="en-US" altLang="ja-JP" dirty="0">
              <a:latin typeface="Meiryo UI" panose="020B0604030504040204" pitchFamily="50" charset="-128"/>
              <a:ea typeface="Meiryo UI" panose="020B0604030504040204" pitchFamily="50" charset="-128"/>
            </a:endParaRPr>
          </a:p>
          <a:p>
            <a:r>
              <a:rPr kumimoji="0" lang="ja-JP" altLang="en-US" dirty="0">
                <a:latin typeface="Meiryo UI" panose="020B0604030504040204" pitchFamily="50" charset="-128"/>
                <a:ea typeface="Meiryo UI" panose="020B0604030504040204" pitchFamily="50" charset="-128"/>
              </a:rPr>
              <a:t>　　</a:t>
            </a:r>
            <a:r>
              <a:rPr kumimoji="0" lang="en-US" altLang="ja-JP" dirty="0">
                <a:latin typeface="Meiryo UI" panose="020B0604030504040204" pitchFamily="50" charset="-128"/>
                <a:ea typeface="Meiryo UI" panose="020B0604030504040204" pitchFamily="50" charset="-128"/>
              </a:rPr>
              <a:t>‣</a:t>
            </a:r>
            <a:r>
              <a:rPr kumimoji="0" lang="ja-JP" altLang="en-US" dirty="0">
                <a:latin typeface="Meiryo UI" panose="020B0604030504040204" pitchFamily="50" charset="-128"/>
                <a:ea typeface="Meiryo UI" panose="020B0604030504040204" pitchFamily="50" charset="-128"/>
              </a:rPr>
              <a:t>大学の研究シーズの発掘・披露やアクセラレーション等を内容とするプレ活動、</a:t>
            </a:r>
            <a:endParaRPr kumimoji="0" lang="en-US" altLang="ja-JP" dirty="0">
              <a:latin typeface="Meiryo UI" panose="020B0604030504040204" pitchFamily="50" charset="-128"/>
              <a:ea typeface="Meiryo UI" panose="020B0604030504040204" pitchFamily="50" charset="-128"/>
            </a:endParaRPr>
          </a:p>
          <a:p>
            <a:r>
              <a:rPr kumimoji="0" lang="ja-JP" altLang="en-US" dirty="0">
                <a:latin typeface="Meiryo UI" panose="020B0604030504040204" pitchFamily="50" charset="-128"/>
                <a:ea typeface="Meiryo UI" panose="020B0604030504040204" pitchFamily="50" charset="-128"/>
              </a:rPr>
              <a:t>　　</a:t>
            </a:r>
            <a:r>
              <a:rPr kumimoji="0" lang="en-US" altLang="ja-JP" dirty="0">
                <a:latin typeface="Meiryo UI" panose="020B0604030504040204" pitchFamily="50" charset="-128"/>
                <a:ea typeface="Meiryo UI" panose="020B0604030504040204" pitchFamily="50" charset="-128"/>
              </a:rPr>
              <a:t>‣</a:t>
            </a:r>
            <a:r>
              <a:rPr kumimoji="0" lang="ja-JP" altLang="en-US" dirty="0">
                <a:latin typeface="Meiryo UI" panose="020B0604030504040204" pitchFamily="50" charset="-128"/>
                <a:ea typeface="Meiryo UI" panose="020B0604030504040204" pitchFamily="50" charset="-128"/>
              </a:rPr>
              <a:t>国内有力の研究機関の視察、ノーベル賞受賞者、関連企業との意見交換を通じ</a:t>
            </a:r>
            <a:endParaRPr kumimoji="0" lang="en-US" altLang="ja-JP" dirty="0">
              <a:latin typeface="Meiryo UI" panose="020B0604030504040204" pitchFamily="50" charset="-128"/>
              <a:ea typeface="Meiryo UI" panose="020B0604030504040204" pitchFamily="50" charset="-128"/>
            </a:endParaRPr>
          </a:p>
          <a:p>
            <a:r>
              <a:rPr kumimoji="0" lang="ja-JP" altLang="en-US" dirty="0">
                <a:latin typeface="Meiryo UI" panose="020B0604030504040204" pitchFamily="50" charset="-128"/>
                <a:ea typeface="Meiryo UI" panose="020B0604030504040204" pitchFamily="50" charset="-128"/>
              </a:rPr>
              <a:t>　　　た共創・事業連携の促進等</a:t>
            </a:r>
            <a:endParaRPr kumimoji="0" lang="en-US" altLang="ja-JP" dirty="0">
              <a:latin typeface="Meiryo UI" panose="020B0604030504040204" pitchFamily="50" charset="-128"/>
              <a:ea typeface="Meiryo UI" panose="020B0604030504040204" pitchFamily="50" charset="-128"/>
            </a:endParaRPr>
          </a:p>
          <a:p>
            <a:r>
              <a:rPr kumimoji="0" lang="ja-JP" altLang="en-US" dirty="0">
                <a:latin typeface="Meiryo UI" panose="020B0604030504040204" pitchFamily="50" charset="-128"/>
                <a:ea typeface="Meiryo UI" panose="020B0604030504040204" pitchFamily="50" charset="-128"/>
              </a:rPr>
              <a:t>　を内容とするフォローアップ活動も展開します。</a:t>
            </a:r>
            <a:endParaRPr lang="ja-JP" altLang="en-US" dirty="0"/>
          </a:p>
        </p:txBody>
      </p:sp>
      <p:sp>
        <p:nvSpPr>
          <p:cNvPr id="3" name="タイトル 1">
            <a:extLst>
              <a:ext uri="{FF2B5EF4-FFF2-40B4-BE49-F238E27FC236}">
                <a16:creationId xmlns:a16="http://schemas.microsoft.com/office/drawing/2014/main" id="{BEF8E11E-CA3E-496D-9DCD-51C7996823D3}"/>
              </a:ext>
            </a:extLst>
          </p:cNvPr>
          <p:cNvSpPr txBox="1">
            <a:spLocks/>
          </p:cNvSpPr>
          <p:nvPr/>
        </p:nvSpPr>
        <p:spPr>
          <a:xfrm>
            <a:off x="267858" y="4531155"/>
            <a:ext cx="3165603" cy="357552"/>
          </a:xfrm>
          <a:prstGeom prst="rect">
            <a:avLst/>
          </a:prstGeom>
        </p:spPr>
        <p:txBody>
          <a:bodyPr vert="horz" lIns="89668" tIns="44835" rIns="89668" bIns="44835"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r>
              <a:rPr lang="ja-JP" altLang="en-US" sz="1400" b="1" u="sng" dirty="0">
                <a:latin typeface="+mn-ea"/>
                <a:ea typeface="+mn-ea"/>
              </a:rPr>
              <a:t>遠藤総理補佐官への説明ポイント</a:t>
            </a:r>
          </a:p>
        </p:txBody>
      </p:sp>
      <p:pic>
        <p:nvPicPr>
          <p:cNvPr id="5" name="図 4">
            <a:extLst>
              <a:ext uri="{FF2B5EF4-FFF2-40B4-BE49-F238E27FC236}">
                <a16:creationId xmlns:a16="http://schemas.microsoft.com/office/drawing/2014/main" id="{6F6019F0-AB1C-4509-B67A-209A37E54FF9}"/>
              </a:ext>
            </a:extLst>
          </p:cNvPr>
          <p:cNvPicPr>
            <a:picLocks noChangeAspect="1"/>
          </p:cNvPicPr>
          <p:nvPr/>
        </p:nvPicPr>
        <p:blipFill>
          <a:blip r:embed="rId3"/>
          <a:stretch>
            <a:fillRect/>
          </a:stretch>
        </p:blipFill>
        <p:spPr>
          <a:xfrm>
            <a:off x="550935" y="463071"/>
            <a:ext cx="5544995" cy="3888516"/>
          </a:xfrm>
          <a:prstGeom prst="rect">
            <a:avLst/>
          </a:prstGeom>
        </p:spPr>
      </p:pic>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6/2/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sz="1000"/>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2/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6/2/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200024" y="800708"/>
            <a:ext cx="9469499" cy="2026297"/>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74FDCC1C-28DD-4A82-B4D3-8AAB99F2D92E}" type="datetime4">
              <a:rPr kumimoji="1" lang="ja-JP" altLang="en-US" smtClean="0"/>
              <a:t>2026年2月10日</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4">
            <a:extLst>
              <a:ext uri="{FF2B5EF4-FFF2-40B4-BE49-F238E27FC236}">
                <a16:creationId xmlns:a16="http://schemas.microsoft.com/office/drawing/2014/main" id="{7A77EC17-CEBE-41F4-91D0-1CF017735921}"/>
              </a:ext>
            </a:extLst>
          </p:cNvPr>
          <p:cNvSpPr>
            <a:spLocks noGrp="1"/>
          </p:cNvSpPr>
          <p:nvPr>
            <p:ph type="sldNum" sz="quarter" idx="12"/>
          </p:nvPr>
        </p:nvSpPr>
        <p:spPr>
          <a:xfrm>
            <a:off x="6996113" y="6356355"/>
            <a:ext cx="2228850" cy="365125"/>
          </a:xfrm>
        </p:spPr>
        <p:txBody>
          <a:bodyPr/>
          <a:lstStyle/>
          <a:p>
            <a:fld id="{AD218473-FBA3-40E9-8569-336363EB5CD2}" type="slidenum">
              <a:rPr kumimoji="1" lang="ja-JP" altLang="en-US" smtClean="0"/>
              <a:t>‹#›</a:t>
            </a:fld>
            <a:endParaRPr kumimoji="1" lang="ja-JP" altLang="en-US"/>
          </a:p>
        </p:txBody>
      </p:sp>
    </p:spTree>
    <p:extLst>
      <p:ext uri="{BB962C8B-B14F-4D97-AF65-F5344CB8AC3E}">
        <p14:creationId xmlns:p14="http://schemas.microsoft.com/office/powerpoint/2010/main" val="2496042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70523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6/2/10</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 id="2147483660" r:id="rId4"/>
    <p:sldLayoutId id="2147483661" r:id="rId5"/>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41.pn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13" Type="http://schemas.microsoft.com/office/2007/relationships/hdphoto" Target="../media/hdphoto6.wdp"/><Relationship Id="rId18" Type="http://schemas.openxmlformats.org/officeDocument/2006/relationships/image" Target="../media/image54.png"/><Relationship Id="rId26" Type="http://schemas.openxmlformats.org/officeDocument/2006/relationships/image" Target="../media/image62.png"/><Relationship Id="rId39" Type="http://schemas.openxmlformats.org/officeDocument/2006/relationships/image" Target="../media/image73.jpeg"/><Relationship Id="rId21" Type="http://schemas.openxmlformats.org/officeDocument/2006/relationships/image" Target="../media/image57.png"/><Relationship Id="rId34" Type="http://schemas.openxmlformats.org/officeDocument/2006/relationships/image" Target="../media/image70.png"/><Relationship Id="rId7" Type="http://schemas.openxmlformats.org/officeDocument/2006/relationships/image" Target="../media/image46.png"/><Relationship Id="rId12" Type="http://schemas.openxmlformats.org/officeDocument/2006/relationships/image" Target="../media/image49.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38" Type="http://schemas.microsoft.com/office/2007/relationships/hdphoto" Target="../media/hdphoto8.wdp"/><Relationship Id="rId2" Type="http://schemas.openxmlformats.org/officeDocument/2006/relationships/notesSlide" Target="../notesSlides/notesSlide11.xml"/><Relationship Id="rId16" Type="http://schemas.openxmlformats.org/officeDocument/2006/relationships/image" Target="../media/image52.png"/><Relationship Id="rId20" Type="http://schemas.openxmlformats.org/officeDocument/2006/relationships/image" Target="../media/image56.png"/><Relationship Id="rId29" Type="http://schemas.openxmlformats.org/officeDocument/2006/relationships/image" Target="../media/image65.png"/><Relationship Id="rId1" Type="http://schemas.openxmlformats.org/officeDocument/2006/relationships/slideLayout" Target="../slideLayouts/slideLayout3.xml"/><Relationship Id="rId6" Type="http://schemas.openxmlformats.org/officeDocument/2006/relationships/image" Target="../media/image45.png"/><Relationship Id="rId11" Type="http://schemas.microsoft.com/office/2007/relationships/hdphoto" Target="../media/hdphoto5.wdp"/><Relationship Id="rId24" Type="http://schemas.openxmlformats.org/officeDocument/2006/relationships/image" Target="../media/image60.png"/><Relationship Id="rId32" Type="http://schemas.openxmlformats.org/officeDocument/2006/relationships/image" Target="../media/image68.png"/><Relationship Id="rId37" Type="http://schemas.openxmlformats.org/officeDocument/2006/relationships/image" Target="../media/image72.png"/><Relationship Id="rId5" Type="http://schemas.openxmlformats.org/officeDocument/2006/relationships/image" Target="../media/image44.png"/><Relationship Id="rId15" Type="http://schemas.openxmlformats.org/officeDocument/2006/relationships/image" Target="../media/image51.png"/><Relationship Id="rId23" Type="http://schemas.openxmlformats.org/officeDocument/2006/relationships/image" Target="../media/image59.png"/><Relationship Id="rId28" Type="http://schemas.openxmlformats.org/officeDocument/2006/relationships/image" Target="../media/image64.png"/><Relationship Id="rId36" Type="http://schemas.openxmlformats.org/officeDocument/2006/relationships/image" Target="../media/image71.png"/><Relationship Id="rId10" Type="http://schemas.openxmlformats.org/officeDocument/2006/relationships/image" Target="../media/image48.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3.png"/><Relationship Id="rId9" Type="http://schemas.microsoft.com/office/2007/relationships/hdphoto" Target="../media/hdphoto4.wdp"/><Relationship Id="rId14" Type="http://schemas.openxmlformats.org/officeDocument/2006/relationships/image" Target="../media/image50.png"/><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png"/><Relationship Id="rId35" Type="http://schemas.microsoft.com/office/2007/relationships/hdphoto" Target="../media/hdphoto7.wdp"/><Relationship Id="rId8" Type="http://schemas.openxmlformats.org/officeDocument/2006/relationships/image" Target="../media/image47.png"/><Relationship Id="rId3"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3.jpe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png"/><Relationship Id="rId7"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7.png"/><Relationship Id="rId3" Type="http://schemas.openxmlformats.org/officeDocument/2006/relationships/image" Target="../media/image9.png"/><Relationship Id="rId7" Type="http://schemas.openxmlformats.org/officeDocument/2006/relationships/image" Target="../media/image12.png"/><Relationship Id="rId12" Type="http://schemas.openxmlformats.org/officeDocument/2006/relationships/image" Target="../media/image16.jpeg"/><Relationship Id="rId17" Type="http://schemas.openxmlformats.org/officeDocument/2006/relationships/image" Target="../media/image21.png"/><Relationship Id="rId2" Type="http://schemas.openxmlformats.org/officeDocument/2006/relationships/notesSlide" Target="../notesSlides/notesSlide6.xml"/><Relationship Id="rId16" Type="http://schemas.openxmlformats.org/officeDocument/2006/relationships/image" Target="../media/image20.jpeg"/><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15.tiff"/><Relationship Id="rId5" Type="http://schemas.openxmlformats.org/officeDocument/2006/relationships/image" Target="../media/image10.png"/><Relationship Id="rId15" Type="http://schemas.openxmlformats.org/officeDocument/2006/relationships/image" Target="../media/image19.jpeg"/><Relationship Id="rId10" Type="http://schemas.openxmlformats.org/officeDocument/2006/relationships/image" Target="../media/image14.png"/><Relationship Id="rId4" Type="http://schemas.microsoft.com/office/2007/relationships/hdphoto" Target="../media/hdphoto2.wdp"/><Relationship Id="rId9" Type="http://schemas.openxmlformats.org/officeDocument/2006/relationships/image" Target="../media/image13.jpeg"/><Relationship Id="rId14" Type="http://schemas.openxmlformats.org/officeDocument/2006/relationships/image" Target="../media/image18.jpe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image" Target="../media/image22.pn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notesSlide" Target="../notesSlides/notesSlide7.xml"/><Relationship Id="rId16" Type="http://schemas.openxmlformats.org/officeDocument/2006/relationships/image" Target="../media/image35.png"/><Relationship Id="rId1" Type="http://schemas.openxmlformats.org/officeDocument/2006/relationships/slideLayout" Target="../slideLayouts/slideLayout4.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705339" y="2875002"/>
            <a:ext cx="8420100" cy="1107996"/>
          </a:xfrm>
        </p:spPr>
        <p:txBody>
          <a:bodyPr/>
          <a:lstStyle/>
          <a:p>
            <a:pPr algn="l"/>
            <a: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t>Global Startup EXPO ; 2026</a:t>
            </a:r>
            <a:b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br>
            <a:r>
              <a:rPr kumimoji="1" lang="ja-JP" altLang="en-US" dirty="0">
                <a:latin typeface="メイリオ" panose="020B0604030504040204" pitchFamily="50" charset="-128"/>
                <a:ea typeface="メイリオ" panose="020B0604030504040204" pitchFamily="50" charset="-128"/>
                <a:cs typeface="メイリオ" panose="020B0604030504040204" pitchFamily="50" charset="-128"/>
              </a:rPr>
              <a:t>提案書</a:t>
            </a:r>
          </a:p>
        </p:txBody>
      </p:sp>
      <p:sp>
        <p:nvSpPr>
          <p:cNvPr id="6" name="サブタイトル 2">
            <a:extLst>
              <a:ext uri="{FF2B5EF4-FFF2-40B4-BE49-F238E27FC236}">
                <a16:creationId xmlns:a16="http://schemas.microsoft.com/office/drawing/2014/main" id="{1E05A0BB-4211-44E5-A0D1-20A45F3D2102}"/>
              </a:ext>
            </a:extLst>
          </p:cNvPr>
          <p:cNvSpPr txBox="1">
            <a:spLocks/>
          </p:cNvSpPr>
          <p:nvPr/>
        </p:nvSpPr>
        <p:spPr>
          <a:xfrm>
            <a:off x="705339" y="5367903"/>
            <a:ext cx="9039794"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spAutoFit/>
          </a:bodyPr>
          <a:lstStyle>
            <a:lvl1pPr marL="0" indent="0" algn="ctr" defTabSz="914400" rtl="0" eaLnBrk="1" latinLnBrk="0" hangingPunct="1">
              <a:spcBef>
                <a:spcPts val="600"/>
              </a:spcBef>
              <a:spcAft>
                <a:spcPts val="600"/>
              </a:spcAft>
              <a:buClr>
                <a:srgbClr val="002060"/>
              </a:buClr>
              <a:buFont typeface="Wingdings" panose="05000000000000000000" pitchFamily="2" charset="2"/>
              <a:buNone/>
              <a:defRPr kumimoji="1" lang="ja-JP" altLang="en-US" sz="2400" b="1" kern="1200">
                <a:solidFill>
                  <a:schemeClr val="tx1"/>
                </a:solidFill>
                <a:latin typeface="Meiryo UI" pitchFamily="50" charset="-128"/>
                <a:ea typeface="Meiryo UI" pitchFamily="50" charset="-128"/>
                <a:cs typeface="Meiryo UI"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l"/>
            <a:r>
              <a:rPr lang="ja-JP" altLang="en-US" sz="2000" b="0" dirty="0">
                <a:latin typeface="メイリオ" panose="020B0604030504040204" pitchFamily="50" charset="-128"/>
                <a:ea typeface="メイリオ" panose="020B0604030504040204" pitchFamily="50" charset="-128"/>
                <a:cs typeface="メイリオ" panose="020B0604030504040204" pitchFamily="50" charset="-128"/>
              </a:rPr>
              <a:t>提案者：大阪府・大阪市</a:t>
            </a:r>
          </a:p>
          <a:p>
            <a:pPr algn="l"/>
            <a:r>
              <a:rPr lang="ja-JP" altLang="en-US" sz="1800" b="0" dirty="0">
                <a:latin typeface="メイリオ" panose="020B0604030504040204" pitchFamily="50" charset="-128"/>
                <a:ea typeface="メイリオ" panose="020B0604030504040204" pitchFamily="50" charset="-128"/>
                <a:cs typeface="メイリオ" panose="020B0604030504040204" pitchFamily="50" charset="-128"/>
              </a:rPr>
              <a:t>（実行委員会参画者：大阪府・大阪市・京都府・京都市・兵庫県・神戸市・公益社団法人関西経済連合会・大阪商工会議所・一般社団法人関西経済同友会・関西イノベーションイニシアティブ（公益財団法人都市活力研究所） ）</a:t>
            </a:r>
          </a:p>
        </p:txBody>
      </p:sp>
    </p:spTree>
    <p:extLst>
      <p:ext uri="{BB962C8B-B14F-4D97-AF65-F5344CB8AC3E}">
        <p14:creationId xmlns:p14="http://schemas.microsoft.com/office/powerpoint/2010/main" val="2898958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C4B7D-3041-7637-03F6-38E22B05485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C4C46CB-E119-9D40-A9DC-CAFC192CF218}"/>
              </a:ext>
            </a:extLst>
          </p:cNvPr>
          <p:cNvSpPr>
            <a:spLocks noGrp="1"/>
          </p:cNvSpPr>
          <p:nvPr>
            <p:ph type="title"/>
          </p:nvPr>
        </p:nvSpPr>
        <p:spPr>
          <a:xfrm>
            <a:off x="181744" y="160143"/>
            <a:ext cx="9505503" cy="307777"/>
          </a:xfrm>
        </p:spPr>
        <p:txBody>
          <a:bodyPr/>
          <a:lstStyle/>
          <a:p>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3. </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実施体制（実施体制（実行委員会／プロデューサー）</a:t>
            </a:r>
            <a:endParaRPr kumimoji="1" lang="ja-JP" altLang="en-US" sz="1400"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 name="正方形/長方形 6">
            <a:extLst>
              <a:ext uri="{FF2B5EF4-FFF2-40B4-BE49-F238E27FC236}">
                <a16:creationId xmlns:a16="http://schemas.microsoft.com/office/drawing/2014/main" id="{F7FFE091-6B6E-4346-9BF5-CD6009EC11B5}"/>
              </a:ext>
            </a:extLst>
          </p:cNvPr>
          <p:cNvSpPr/>
          <p:nvPr/>
        </p:nvSpPr>
        <p:spPr bwMode="auto">
          <a:xfrm>
            <a:off x="240790" y="1598117"/>
            <a:ext cx="4395782" cy="2369617"/>
          </a:xfrm>
          <a:prstGeom prst="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l"/>
            <a:endParaRPr kumimoji="0" lang="ja-JP" altLang="en-US"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0AA5BCDE-778D-4E1B-A49D-61A7DE147295}"/>
              </a:ext>
            </a:extLst>
          </p:cNvPr>
          <p:cNvSpPr txBox="1"/>
          <p:nvPr/>
        </p:nvSpPr>
        <p:spPr>
          <a:xfrm>
            <a:off x="315836" y="3635782"/>
            <a:ext cx="4211602" cy="261610"/>
          </a:xfrm>
          <a:prstGeom prst="rect">
            <a:avLst/>
          </a:prstGeom>
          <a:solidFill>
            <a:schemeClr val="bg2"/>
          </a:solid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アカデミア</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KSII</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調整中））</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スタートアップ・出展者紹介</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9">
            <a:extLst>
              <a:ext uri="{FF2B5EF4-FFF2-40B4-BE49-F238E27FC236}">
                <a16:creationId xmlns:a16="http://schemas.microsoft.com/office/drawing/2014/main" id="{7CF0F774-5FC0-421D-98A2-24E1259B2199}"/>
              </a:ext>
            </a:extLst>
          </p:cNvPr>
          <p:cNvSpPr txBox="1"/>
          <p:nvPr/>
        </p:nvSpPr>
        <p:spPr>
          <a:xfrm>
            <a:off x="315836" y="3353273"/>
            <a:ext cx="4211602" cy="261610"/>
          </a:xfrm>
          <a:prstGeom prst="rect">
            <a:avLst/>
          </a:prstGeom>
          <a:solidFill>
            <a:schemeClr val="bg2"/>
          </a:solid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経済団体（大商・関経連・同友会）</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登壇企業の紹介・広報</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0">
            <a:extLst>
              <a:ext uri="{FF2B5EF4-FFF2-40B4-BE49-F238E27FC236}">
                <a16:creationId xmlns:a16="http://schemas.microsoft.com/office/drawing/2014/main" id="{121CCEC8-0FE1-4022-9E84-B0B542AAC8C3}"/>
              </a:ext>
            </a:extLst>
          </p:cNvPr>
          <p:cNvSpPr txBox="1"/>
          <p:nvPr/>
        </p:nvSpPr>
        <p:spPr>
          <a:xfrm>
            <a:off x="305316" y="2604400"/>
            <a:ext cx="4211602" cy="261610"/>
          </a:xfrm>
          <a:prstGeom prst="rect">
            <a:avLst/>
          </a:prstGeom>
          <a:solidFill>
            <a:schemeClr val="bg2"/>
          </a:solidFill>
        </p:spPr>
        <p:txBody>
          <a:bodyPr wrap="square" rtlCol="0">
            <a:spAutoFit/>
          </a:bodyPr>
          <a:lstStyle>
            <a:defPPr>
              <a:defRPr lang="ja-JP"/>
            </a:defPPr>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100" dirty="0"/>
              <a:t>・プロデューサー　</a:t>
            </a:r>
            <a:r>
              <a:rPr lang="en-US" altLang="ja-JP" sz="1100" dirty="0"/>
              <a:t>【</a:t>
            </a:r>
            <a:r>
              <a:rPr lang="ja-JP" altLang="en-US" sz="1100" dirty="0"/>
              <a:t>コアイベントの全体プロデュース</a:t>
            </a:r>
            <a:r>
              <a:rPr lang="en-US" altLang="ja-JP" sz="1100" dirty="0"/>
              <a:t>】</a:t>
            </a:r>
            <a:endParaRPr lang="ja-JP" altLang="en-US" sz="1100" dirty="0"/>
          </a:p>
        </p:txBody>
      </p:sp>
      <p:sp>
        <p:nvSpPr>
          <p:cNvPr id="12" name="テキスト ボックス 11">
            <a:extLst>
              <a:ext uri="{FF2B5EF4-FFF2-40B4-BE49-F238E27FC236}">
                <a16:creationId xmlns:a16="http://schemas.microsoft.com/office/drawing/2014/main" id="{4A723631-EDE0-49E5-9DFC-7798AB2FFD37}"/>
              </a:ext>
            </a:extLst>
          </p:cNvPr>
          <p:cNvSpPr txBox="1"/>
          <p:nvPr/>
        </p:nvSpPr>
        <p:spPr>
          <a:xfrm>
            <a:off x="305316" y="2883681"/>
            <a:ext cx="4211602" cy="446276"/>
          </a:xfrm>
          <a:prstGeom prst="rect">
            <a:avLst/>
          </a:prstGeom>
          <a:solidFill>
            <a:schemeClr val="bg2"/>
          </a:solidFill>
          <a:ln>
            <a:noFill/>
          </a:ln>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京阪神自治体（</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京都府・</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京都市・</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兵庫県・</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神戸市</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　等</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サイドイベントの企画、実施</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a:extLst>
              <a:ext uri="{FF2B5EF4-FFF2-40B4-BE49-F238E27FC236}">
                <a16:creationId xmlns:a16="http://schemas.microsoft.com/office/drawing/2014/main" id="{B937B97C-0E02-48FD-BC35-17DE84C572D1}"/>
              </a:ext>
            </a:extLst>
          </p:cNvPr>
          <p:cNvSpPr txBox="1"/>
          <p:nvPr/>
        </p:nvSpPr>
        <p:spPr>
          <a:xfrm>
            <a:off x="123082" y="4425319"/>
            <a:ext cx="2022466" cy="938719"/>
          </a:xfrm>
          <a:prstGeom prst="rect">
            <a:avLst/>
          </a:prstGeom>
          <a:noFill/>
          <a:ln w="19050">
            <a:solidFill>
              <a:schemeClr val="tx1"/>
            </a:solidFill>
          </a:ln>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国関係機関</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経産省 </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指導・監督・支援</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p>
          <a:p>
            <a:r>
              <a:rPr lang="en-US" altLang="ja-JP" sz="1100" dirty="0">
                <a:latin typeface="Meiryo UI" panose="020B0604030504040204" pitchFamily="50" charset="-128"/>
                <a:ea typeface="Meiryo UI" panose="020B0604030504040204" pitchFamily="50" charset="-128"/>
                <a:cs typeface="Meiryo UI" panose="020B0604030504040204" pitchFamily="50" charset="-128"/>
              </a:rPr>
              <a:t>JETRO 【</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海外関係</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p>
          <a:p>
            <a:r>
              <a:rPr lang="en-US" altLang="ja-JP" sz="1100" dirty="0">
                <a:latin typeface="Meiryo UI" panose="020B0604030504040204" pitchFamily="50" charset="-128"/>
                <a:ea typeface="Meiryo UI" panose="020B0604030504040204" pitchFamily="50" charset="-128"/>
                <a:cs typeface="Meiryo UI" panose="020B0604030504040204" pitchFamily="50" charset="-128"/>
              </a:rPr>
              <a:t>NEDO 【SU</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伴走支援</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  </a:t>
            </a: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近畿経済産業局 </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地域調整</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矢印: 上下 13">
            <a:extLst>
              <a:ext uri="{FF2B5EF4-FFF2-40B4-BE49-F238E27FC236}">
                <a16:creationId xmlns:a16="http://schemas.microsoft.com/office/drawing/2014/main" id="{7080E731-003A-4A98-9DB8-3657D8921840}"/>
              </a:ext>
            </a:extLst>
          </p:cNvPr>
          <p:cNvSpPr/>
          <p:nvPr/>
        </p:nvSpPr>
        <p:spPr bwMode="auto">
          <a:xfrm>
            <a:off x="442871" y="4012544"/>
            <a:ext cx="206667" cy="357268"/>
          </a:xfrm>
          <a:prstGeom prst="upDownArrow">
            <a:avLst/>
          </a:prstGeom>
          <a:solidFill>
            <a:schemeClr val="accent2">
              <a:lumMod val="75000"/>
            </a:schemeClr>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0D2198DE-2AFF-48CF-A7E1-4F091D5B0375}"/>
              </a:ext>
            </a:extLst>
          </p:cNvPr>
          <p:cNvSpPr txBox="1"/>
          <p:nvPr/>
        </p:nvSpPr>
        <p:spPr>
          <a:xfrm>
            <a:off x="610589" y="4056782"/>
            <a:ext cx="1254516" cy="230832"/>
          </a:xfrm>
          <a:prstGeom prst="rect">
            <a:avLst/>
          </a:prstGeom>
          <a:noFill/>
        </p:spPr>
        <p:txBody>
          <a:bodyPr wrap="square" rtlCol="0">
            <a:spAutoFit/>
          </a:bodyPr>
          <a:lstStyle/>
          <a:p>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連携（共催）</a:t>
            </a:r>
          </a:p>
        </p:txBody>
      </p:sp>
      <p:sp>
        <p:nvSpPr>
          <p:cNvPr id="17" name="テキスト ボックス 16">
            <a:extLst>
              <a:ext uri="{FF2B5EF4-FFF2-40B4-BE49-F238E27FC236}">
                <a16:creationId xmlns:a16="http://schemas.microsoft.com/office/drawing/2014/main" id="{89F39BD5-C907-4FFB-8608-24196E0E4427}"/>
              </a:ext>
            </a:extLst>
          </p:cNvPr>
          <p:cNvSpPr txBox="1"/>
          <p:nvPr/>
        </p:nvSpPr>
        <p:spPr>
          <a:xfrm>
            <a:off x="858086" y="1464644"/>
            <a:ext cx="3334446" cy="307777"/>
          </a:xfrm>
          <a:prstGeom prst="rect">
            <a:avLst/>
          </a:prstGeom>
          <a:solidFill>
            <a:schemeClr val="bg1"/>
          </a:solidFill>
          <a:ln w="31750">
            <a:solidFill>
              <a:schemeClr val="tx1"/>
            </a:solidFill>
          </a:ln>
        </p:spPr>
        <p:txBody>
          <a:bodyPr wrap="square" rtlCol="0">
            <a:spAutoFit/>
          </a:bodyPr>
          <a:lstStyle/>
          <a:p>
            <a:pPr algn="ct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GSE2026</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実行委員会</a:t>
            </a:r>
          </a:p>
        </p:txBody>
      </p:sp>
      <p:sp>
        <p:nvSpPr>
          <p:cNvPr id="20" name="テキスト ボックス 19">
            <a:extLst>
              <a:ext uri="{FF2B5EF4-FFF2-40B4-BE49-F238E27FC236}">
                <a16:creationId xmlns:a16="http://schemas.microsoft.com/office/drawing/2014/main" id="{428944BB-DBE8-44DF-8FFE-AB37C9963E12}"/>
              </a:ext>
            </a:extLst>
          </p:cNvPr>
          <p:cNvSpPr txBox="1"/>
          <p:nvPr/>
        </p:nvSpPr>
        <p:spPr>
          <a:xfrm>
            <a:off x="6006428" y="1475002"/>
            <a:ext cx="2699421" cy="430887"/>
          </a:xfrm>
          <a:prstGeom prst="rect">
            <a:avLst/>
          </a:prstGeom>
          <a:noFill/>
          <a:ln w="19050">
            <a:solidFill>
              <a:schemeClr val="tx1"/>
            </a:solidFill>
          </a:ln>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委託事業者</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イベントの企画、運営</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ボックス 20">
            <a:extLst>
              <a:ext uri="{FF2B5EF4-FFF2-40B4-BE49-F238E27FC236}">
                <a16:creationId xmlns:a16="http://schemas.microsoft.com/office/drawing/2014/main" id="{43AE2CD9-A401-4982-8138-86E247F9F39C}"/>
              </a:ext>
            </a:extLst>
          </p:cNvPr>
          <p:cNvSpPr txBox="1"/>
          <p:nvPr/>
        </p:nvSpPr>
        <p:spPr>
          <a:xfrm>
            <a:off x="4888171" y="1365977"/>
            <a:ext cx="1254516" cy="230832"/>
          </a:xfrm>
          <a:prstGeom prst="rect">
            <a:avLst/>
          </a:prstGeom>
          <a:noFill/>
        </p:spPr>
        <p:txBody>
          <a:bodyPr wrap="square" rtlCol="0">
            <a:spAutoFit/>
          </a:bodyPr>
          <a:lstStyle/>
          <a:p>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委託</a:t>
            </a:r>
          </a:p>
        </p:txBody>
      </p:sp>
      <p:sp>
        <p:nvSpPr>
          <p:cNvPr id="22" name="矢印: 下 21">
            <a:extLst>
              <a:ext uri="{FF2B5EF4-FFF2-40B4-BE49-F238E27FC236}">
                <a16:creationId xmlns:a16="http://schemas.microsoft.com/office/drawing/2014/main" id="{39F6198E-C260-46BF-952C-4D521227CC56}"/>
              </a:ext>
            </a:extLst>
          </p:cNvPr>
          <p:cNvSpPr/>
          <p:nvPr/>
        </p:nvSpPr>
        <p:spPr bwMode="auto">
          <a:xfrm rot="5400000">
            <a:off x="5264965" y="1194439"/>
            <a:ext cx="144000" cy="1080000"/>
          </a:xfrm>
          <a:prstGeom prst="downArrow">
            <a:avLst/>
          </a:prstGeom>
          <a:solidFill>
            <a:schemeClr val="accent2">
              <a:lumMod val="75000"/>
            </a:schemeClr>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23" name="矢印: 下 22">
            <a:extLst>
              <a:ext uri="{FF2B5EF4-FFF2-40B4-BE49-F238E27FC236}">
                <a16:creationId xmlns:a16="http://schemas.microsoft.com/office/drawing/2014/main" id="{CA2F9B77-977D-4180-8583-DBE312106F15}"/>
              </a:ext>
            </a:extLst>
          </p:cNvPr>
          <p:cNvSpPr/>
          <p:nvPr/>
        </p:nvSpPr>
        <p:spPr bwMode="auto">
          <a:xfrm rot="16200000">
            <a:off x="5264965" y="1056696"/>
            <a:ext cx="144000" cy="1080000"/>
          </a:xfrm>
          <a:prstGeom prst="downArrow">
            <a:avLst/>
          </a:prstGeom>
          <a:solidFill>
            <a:schemeClr val="accent2">
              <a:lumMod val="75000"/>
            </a:schemeClr>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00C8EBD-B99A-478E-8CF1-F47E0FA5518D}"/>
              </a:ext>
            </a:extLst>
          </p:cNvPr>
          <p:cNvSpPr txBox="1"/>
          <p:nvPr/>
        </p:nvSpPr>
        <p:spPr>
          <a:xfrm>
            <a:off x="4857894" y="1726998"/>
            <a:ext cx="1254516" cy="230832"/>
          </a:xfrm>
          <a:prstGeom prst="rect">
            <a:avLst/>
          </a:prstGeom>
          <a:noFill/>
        </p:spPr>
        <p:txBody>
          <a:bodyPr wrap="square" rtlCol="0">
            <a:spAutoFit/>
          </a:bodyPr>
          <a:lstStyle/>
          <a:p>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業務実施</a:t>
            </a:r>
          </a:p>
        </p:txBody>
      </p:sp>
      <p:sp>
        <p:nvSpPr>
          <p:cNvPr id="25" name="正方形/長方形 24">
            <a:extLst>
              <a:ext uri="{FF2B5EF4-FFF2-40B4-BE49-F238E27FC236}">
                <a16:creationId xmlns:a16="http://schemas.microsoft.com/office/drawing/2014/main" id="{796A8A05-71A7-4AFF-999C-012AE686E19E}"/>
              </a:ext>
            </a:extLst>
          </p:cNvPr>
          <p:cNvSpPr/>
          <p:nvPr/>
        </p:nvSpPr>
        <p:spPr bwMode="auto">
          <a:xfrm>
            <a:off x="649538" y="1855047"/>
            <a:ext cx="3843862" cy="693289"/>
          </a:xfrm>
          <a:prstGeom prst="rect">
            <a:avLst/>
          </a:prstGeom>
          <a:solidFill>
            <a:schemeClr val="bg2"/>
          </a:solidFill>
          <a:ln w="57150">
            <a:solidFill>
              <a:schemeClr val="accent2">
                <a:lumMod val="75000"/>
              </a:schemeClr>
            </a:solidFill>
            <a:miter lim="800000"/>
            <a:headEnd/>
            <a:tailEnd/>
          </a:ln>
          <a:effectLst/>
        </p:spPr>
        <p:txBody>
          <a:bodyPr wrap="none" rtlCol="0" anchor="ctr"/>
          <a:lstStyle/>
          <a:p>
            <a:pPr algn="l"/>
            <a:endParaRPr kumimoji="0" lang="ja-JP" altLang="en-US" sz="1600" dirty="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61AB775A-8E7F-41BC-84D2-DFAD6E50E629}"/>
              </a:ext>
            </a:extLst>
          </p:cNvPr>
          <p:cNvSpPr txBox="1"/>
          <p:nvPr/>
        </p:nvSpPr>
        <p:spPr>
          <a:xfrm>
            <a:off x="343276" y="1800485"/>
            <a:ext cx="946274" cy="261610"/>
          </a:xfrm>
          <a:prstGeom prst="rect">
            <a:avLst/>
          </a:prstGeom>
          <a:solidFill>
            <a:schemeClr val="bg2"/>
          </a:solidFill>
        </p:spPr>
        <p:txBody>
          <a:bodyPr wrap="square" rtlCol="0">
            <a:spAutoFit/>
          </a:bodyPr>
          <a:lstStyle/>
          <a:p>
            <a:pPr algn="ctr"/>
            <a:r>
              <a:rPr lang="ja-JP" altLang="en-US" sz="1100" dirty="0">
                <a:latin typeface="Meiryo UI" panose="020B0604030504040204" pitchFamily="50" charset="-128"/>
                <a:ea typeface="Meiryo UI" panose="020B0604030504040204" pitchFamily="50" charset="-128"/>
                <a:cs typeface="Meiryo UI" panose="020B0604030504040204" pitchFamily="50" charset="-128"/>
              </a:rPr>
              <a:t>申請者</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27" name="図 26">
            <a:extLst>
              <a:ext uri="{FF2B5EF4-FFF2-40B4-BE49-F238E27FC236}">
                <a16:creationId xmlns:a16="http://schemas.microsoft.com/office/drawing/2014/main" id="{D5F1617B-B7F7-4324-B24B-5FE86F92CCF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4765" b="19832"/>
          <a:stretch/>
        </p:blipFill>
        <p:spPr>
          <a:xfrm>
            <a:off x="1247695" y="2223830"/>
            <a:ext cx="841649" cy="254061"/>
          </a:xfrm>
          <a:prstGeom prst="rect">
            <a:avLst/>
          </a:prstGeom>
        </p:spPr>
      </p:pic>
      <p:pic>
        <p:nvPicPr>
          <p:cNvPr id="28" name="図 27">
            <a:extLst>
              <a:ext uri="{FF2B5EF4-FFF2-40B4-BE49-F238E27FC236}">
                <a16:creationId xmlns:a16="http://schemas.microsoft.com/office/drawing/2014/main" id="{1A2A99E5-616E-481A-8116-C78CA031F2B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5054" y="1924661"/>
            <a:ext cx="873490" cy="291787"/>
          </a:xfrm>
          <a:prstGeom prst="rect">
            <a:avLst/>
          </a:prstGeom>
        </p:spPr>
      </p:pic>
      <p:sp>
        <p:nvSpPr>
          <p:cNvPr id="30" name="テキスト ボックス 29">
            <a:extLst>
              <a:ext uri="{FF2B5EF4-FFF2-40B4-BE49-F238E27FC236}">
                <a16:creationId xmlns:a16="http://schemas.microsoft.com/office/drawing/2014/main" id="{1F5D0D36-FE47-46E6-9AE0-F31CB65EC740}"/>
              </a:ext>
            </a:extLst>
          </p:cNvPr>
          <p:cNvSpPr txBox="1"/>
          <p:nvPr/>
        </p:nvSpPr>
        <p:spPr>
          <a:xfrm>
            <a:off x="2325287" y="1931036"/>
            <a:ext cx="2367193"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GSE 2026 </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の企画・実施</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32" name="図 31">
            <a:extLst>
              <a:ext uri="{FF2B5EF4-FFF2-40B4-BE49-F238E27FC236}">
                <a16:creationId xmlns:a16="http://schemas.microsoft.com/office/drawing/2014/main" id="{3A837B42-7F22-49D3-825C-511F1E7CBE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0535" y="2529125"/>
            <a:ext cx="780010" cy="780010"/>
          </a:xfrm>
          <a:prstGeom prst="rect">
            <a:avLst/>
          </a:prstGeom>
        </p:spPr>
      </p:pic>
      <p:sp>
        <p:nvSpPr>
          <p:cNvPr id="33" name="テキスト ボックス 32">
            <a:extLst>
              <a:ext uri="{FF2B5EF4-FFF2-40B4-BE49-F238E27FC236}">
                <a16:creationId xmlns:a16="http://schemas.microsoft.com/office/drawing/2014/main" id="{588FB08D-23D2-4E8B-882E-6996B01BCB66}"/>
              </a:ext>
            </a:extLst>
          </p:cNvPr>
          <p:cNvSpPr txBox="1"/>
          <p:nvPr/>
        </p:nvSpPr>
        <p:spPr>
          <a:xfrm>
            <a:off x="5740545" y="2524305"/>
            <a:ext cx="3893348" cy="784830"/>
          </a:xfrm>
          <a:prstGeom prst="rect">
            <a:avLst/>
          </a:prstGeom>
          <a:noFill/>
        </p:spPr>
        <p:txBody>
          <a:bodyPr wrap="square" rtlCol="0">
            <a:spAutoFit/>
          </a:bodyPr>
          <a:lstStyle/>
          <a:p>
            <a:r>
              <a:rPr lang="ja-JP" altLang="en-US" sz="900" dirty="0">
                <a:latin typeface="Meiryo UI" panose="020B0604030504040204" pitchFamily="50" charset="-128"/>
                <a:ea typeface="Meiryo UI" panose="020B0604030504040204" pitchFamily="50" charset="-128"/>
                <a:cs typeface="Meiryo UI" panose="020B0604030504040204" pitchFamily="50" charset="-128"/>
              </a:rPr>
              <a:t>同志社大学経済学部卒業、</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Babson College F. W. Olin Graduate School of Business</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MBA</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MBA</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留学を経た後、グロービスにて人材育成・ 組織開発コンサルティング部門に参画。大企業の次世代経営者育成やスタートアップの組織開発等を手掛けつつ、起業分野のコンテンツ・教材開発も行う。その後、現職。ボストンに拠点を置く</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NPO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dirty="0" err="1">
                <a:latin typeface="Meiryo UI" panose="020B0604030504040204" pitchFamily="50" charset="-128"/>
                <a:ea typeface="Meiryo UI" panose="020B0604030504040204" pitchFamily="50" charset="-128"/>
                <a:cs typeface="Meiryo UI" panose="020B0604030504040204" pitchFamily="50" charset="-128"/>
              </a:rPr>
              <a:t>Binnovative</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立ち上げメンバー。</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正方形/長方形 33">
            <a:extLst>
              <a:ext uri="{FF2B5EF4-FFF2-40B4-BE49-F238E27FC236}">
                <a16:creationId xmlns:a16="http://schemas.microsoft.com/office/drawing/2014/main" id="{8AD5745C-2FA0-429A-A18D-5D2E75FF67BB}"/>
              </a:ext>
            </a:extLst>
          </p:cNvPr>
          <p:cNvSpPr/>
          <p:nvPr/>
        </p:nvSpPr>
        <p:spPr bwMode="auto">
          <a:xfrm>
            <a:off x="4819110" y="2242156"/>
            <a:ext cx="4904898" cy="1121172"/>
          </a:xfrm>
          <a:prstGeom prst="rect">
            <a:avLst/>
          </a:prstGeom>
          <a:noFill/>
          <a:ln w="12700">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5" name="矢印: 上下 34">
            <a:extLst>
              <a:ext uri="{FF2B5EF4-FFF2-40B4-BE49-F238E27FC236}">
                <a16:creationId xmlns:a16="http://schemas.microsoft.com/office/drawing/2014/main" id="{35AC530B-E4C9-4ED7-9AE2-52FAA55004CA}"/>
              </a:ext>
            </a:extLst>
          </p:cNvPr>
          <p:cNvSpPr/>
          <p:nvPr/>
        </p:nvSpPr>
        <p:spPr bwMode="auto">
          <a:xfrm rot="19320173">
            <a:off x="4691289" y="3820044"/>
            <a:ext cx="154680" cy="1326332"/>
          </a:xfrm>
          <a:prstGeom prst="upDownArrow">
            <a:avLst/>
          </a:prstGeom>
          <a:solidFill>
            <a:schemeClr val="accent2">
              <a:lumMod val="75000"/>
            </a:schemeClr>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7" name="テキスト ボックス 36">
            <a:extLst>
              <a:ext uri="{FF2B5EF4-FFF2-40B4-BE49-F238E27FC236}">
                <a16:creationId xmlns:a16="http://schemas.microsoft.com/office/drawing/2014/main" id="{B32A0C9B-41EE-4A7D-94CD-548145996FDC}"/>
              </a:ext>
            </a:extLst>
          </p:cNvPr>
          <p:cNvSpPr txBox="1"/>
          <p:nvPr/>
        </p:nvSpPr>
        <p:spPr>
          <a:xfrm>
            <a:off x="4960534" y="5084745"/>
            <a:ext cx="4763473" cy="1446550"/>
          </a:xfrm>
          <a:prstGeom prst="rect">
            <a:avLst/>
          </a:prstGeom>
          <a:noFill/>
          <a:ln w="19050">
            <a:solidFill>
              <a:schemeClr val="tx1"/>
            </a:solidFill>
          </a:ln>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関西関係機関（</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GSE</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機運醸成会議構成員）</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cs typeface="Meiryo UI" panose="020B0604030504040204" pitchFamily="50" charset="-128"/>
              </a:rPr>
              <a:t>※GSE</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を通じた協力体制を構築済</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堺市、大阪産業局、京都知恵産業創造の森、京都商工会議所</a:t>
            </a: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神戸商工会議所、国際電気通信基礎技術研究所（</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R</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a:t>
            </a: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都市活力研究所、ジェトロ大阪本部、</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INPIT-KANSAI</a:t>
            </a: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中小企業基盤整備機構、日本政策金融公庫</a:t>
            </a: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うめきた未来イノベーション機構、㈱けいはんな、京都リサーチパーク株式会社</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テキスト ボックス 39">
            <a:extLst>
              <a:ext uri="{FF2B5EF4-FFF2-40B4-BE49-F238E27FC236}">
                <a16:creationId xmlns:a16="http://schemas.microsoft.com/office/drawing/2014/main" id="{29E2FB50-386E-48D8-9875-FDBE39AE396A}"/>
              </a:ext>
            </a:extLst>
          </p:cNvPr>
          <p:cNvSpPr txBox="1"/>
          <p:nvPr/>
        </p:nvSpPr>
        <p:spPr>
          <a:xfrm>
            <a:off x="6988567" y="2300663"/>
            <a:ext cx="3133601" cy="215444"/>
          </a:xfrm>
          <a:prstGeom prst="rect">
            <a:avLst/>
          </a:prstGeom>
          <a:noFill/>
        </p:spPr>
        <p:txBody>
          <a:bodyPr wrap="square">
            <a:spAutoFit/>
          </a:bodyPr>
          <a:lstStyle/>
          <a:p>
            <a:r>
              <a:rPr lang="en-US" altLang="ja-JP" sz="800" dirty="0"/>
              <a:t>Venture Café Tokyo</a:t>
            </a:r>
            <a:r>
              <a:rPr lang="ja-JP" altLang="en-US" sz="800" dirty="0"/>
              <a:t> エグゼクティブ・ディレクター</a:t>
            </a:r>
          </a:p>
        </p:txBody>
      </p:sp>
      <p:sp>
        <p:nvSpPr>
          <p:cNvPr id="39" name="テキスト ボックス 38">
            <a:extLst>
              <a:ext uri="{FF2B5EF4-FFF2-40B4-BE49-F238E27FC236}">
                <a16:creationId xmlns:a16="http://schemas.microsoft.com/office/drawing/2014/main" id="{3153C316-CCF6-42B9-9F8F-77F1A0F29264}"/>
              </a:ext>
            </a:extLst>
          </p:cNvPr>
          <p:cNvSpPr txBox="1"/>
          <p:nvPr/>
        </p:nvSpPr>
        <p:spPr>
          <a:xfrm>
            <a:off x="4857894" y="2265390"/>
            <a:ext cx="2232875" cy="276999"/>
          </a:xfrm>
          <a:prstGeom prst="rect">
            <a:avLst/>
          </a:prstGeom>
          <a:noFill/>
        </p:spPr>
        <p:txBody>
          <a:bodyPr wrap="square">
            <a:spAutoFit/>
          </a:bodyPr>
          <a:lstStyle/>
          <a:p>
            <a:r>
              <a:rPr lang="en-US" altLang="ja-JP" sz="1200" b="1" dirty="0"/>
              <a:t>【</a:t>
            </a:r>
            <a:r>
              <a:rPr lang="ja-JP" altLang="en-US" sz="1200" b="1" dirty="0"/>
              <a:t>プロデューサー</a:t>
            </a:r>
            <a:r>
              <a:rPr lang="en-US" altLang="ja-JP" sz="1200" b="1" dirty="0"/>
              <a:t>】</a:t>
            </a:r>
            <a:r>
              <a:rPr lang="ja-JP" altLang="en-US" sz="1200" b="1" dirty="0"/>
              <a:t>小村 隆祐</a:t>
            </a:r>
            <a:endParaRPr lang="en-US" altLang="ja-JP" sz="1200" b="1" dirty="0"/>
          </a:p>
        </p:txBody>
      </p:sp>
      <p:sp>
        <p:nvSpPr>
          <p:cNvPr id="41" name="テキスト ボックス 40">
            <a:extLst>
              <a:ext uri="{FF2B5EF4-FFF2-40B4-BE49-F238E27FC236}">
                <a16:creationId xmlns:a16="http://schemas.microsoft.com/office/drawing/2014/main" id="{B853A551-5E74-484A-9733-3C751F0B48C8}"/>
              </a:ext>
            </a:extLst>
          </p:cNvPr>
          <p:cNvSpPr txBox="1"/>
          <p:nvPr/>
        </p:nvSpPr>
        <p:spPr>
          <a:xfrm>
            <a:off x="2204599" y="4425319"/>
            <a:ext cx="2154673" cy="938719"/>
          </a:xfrm>
          <a:prstGeom prst="rect">
            <a:avLst/>
          </a:prstGeom>
          <a:noFill/>
          <a:ln w="19050">
            <a:solidFill>
              <a:schemeClr val="tx1"/>
            </a:solidFill>
          </a:ln>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グローバル拠点都市</a:t>
            </a:r>
            <a:endParaRPr kumimoji="1"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NEX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グローバル拠点都市</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NINE-JP</a:t>
            </a:r>
          </a:p>
          <a:p>
            <a:r>
              <a:rPr lang="ja-JP" altLang="en-US" sz="11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JVCA</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等国内</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VC</a:t>
            </a:r>
          </a:p>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日本経済団体連合会　　等</a:t>
            </a:r>
          </a:p>
        </p:txBody>
      </p:sp>
      <p:sp>
        <p:nvSpPr>
          <p:cNvPr id="42" name="矢印: 上下 41">
            <a:extLst>
              <a:ext uri="{FF2B5EF4-FFF2-40B4-BE49-F238E27FC236}">
                <a16:creationId xmlns:a16="http://schemas.microsoft.com/office/drawing/2014/main" id="{B1457846-221F-4E95-AB2F-46588A1415A4}"/>
              </a:ext>
            </a:extLst>
          </p:cNvPr>
          <p:cNvSpPr/>
          <p:nvPr/>
        </p:nvSpPr>
        <p:spPr bwMode="auto">
          <a:xfrm>
            <a:off x="2276493" y="4026869"/>
            <a:ext cx="206667" cy="357268"/>
          </a:xfrm>
          <a:prstGeom prst="upDownArrow">
            <a:avLst/>
          </a:prstGeom>
          <a:solidFill>
            <a:schemeClr val="accent2">
              <a:lumMod val="75000"/>
            </a:schemeClr>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6D7CB26D-49C1-44AE-928F-382AADE1E240}"/>
              </a:ext>
            </a:extLst>
          </p:cNvPr>
          <p:cNvSpPr txBox="1"/>
          <p:nvPr/>
        </p:nvSpPr>
        <p:spPr>
          <a:xfrm>
            <a:off x="2440783" y="4039823"/>
            <a:ext cx="1775505" cy="369332"/>
          </a:xfrm>
          <a:prstGeom prst="rect">
            <a:avLst/>
          </a:prstGeom>
          <a:noFill/>
        </p:spPr>
        <p:txBody>
          <a:bodyPr wrap="square" rtlCol="0">
            <a:spAutoFit/>
          </a:bodyPr>
          <a:lstStyle/>
          <a:p>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連携（参加、プロモーション等）</a:t>
            </a:r>
            <a:endParaRPr kumimoji="1"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今後調整予定</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テキスト ボックス 43">
            <a:extLst>
              <a:ext uri="{FF2B5EF4-FFF2-40B4-BE49-F238E27FC236}">
                <a16:creationId xmlns:a16="http://schemas.microsoft.com/office/drawing/2014/main" id="{5650BF07-29D8-44DC-A27C-B568E5A12F14}"/>
              </a:ext>
            </a:extLst>
          </p:cNvPr>
          <p:cNvSpPr txBox="1"/>
          <p:nvPr/>
        </p:nvSpPr>
        <p:spPr>
          <a:xfrm>
            <a:off x="5204730" y="4798652"/>
            <a:ext cx="2022465" cy="230832"/>
          </a:xfrm>
          <a:prstGeom prst="rect">
            <a:avLst/>
          </a:prstGeom>
          <a:noFill/>
        </p:spPr>
        <p:txBody>
          <a:bodyPr wrap="square" rtlCol="0">
            <a:spAutoFit/>
          </a:bodyPr>
          <a:lstStyle/>
          <a:p>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連携（連絡会議による活動参画）</a:t>
            </a:r>
          </a:p>
        </p:txBody>
      </p:sp>
      <p:sp>
        <p:nvSpPr>
          <p:cNvPr id="48" name="正方形/長方形 47">
            <a:extLst>
              <a:ext uri="{FF2B5EF4-FFF2-40B4-BE49-F238E27FC236}">
                <a16:creationId xmlns:a16="http://schemas.microsoft.com/office/drawing/2014/main" id="{B0968B24-95CD-42D0-B7FB-C43F882124F2}"/>
              </a:ext>
            </a:extLst>
          </p:cNvPr>
          <p:cNvSpPr/>
          <p:nvPr/>
        </p:nvSpPr>
        <p:spPr bwMode="auto">
          <a:xfrm>
            <a:off x="36484" y="448963"/>
            <a:ext cx="9824010" cy="601373"/>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京阪神を中心とした実行委員会を軸に、</a:t>
            </a:r>
            <a:r>
              <a:rPr kumimoji="0" lang="en-US" altLang="ja-JP" sz="1200" b="1" dirty="0">
                <a:latin typeface="Meiryo UI" panose="020B0604030504040204" pitchFamily="50" charset="-128"/>
                <a:ea typeface="Meiryo UI" panose="020B0604030504040204" pitchFamily="50" charset="-128"/>
              </a:rPr>
              <a:t>GSE2025</a:t>
            </a:r>
            <a:r>
              <a:rPr kumimoji="0" lang="ja-JP" altLang="en-US" sz="1200" b="1" dirty="0">
                <a:latin typeface="Meiryo UI" panose="020B0604030504040204" pitchFamily="50" charset="-128"/>
                <a:ea typeface="Meiryo UI" panose="020B0604030504040204" pitchFamily="50" charset="-128"/>
              </a:rPr>
              <a:t>で既に協力関係を構築している関西の関係機関、国、および全国各都市と連携。また全国のグローバル拠点都市、世界の主要都市とのネットワークを持つ小村氏をプロデューサーに迎え入れ、各界の第一人者をアンバサダーとして任命することで、</a:t>
            </a:r>
            <a:r>
              <a:rPr kumimoji="0" lang="en-US" altLang="ja-JP" sz="1200" b="1" dirty="0">
                <a:latin typeface="Meiryo UI" panose="020B0604030504040204" pitchFamily="50" charset="-128"/>
                <a:ea typeface="Meiryo UI" panose="020B0604030504040204" pitchFamily="50" charset="-128"/>
              </a:rPr>
              <a:t>GSE2026</a:t>
            </a:r>
            <a:r>
              <a:rPr kumimoji="0" lang="ja-JP" altLang="en-US" sz="1200" b="1" dirty="0">
                <a:latin typeface="Meiryo UI" panose="020B0604030504040204" pitchFamily="50" charset="-128"/>
                <a:ea typeface="Meiryo UI" panose="020B0604030504040204" pitchFamily="50" charset="-128"/>
              </a:rPr>
              <a:t>を成功させる。</a:t>
            </a:r>
            <a:endParaRPr kumimoji="0" lang="en-US" altLang="ja-JP" sz="1200" b="1" dirty="0">
              <a:latin typeface="Meiryo UI" panose="020B0604030504040204" pitchFamily="50" charset="-128"/>
              <a:ea typeface="Meiryo UI" panose="020B0604030504040204" pitchFamily="50" charset="-128"/>
            </a:endParaRPr>
          </a:p>
        </p:txBody>
      </p:sp>
      <p:sp>
        <p:nvSpPr>
          <p:cNvPr id="50" name="矢印: 下 49">
            <a:extLst>
              <a:ext uri="{FF2B5EF4-FFF2-40B4-BE49-F238E27FC236}">
                <a16:creationId xmlns:a16="http://schemas.microsoft.com/office/drawing/2014/main" id="{1DADB66D-061F-48D1-8446-82C1B5F1D8BF}"/>
              </a:ext>
            </a:extLst>
          </p:cNvPr>
          <p:cNvSpPr/>
          <p:nvPr/>
        </p:nvSpPr>
        <p:spPr bwMode="auto">
          <a:xfrm rot="5400000">
            <a:off x="5264965" y="1507853"/>
            <a:ext cx="144000" cy="1080000"/>
          </a:xfrm>
          <a:prstGeom prst="downArrow">
            <a:avLst/>
          </a:prstGeom>
          <a:solidFill>
            <a:schemeClr val="accent2">
              <a:lumMod val="75000"/>
            </a:schemeClr>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51" name="テキスト ボックス 50">
            <a:extLst>
              <a:ext uri="{FF2B5EF4-FFF2-40B4-BE49-F238E27FC236}">
                <a16:creationId xmlns:a16="http://schemas.microsoft.com/office/drawing/2014/main" id="{2602289A-1869-4263-8BD9-4C3DCD5343B7}"/>
              </a:ext>
            </a:extLst>
          </p:cNvPr>
          <p:cNvSpPr txBox="1"/>
          <p:nvPr/>
        </p:nvSpPr>
        <p:spPr>
          <a:xfrm>
            <a:off x="6006428" y="1964407"/>
            <a:ext cx="1770121" cy="261610"/>
          </a:xfrm>
          <a:prstGeom prst="rect">
            <a:avLst/>
          </a:prstGeom>
          <a:noFill/>
          <a:ln w="19050">
            <a:solidFill>
              <a:schemeClr val="tx1"/>
            </a:solidFill>
          </a:ln>
        </p:spPr>
        <p:txBody>
          <a:bodyPr wrap="square" rtlCol="0">
            <a:spAutoFit/>
          </a:bodyPr>
          <a:lstStyle/>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民間企業・経済団体等</a:t>
            </a:r>
          </a:p>
        </p:txBody>
      </p:sp>
      <p:sp>
        <p:nvSpPr>
          <p:cNvPr id="52" name="テキスト ボックス 51">
            <a:extLst>
              <a:ext uri="{FF2B5EF4-FFF2-40B4-BE49-F238E27FC236}">
                <a16:creationId xmlns:a16="http://schemas.microsoft.com/office/drawing/2014/main" id="{5258C897-039E-49E1-97B2-3CD8CC04855C}"/>
              </a:ext>
            </a:extLst>
          </p:cNvPr>
          <p:cNvSpPr txBox="1"/>
          <p:nvPr/>
        </p:nvSpPr>
        <p:spPr>
          <a:xfrm>
            <a:off x="4877831" y="2051924"/>
            <a:ext cx="1254516" cy="230832"/>
          </a:xfrm>
          <a:prstGeom prst="rect">
            <a:avLst/>
          </a:prstGeom>
          <a:noFill/>
        </p:spPr>
        <p:txBody>
          <a:bodyPr wrap="square" rtlCol="0">
            <a:spAutoFit/>
          </a:bodyPr>
          <a:lstStyle/>
          <a:p>
            <a:r>
              <a:rPr lang="ja-JP" altLang="en-US" sz="900" dirty="0">
                <a:latin typeface="Meiryo UI" panose="020B0604030504040204" pitchFamily="50" charset="-128"/>
                <a:ea typeface="Meiryo UI" panose="020B0604030504040204" pitchFamily="50" charset="-128"/>
                <a:cs typeface="Meiryo UI" panose="020B0604030504040204" pitchFamily="50" charset="-128"/>
              </a:rPr>
              <a:t>協賛（調整中）</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スライド番号プレースホルダー 2">
            <a:extLst>
              <a:ext uri="{FF2B5EF4-FFF2-40B4-BE49-F238E27FC236}">
                <a16:creationId xmlns:a16="http://schemas.microsoft.com/office/drawing/2014/main" id="{936168EC-6DD7-A3EC-E227-A83ACD523D32}"/>
              </a:ext>
            </a:extLst>
          </p:cNvPr>
          <p:cNvSpPr>
            <a:spLocks noGrp="1"/>
          </p:cNvSpPr>
          <p:nvPr>
            <p:ph type="sldNum" sz="quarter" idx="12"/>
          </p:nvPr>
        </p:nvSpPr>
        <p:spPr>
          <a:xfrm>
            <a:off x="7661913" y="6530025"/>
            <a:ext cx="2311400" cy="365125"/>
          </a:xfrm>
        </p:spPr>
        <p:txBody>
          <a:bodyPr/>
          <a:lstStyle/>
          <a:p>
            <a:r>
              <a:rPr lang="en-US" altLang="ja-JP" dirty="0">
                <a:latin typeface="メイリオ" panose="020B0604030504040204" pitchFamily="50" charset="-128"/>
                <a:ea typeface="メイリオ" panose="020B0604030504040204" pitchFamily="50" charset="-128"/>
                <a:cs typeface="メイリオ" panose="020B0604030504040204" pitchFamily="50" charset="-128"/>
              </a:rPr>
              <a:t>9</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7" name="テキスト ボックス 46">
            <a:extLst>
              <a:ext uri="{FF2B5EF4-FFF2-40B4-BE49-F238E27FC236}">
                <a16:creationId xmlns:a16="http://schemas.microsoft.com/office/drawing/2014/main" id="{7C67AF8C-2AC5-4909-9258-6E859EB18481}"/>
              </a:ext>
            </a:extLst>
          </p:cNvPr>
          <p:cNvSpPr txBox="1"/>
          <p:nvPr/>
        </p:nvSpPr>
        <p:spPr>
          <a:xfrm>
            <a:off x="2325287" y="2230870"/>
            <a:ext cx="2367193" cy="261610"/>
          </a:xfrm>
          <a:prstGeom prst="rect">
            <a:avLst/>
          </a:prstGeom>
          <a:noFill/>
        </p:spPr>
        <p:txBody>
          <a:bodyPr wrap="square" rtlCol="0">
            <a:spAutoFit/>
          </a:bodyPr>
          <a:lstStyle/>
          <a:p>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主要連携イベントの企画、実施</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　</a:t>
            </a:r>
          </a:p>
        </p:txBody>
      </p:sp>
      <p:sp>
        <p:nvSpPr>
          <p:cNvPr id="6" name="テキスト ボックス 5">
            <a:extLst>
              <a:ext uri="{FF2B5EF4-FFF2-40B4-BE49-F238E27FC236}">
                <a16:creationId xmlns:a16="http://schemas.microsoft.com/office/drawing/2014/main" id="{29C9979A-7CA5-419B-BFAF-FA9FF073E18C}"/>
              </a:ext>
            </a:extLst>
          </p:cNvPr>
          <p:cNvSpPr txBox="1"/>
          <p:nvPr/>
        </p:nvSpPr>
        <p:spPr>
          <a:xfrm>
            <a:off x="7550150" y="1501991"/>
            <a:ext cx="1155699" cy="369332"/>
          </a:xfrm>
          <a:prstGeom prst="rect">
            <a:avLst/>
          </a:prstGeom>
          <a:noFill/>
        </p:spPr>
        <p:txBody>
          <a:bodyPr wrap="square" rtlCol="0">
            <a:spAutoFit/>
          </a:bodyPr>
          <a:lstStyle/>
          <a:p>
            <a:r>
              <a:rPr kumimoji="1" lang="en-US" altLang="ja-JP" sz="6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00" dirty="0">
                <a:latin typeface="Meiryo UI" panose="020B0604030504040204" pitchFamily="50" charset="-128"/>
                <a:ea typeface="Meiryo UI" panose="020B0604030504040204" pitchFamily="50" charset="-128"/>
                <a:cs typeface="Meiryo UI" panose="020B0604030504040204" pitchFamily="50" charset="-128"/>
              </a:rPr>
              <a:t>公募の際に大規模なグローバルイベントの運営実績を要することを条件に付す</a:t>
            </a:r>
          </a:p>
        </p:txBody>
      </p:sp>
      <p:sp>
        <p:nvSpPr>
          <p:cNvPr id="53" name="正方形/長方形 52">
            <a:extLst>
              <a:ext uri="{FF2B5EF4-FFF2-40B4-BE49-F238E27FC236}">
                <a16:creationId xmlns:a16="http://schemas.microsoft.com/office/drawing/2014/main" id="{EABD10EB-6338-48ED-B43C-C900139209C0}"/>
              </a:ext>
            </a:extLst>
          </p:cNvPr>
          <p:cNvSpPr/>
          <p:nvPr/>
        </p:nvSpPr>
        <p:spPr bwMode="auto">
          <a:xfrm>
            <a:off x="4804290" y="3479081"/>
            <a:ext cx="4904898" cy="757375"/>
          </a:xfrm>
          <a:prstGeom prst="rect">
            <a:avLst/>
          </a:prstGeom>
          <a:noFill/>
          <a:ln w="12700">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1AA53FBC-41DF-4E6E-A50B-E3DFC06EEA91}"/>
              </a:ext>
            </a:extLst>
          </p:cNvPr>
          <p:cNvSpPr txBox="1"/>
          <p:nvPr/>
        </p:nvSpPr>
        <p:spPr>
          <a:xfrm>
            <a:off x="4789180" y="3516056"/>
            <a:ext cx="4876030" cy="615553"/>
          </a:xfrm>
          <a:prstGeom prst="rect">
            <a:avLst/>
          </a:prstGeom>
          <a:noFill/>
        </p:spPr>
        <p:txBody>
          <a:bodyPr wrap="square">
            <a:spAutoFit/>
          </a:bodyPr>
          <a:lstStyle/>
          <a:p>
            <a:r>
              <a:rPr lang="en-US" altLang="ja-JP" sz="1200" b="1" dirty="0"/>
              <a:t>【GSE2026</a:t>
            </a:r>
            <a:r>
              <a:rPr lang="ja-JP" altLang="en-US" sz="1200" b="1" dirty="0"/>
              <a:t>アンバサダー</a:t>
            </a:r>
            <a:r>
              <a:rPr lang="en-US" altLang="ja-JP" sz="1200" b="1" dirty="0"/>
              <a:t>】</a:t>
            </a:r>
            <a:r>
              <a:rPr lang="ja-JP" altLang="en-US" sz="1200" b="1" dirty="0"/>
              <a:t>　</a:t>
            </a:r>
            <a:endParaRPr lang="en-US" altLang="ja-JP" sz="1200" b="1" dirty="0"/>
          </a:p>
          <a:p>
            <a:r>
              <a:rPr lang="ja-JP" altLang="en-US" sz="1100" dirty="0">
                <a:latin typeface="Meiryo UI" panose="020B0604030504040204" pitchFamily="50" charset="-128"/>
                <a:ea typeface="Meiryo UI" panose="020B0604030504040204" pitchFamily="50" charset="-128"/>
              </a:rPr>
              <a:t>イベントのブランディング、認知度向上　</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経済界、アカデミア、</a:t>
            </a:r>
            <a:r>
              <a:rPr lang="en-US" altLang="ja-JP" sz="1100" dirty="0">
                <a:latin typeface="Meiryo UI" panose="020B0604030504040204" pitchFamily="50" charset="-128"/>
                <a:ea typeface="Meiryo UI" panose="020B0604030504040204" pitchFamily="50" charset="-128"/>
              </a:rPr>
              <a:t>VC</a:t>
            </a:r>
            <a:r>
              <a:rPr lang="ja-JP" altLang="en-US" sz="1100" dirty="0">
                <a:latin typeface="Meiryo UI" panose="020B0604030504040204" pitchFamily="50" charset="-128"/>
                <a:ea typeface="Meiryo UI" panose="020B0604030504040204" pitchFamily="50" charset="-128"/>
              </a:rPr>
              <a:t>、グローバルの分野での著名な方</a:t>
            </a:r>
            <a:r>
              <a:rPr lang="en-US" altLang="ja-JP" sz="1100" dirty="0">
                <a:latin typeface="Meiryo UI" panose="020B0604030504040204" pitchFamily="50" charset="-128"/>
                <a:ea typeface="Meiryo UI" panose="020B0604030504040204" pitchFamily="50" charset="-128"/>
              </a:rPr>
              <a:t>50</a:t>
            </a:r>
            <a:r>
              <a:rPr lang="ja-JP" altLang="en-US" sz="1100" dirty="0">
                <a:latin typeface="Meiryo UI" panose="020B0604030504040204" pitchFamily="50" charset="-128"/>
                <a:ea typeface="Meiryo UI" panose="020B0604030504040204" pitchFamily="50" charset="-128"/>
              </a:rPr>
              <a:t>名程度を想定</a:t>
            </a:r>
            <a:endParaRPr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61155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C4B7D-3041-7637-03F6-38E22B054854}"/>
            </a:ext>
          </a:extLst>
        </p:cNvPr>
        <p:cNvGrpSpPr/>
        <p:nvPr/>
      </p:nvGrpSpPr>
      <p:grpSpPr>
        <a:xfrm>
          <a:off x="0" y="0"/>
          <a:ext cx="0" cy="0"/>
          <a:chOff x="0" y="0"/>
          <a:chExt cx="0" cy="0"/>
        </a:xfrm>
      </p:grpSpPr>
      <p:cxnSp>
        <p:nvCxnSpPr>
          <p:cNvPr id="231" name="直線コネクタ 230">
            <a:extLst>
              <a:ext uri="{FF2B5EF4-FFF2-40B4-BE49-F238E27FC236}">
                <a16:creationId xmlns:a16="http://schemas.microsoft.com/office/drawing/2014/main" id="{61766ABB-3F2D-4377-9F61-5FC5A0EDDEC3}"/>
              </a:ext>
            </a:extLst>
          </p:cNvPr>
          <p:cNvCxnSpPr>
            <a:cxnSpLocks/>
          </p:cNvCxnSpPr>
          <p:nvPr/>
        </p:nvCxnSpPr>
        <p:spPr>
          <a:xfrm>
            <a:off x="197759" y="1111604"/>
            <a:ext cx="3936091" cy="0"/>
          </a:xfrm>
          <a:prstGeom prst="line">
            <a:avLst/>
          </a:prstGeom>
        </p:spPr>
        <p:style>
          <a:lnRef idx="1">
            <a:schemeClr val="dk1"/>
          </a:lnRef>
          <a:fillRef idx="0">
            <a:schemeClr val="dk1"/>
          </a:fillRef>
          <a:effectRef idx="0">
            <a:schemeClr val="dk1"/>
          </a:effectRef>
          <a:fontRef idx="minor">
            <a:schemeClr val="tx1"/>
          </a:fontRef>
        </p:style>
      </p:cxnSp>
      <p:sp>
        <p:nvSpPr>
          <p:cNvPr id="232" name="正方形/長方形 231">
            <a:extLst>
              <a:ext uri="{FF2B5EF4-FFF2-40B4-BE49-F238E27FC236}">
                <a16:creationId xmlns:a16="http://schemas.microsoft.com/office/drawing/2014/main" id="{3AEF2014-2573-415E-8FDE-E6BFADBB414D}"/>
              </a:ext>
            </a:extLst>
          </p:cNvPr>
          <p:cNvSpPr/>
          <p:nvPr/>
        </p:nvSpPr>
        <p:spPr>
          <a:xfrm>
            <a:off x="293692" y="945241"/>
            <a:ext cx="3939969" cy="1364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b="1" dirty="0">
                <a:solidFill>
                  <a:schemeClr val="tx1"/>
                </a:solidFill>
                <a:latin typeface="Meiryo UI" panose="020B0604030504040204" pitchFamily="50" charset="-128"/>
                <a:ea typeface="Meiryo UI" panose="020B0604030504040204" pitchFamily="50" charset="-128"/>
              </a:rPr>
              <a:t>　グローバルスタートアップイベント開催実績（</a:t>
            </a:r>
            <a:r>
              <a:rPr lang="en-US" altLang="ja-JP" sz="1200" b="1" dirty="0">
                <a:solidFill>
                  <a:schemeClr val="tx1"/>
                </a:solidFill>
                <a:latin typeface="Meiryo UI" panose="020B0604030504040204" pitchFamily="50" charset="-128"/>
                <a:ea typeface="Meiryo UI" panose="020B0604030504040204" pitchFamily="50" charset="-128"/>
              </a:rPr>
              <a:t>2025</a:t>
            </a:r>
            <a:r>
              <a:rPr lang="ja-JP" altLang="en-US" sz="1200" b="1" dirty="0">
                <a:solidFill>
                  <a:schemeClr val="tx1"/>
                </a:solidFill>
                <a:latin typeface="Meiryo UI" panose="020B0604030504040204" pitchFamily="50" charset="-128"/>
                <a:ea typeface="Meiryo UI" panose="020B0604030504040204" pitchFamily="50" charset="-128"/>
              </a:rPr>
              <a:t>年度）</a:t>
            </a:r>
          </a:p>
        </p:txBody>
      </p:sp>
      <p:pic>
        <p:nvPicPr>
          <p:cNvPr id="230" name="グラフィックス 84" descr="山形の矢印 単色塗りつぶし">
            <a:extLst>
              <a:ext uri="{FF2B5EF4-FFF2-40B4-BE49-F238E27FC236}">
                <a16:creationId xmlns:a16="http://schemas.microsoft.com/office/drawing/2014/main" id="{4E74CD13-F3C5-425C-8D32-E87CC66E271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5127" y="877708"/>
            <a:ext cx="221232" cy="279874"/>
          </a:xfrm>
          <a:prstGeom prst="rect">
            <a:avLst/>
          </a:prstGeom>
        </p:spPr>
      </p:pic>
      <p:sp>
        <p:nvSpPr>
          <p:cNvPr id="2" name="タイトル 1">
            <a:extLst>
              <a:ext uri="{FF2B5EF4-FFF2-40B4-BE49-F238E27FC236}">
                <a16:creationId xmlns:a16="http://schemas.microsoft.com/office/drawing/2014/main" id="{FC4C46CB-E119-9D40-A9DC-CAFC192CF218}"/>
              </a:ext>
            </a:extLst>
          </p:cNvPr>
          <p:cNvSpPr>
            <a:spLocks noGrp="1"/>
          </p:cNvSpPr>
          <p:nvPr>
            <p:ph type="title"/>
          </p:nvPr>
        </p:nvSpPr>
        <p:spPr>
          <a:xfrm>
            <a:off x="178567" y="44138"/>
            <a:ext cx="9505503" cy="307777"/>
          </a:xfrm>
        </p:spPr>
        <p:txBody>
          <a:bodyPr/>
          <a:lstStyle/>
          <a:p>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3. </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実施体制（実施体制（過去実績）</a:t>
            </a:r>
            <a:endParaRPr kumimoji="1" lang="ja-JP" altLang="en-US" sz="1400" u="sng" dirty="0">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3" name="直線コネクタ 22">
            <a:extLst>
              <a:ext uri="{FF2B5EF4-FFF2-40B4-BE49-F238E27FC236}">
                <a16:creationId xmlns:a16="http://schemas.microsoft.com/office/drawing/2014/main" id="{1F64B82E-FD74-4D64-9B0B-2162729B6AD0}"/>
              </a:ext>
            </a:extLst>
          </p:cNvPr>
          <p:cNvCxnSpPr>
            <a:cxnSpLocks/>
          </p:cNvCxnSpPr>
          <p:nvPr/>
        </p:nvCxnSpPr>
        <p:spPr>
          <a:xfrm flipH="1">
            <a:off x="217529" y="3047203"/>
            <a:ext cx="9214424" cy="0"/>
          </a:xfrm>
          <a:prstGeom prst="line">
            <a:avLst/>
          </a:prstGeom>
          <a:noFill/>
          <a:ln w="6350" cap="flat" cmpd="sng" algn="ctr">
            <a:solidFill>
              <a:srgbClr val="0A3287"/>
            </a:solidFill>
            <a:prstDash val="dash"/>
            <a:miter lim="800000"/>
          </a:ln>
          <a:effectLst/>
        </p:spPr>
      </p:cxnSp>
      <p:pic>
        <p:nvPicPr>
          <p:cNvPr id="38" name="図 37">
            <a:extLst>
              <a:ext uri="{FF2B5EF4-FFF2-40B4-BE49-F238E27FC236}">
                <a16:creationId xmlns:a16="http://schemas.microsoft.com/office/drawing/2014/main" id="{0A46E545-F24B-4510-9934-292DF723D07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69463" y="1331081"/>
            <a:ext cx="1428856" cy="522596"/>
          </a:xfrm>
          <a:prstGeom prst="rect">
            <a:avLst/>
          </a:prstGeom>
        </p:spPr>
      </p:pic>
      <p:pic>
        <p:nvPicPr>
          <p:cNvPr id="40" name="図 39">
            <a:extLst>
              <a:ext uri="{FF2B5EF4-FFF2-40B4-BE49-F238E27FC236}">
                <a16:creationId xmlns:a16="http://schemas.microsoft.com/office/drawing/2014/main" id="{56B770F0-1DCD-4573-A98C-4DD71F7B167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27750" y="1366592"/>
            <a:ext cx="1257530" cy="442963"/>
          </a:xfrm>
          <a:prstGeom prst="rect">
            <a:avLst/>
          </a:prstGeom>
        </p:spPr>
      </p:pic>
      <p:sp>
        <p:nvSpPr>
          <p:cNvPr id="42" name="テキスト ボックス 41">
            <a:extLst>
              <a:ext uri="{FF2B5EF4-FFF2-40B4-BE49-F238E27FC236}">
                <a16:creationId xmlns:a16="http://schemas.microsoft.com/office/drawing/2014/main" id="{41E78418-2423-4318-B490-E0575F0414EC}"/>
              </a:ext>
            </a:extLst>
          </p:cNvPr>
          <p:cNvSpPr txBox="1"/>
          <p:nvPr/>
        </p:nvSpPr>
        <p:spPr>
          <a:xfrm>
            <a:off x="5225705" y="1950517"/>
            <a:ext cx="4634789" cy="577081"/>
          </a:xfrm>
          <a:prstGeom prst="rect">
            <a:avLst/>
          </a:prstGeom>
          <a:noFill/>
        </p:spPr>
        <p:txBody>
          <a:bodyPr wrap="square">
            <a:spAutoFit/>
          </a:bodyPr>
          <a:lstStyle>
            <a:defPPr>
              <a:defRPr lang="ja-JP"/>
            </a:defPPr>
            <a:lvl1pPr marL="171450" indent="-171450">
              <a:buFont typeface="Wingdings" panose="05000000000000000000" pitchFamily="2" charset="2"/>
              <a:buChar char="n"/>
              <a:defRPr sz="1050"/>
            </a:lvl1pPr>
          </a:lstStyle>
          <a:p>
            <a:r>
              <a:rPr lang="ja-JP" altLang="en-US" dirty="0"/>
              <a:t>開催概要</a:t>
            </a:r>
            <a:endParaRPr lang="en-US" altLang="ja-JP" dirty="0"/>
          </a:p>
          <a:p>
            <a:pPr marL="0" indent="0">
              <a:buNone/>
            </a:pPr>
            <a:r>
              <a:rPr lang="ja-JP" altLang="en-US" dirty="0"/>
              <a:t>　 主催</a:t>
            </a:r>
            <a:r>
              <a:rPr lang="en-US" altLang="ja-JP" dirty="0"/>
              <a:t>:</a:t>
            </a:r>
            <a:r>
              <a:rPr lang="ja-JP" altLang="en-US" dirty="0">
                <a:solidFill>
                  <a:prstClr val="black"/>
                </a:solidFill>
                <a:latin typeface="Meiryo UI" panose="020B0604030504040204" pitchFamily="50" charset="-128"/>
                <a:ea typeface="Meiryo UI" panose="020B0604030504040204" pitchFamily="50" charset="-128"/>
              </a:rPr>
              <a:t>大阪市、大阪産業局、</a:t>
            </a:r>
            <a:r>
              <a:rPr lang="en-US" altLang="ja-JP" dirty="0">
                <a:solidFill>
                  <a:prstClr val="black"/>
                </a:solidFill>
                <a:latin typeface="Meiryo UI" panose="020B0604030504040204" pitchFamily="50" charset="-128"/>
                <a:ea typeface="Meiryo UI" panose="020B0604030504040204" pitchFamily="50" charset="-128"/>
              </a:rPr>
              <a:t> U-FINO</a:t>
            </a:r>
            <a:r>
              <a:rPr lang="ja-JP" altLang="en-US" dirty="0">
                <a:solidFill>
                  <a:prstClr val="black"/>
                </a:solidFill>
                <a:latin typeface="Meiryo UI" panose="020B0604030504040204" pitchFamily="50" charset="-128"/>
                <a:ea typeface="Meiryo UI" panose="020B0604030504040204" pitchFamily="50" charset="-128"/>
              </a:rPr>
              <a:t>、</a:t>
            </a:r>
            <a:r>
              <a:rPr lang="en-US" altLang="ja-JP" dirty="0">
                <a:solidFill>
                  <a:prstClr val="black"/>
                </a:solidFill>
                <a:latin typeface="Meiryo UI" panose="020B0604030504040204" pitchFamily="50" charset="-128"/>
                <a:ea typeface="Meiryo UI" panose="020B0604030504040204" pitchFamily="50" charset="-128"/>
              </a:rPr>
              <a:t>JETRO</a:t>
            </a:r>
            <a:r>
              <a:rPr lang="ja-JP" altLang="en-US" dirty="0">
                <a:solidFill>
                  <a:prstClr val="black"/>
                </a:solidFill>
                <a:latin typeface="Meiryo UI" panose="020B0604030504040204" pitchFamily="50" charset="-128"/>
                <a:ea typeface="Meiryo UI" panose="020B0604030504040204" pitchFamily="50" charset="-128"/>
              </a:rPr>
              <a:t>大阪、都市活力研究所</a:t>
            </a:r>
            <a:endParaRPr lang="en-US" altLang="ja-JP" dirty="0">
              <a:solidFill>
                <a:prstClr val="black"/>
              </a:solidFill>
              <a:latin typeface="Meiryo UI" panose="020B0604030504040204" pitchFamily="50" charset="-128"/>
              <a:ea typeface="Meiryo UI" panose="020B0604030504040204" pitchFamily="50" charset="-128"/>
            </a:endParaRPr>
          </a:p>
          <a:p>
            <a:pPr marL="0" indent="0">
              <a:buNone/>
            </a:pPr>
            <a:r>
              <a:rPr lang="en-US" altLang="ja-JP" dirty="0"/>
              <a:t>	</a:t>
            </a:r>
          </a:p>
        </p:txBody>
      </p:sp>
      <p:sp>
        <p:nvSpPr>
          <p:cNvPr id="51" name="テキスト ボックス 50">
            <a:extLst>
              <a:ext uri="{FF2B5EF4-FFF2-40B4-BE49-F238E27FC236}">
                <a16:creationId xmlns:a16="http://schemas.microsoft.com/office/drawing/2014/main" id="{48E7D4DC-8A7D-4D80-94AB-B088E6092EFB}"/>
              </a:ext>
            </a:extLst>
          </p:cNvPr>
          <p:cNvSpPr txBox="1"/>
          <p:nvPr/>
        </p:nvSpPr>
        <p:spPr>
          <a:xfrm>
            <a:off x="6686802" y="1213337"/>
            <a:ext cx="3086099" cy="861774"/>
          </a:xfrm>
          <a:prstGeom prst="rect">
            <a:avLst/>
          </a:prstGeom>
          <a:noFill/>
        </p:spPr>
        <p:txBody>
          <a:bodyPr wrap="square">
            <a:spAutoFit/>
          </a:bodyPr>
          <a:lstStyle/>
          <a:p>
            <a:r>
              <a:rPr lang="ja-JP" altLang="en-US" sz="1000" dirty="0"/>
              <a:t>成長をめざすスタートアップと、新たなビジネスの可能性を模索する事業会社や投資家等が出会い、商談や交流を通じて相互の成長を促進するビジネスマッチングの場を提供するグローバルなスタートアップイベント。</a:t>
            </a:r>
          </a:p>
        </p:txBody>
      </p:sp>
      <p:graphicFrame>
        <p:nvGraphicFramePr>
          <p:cNvPr id="7" name="表 6">
            <a:extLst>
              <a:ext uri="{FF2B5EF4-FFF2-40B4-BE49-F238E27FC236}">
                <a16:creationId xmlns:a16="http://schemas.microsoft.com/office/drawing/2014/main" id="{4E857AD7-BE68-D992-2E42-87841B15D26F}"/>
              </a:ext>
            </a:extLst>
          </p:cNvPr>
          <p:cNvGraphicFramePr>
            <a:graphicFrameLocks noGrp="1"/>
          </p:cNvGraphicFramePr>
          <p:nvPr/>
        </p:nvGraphicFramePr>
        <p:xfrm>
          <a:off x="5247160" y="2432562"/>
          <a:ext cx="4261932" cy="560350"/>
        </p:xfrm>
        <a:graphic>
          <a:graphicData uri="http://schemas.openxmlformats.org/drawingml/2006/table">
            <a:tbl>
              <a:tblPr firstRow="1" bandRow="1">
                <a:tableStyleId>{073A0DAA-6AF3-43AB-8588-CEC1D06C72B9}</a:tableStyleId>
              </a:tblPr>
              <a:tblGrid>
                <a:gridCol w="710322">
                  <a:extLst>
                    <a:ext uri="{9D8B030D-6E8A-4147-A177-3AD203B41FA5}">
                      <a16:colId xmlns:a16="http://schemas.microsoft.com/office/drawing/2014/main" val="1458784790"/>
                    </a:ext>
                  </a:extLst>
                </a:gridCol>
                <a:gridCol w="710322">
                  <a:extLst>
                    <a:ext uri="{9D8B030D-6E8A-4147-A177-3AD203B41FA5}">
                      <a16:colId xmlns:a16="http://schemas.microsoft.com/office/drawing/2014/main" val="3381195065"/>
                    </a:ext>
                  </a:extLst>
                </a:gridCol>
                <a:gridCol w="710322">
                  <a:extLst>
                    <a:ext uri="{9D8B030D-6E8A-4147-A177-3AD203B41FA5}">
                      <a16:colId xmlns:a16="http://schemas.microsoft.com/office/drawing/2014/main" val="1123530596"/>
                    </a:ext>
                  </a:extLst>
                </a:gridCol>
                <a:gridCol w="710322">
                  <a:extLst>
                    <a:ext uri="{9D8B030D-6E8A-4147-A177-3AD203B41FA5}">
                      <a16:colId xmlns:a16="http://schemas.microsoft.com/office/drawing/2014/main" val="2281002417"/>
                    </a:ext>
                  </a:extLst>
                </a:gridCol>
                <a:gridCol w="710322">
                  <a:extLst>
                    <a:ext uri="{9D8B030D-6E8A-4147-A177-3AD203B41FA5}">
                      <a16:colId xmlns:a16="http://schemas.microsoft.com/office/drawing/2014/main" val="330086002"/>
                    </a:ext>
                  </a:extLst>
                </a:gridCol>
                <a:gridCol w="710322">
                  <a:extLst>
                    <a:ext uri="{9D8B030D-6E8A-4147-A177-3AD203B41FA5}">
                      <a16:colId xmlns:a16="http://schemas.microsoft.com/office/drawing/2014/main" val="2048253231"/>
                    </a:ext>
                  </a:extLst>
                </a:gridCol>
              </a:tblGrid>
              <a:tr h="240940">
                <a:tc>
                  <a:txBody>
                    <a:bodyPr/>
                    <a:lstStyle/>
                    <a:p>
                      <a:pPr algn="ctr"/>
                      <a:r>
                        <a:rPr kumimoji="1" lang="ja-JP" altLang="en-US" sz="500" dirty="0">
                          <a:solidFill>
                            <a:schemeClr val="tx1"/>
                          </a:solidFill>
                        </a:rPr>
                        <a:t>参加者</a:t>
                      </a:r>
                    </a:p>
                  </a:txBody>
                  <a:tcPr marT="37785" marB="37785" anchor="ctr" anchorCtr="1">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展示</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海外招聘者数</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サイド</a:t>
                      </a:r>
                      <a:br>
                        <a:rPr kumimoji="1" lang="en-US" altLang="ja-JP" sz="500" dirty="0">
                          <a:solidFill>
                            <a:schemeClr val="tx1"/>
                          </a:solidFill>
                        </a:rPr>
                      </a:br>
                      <a:r>
                        <a:rPr kumimoji="1" lang="ja-JP" altLang="en-US" sz="500" dirty="0">
                          <a:solidFill>
                            <a:schemeClr val="tx1"/>
                          </a:solidFill>
                        </a:rPr>
                        <a:t>イベント</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セッション数</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英語</a:t>
                      </a:r>
                      <a:br>
                        <a:rPr kumimoji="1" lang="en-US" altLang="ja-JP" sz="500" dirty="0">
                          <a:solidFill>
                            <a:schemeClr val="tx1"/>
                          </a:solidFill>
                        </a:rPr>
                      </a:br>
                      <a:r>
                        <a:rPr kumimoji="1" lang="ja-JP" altLang="en-US" sz="500" dirty="0">
                          <a:solidFill>
                            <a:schemeClr val="tx1"/>
                          </a:solidFill>
                        </a:rPr>
                        <a:t>セッション比率</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74245439"/>
                  </a:ext>
                </a:extLst>
              </a:tr>
              <a:tr h="293476">
                <a:tc>
                  <a:txBody>
                    <a:bodyPr/>
                    <a:lstStyle/>
                    <a:p>
                      <a:pPr algn="ctr"/>
                      <a:r>
                        <a:rPr kumimoji="1" lang="en-US" altLang="ja-JP" sz="800" b="1" dirty="0">
                          <a:solidFill>
                            <a:schemeClr val="tx1"/>
                          </a:solidFill>
                        </a:rPr>
                        <a:t>3,500</a:t>
                      </a:r>
                      <a:r>
                        <a:rPr kumimoji="1" lang="ja-JP" altLang="en-US" sz="800" b="1" dirty="0">
                          <a:solidFill>
                            <a:schemeClr val="tx1"/>
                          </a:solidFill>
                        </a:rPr>
                        <a:t>名</a:t>
                      </a:r>
                    </a:p>
                  </a:txBody>
                  <a:tcPr marT="37785" marB="37785" anchor="ctr" anchorCtr="1">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170</a:t>
                      </a:r>
                      <a:r>
                        <a:rPr kumimoji="1" lang="ja-JP" altLang="en-US" sz="800" b="1" dirty="0">
                          <a:solidFill>
                            <a:schemeClr val="tx1"/>
                          </a:solidFill>
                        </a:rPr>
                        <a:t>社</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10</a:t>
                      </a:r>
                      <a:r>
                        <a:rPr kumimoji="1" lang="ja-JP" altLang="en-US" sz="800" b="1" dirty="0">
                          <a:solidFill>
                            <a:schemeClr val="tx1"/>
                          </a:solidFill>
                        </a:rPr>
                        <a:t>名</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13</a:t>
                      </a:r>
                      <a:endParaRPr kumimoji="1" lang="ja-JP" altLang="en-US" sz="800" b="1" dirty="0">
                        <a:solidFill>
                          <a:schemeClr val="tx1"/>
                        </a:solidFill>
                      </a:endParaRP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9</a:t>
                      </a:r>
                      <a:br>
                        <a:rPr kumimoji="1" lang="en-US" altLang="ja-JP" sz="800" b="1" dirty="0">
                          <a:solidFill>
                            <a:schemeClr val="tx1"/>
                          </a:solidFill>
                        </a:rPr>
                      </a:br>
                      <a:r>
                        <a:rPr kumimoji="1" lang="ja-JP" altLang="en-US" sz="800" b="1" dirty="0">
                          <a:solidFill>
                            <a:schemeClr val="tx1"/>
                          </a:solidFill>
                        </a:rPr>
                        <a:t>内 英語</a:t>
                      </a:r>
                      <a:r>
                        <a:rPr kumimoji="1" lang="en-US" altLang="ja-JP" sz="800" b="1" dirty="0">
                          <a:solidFill>
                            <a:schemeClr val="tx1"/>
                          </a:solidFill>
                        </a:rPr>
                        <a:t>5</a:t>
                      </a:r>
                      <a:endParaRPr kumimoji="1" lang="ja-JP" altLang="en-US" sz="800" b="1" dirty="0">
                        <a:solidFill>
                          <a:schemeClr val="tx1"/>
                        </a:solidFill>
                      </a:endParaRP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55%</a:t>
                      </a:r>
                      <a:endParaRPr kumimoji="1" lang="ja-JP" altLang="en-US" sz="800" b="1" dirty="0">
                        <a:solidFill>
                          <a:schemeClr val="tx1"/>
                        </a:solidFill>
                      </a:endParaRP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6887514"/>
                  </a:ext>
                </a:extLst>
              </a:tr>
            </a:tbl>
          </a:graphicData>
        </a:graphic>
      </p:graphicFrame>
      <p:sp>
        <p:nvSpPr>
          <p:cNvPr id="10" name="テキスト ボックス 9">
            <a:extLst>
              <a:ext uri="{FF2B5EF4-FFF2-40B4-BE49-F238E27FC236}">
                <a16:creationId xmlns:a16="http://schemas.microsoft.com/office/drawing/2014/main" id="{44F72303-88A4-6ACF-7A3B-6682DADDEFA8}"/>
              </a:ext>
            </a:extLst>
          </p:cNvPr>
          <p:cNvSpPr txBox="1"/>
          <p:nvPr/>
        </p:nvSpPr>
        <p:spPr>
          <a:xfrm>
            <a:off x="1744064" y="1203720"/>
            <a:ext cx="3086099" cy="861774"/>
          </a:xfrm>
          <a:prstGeom prst="rect">
            <a:avLst/>
          </a:prstGeom>
          <a:noFill/>
        </p:spPr>
        <p:txBody>
          <a:bodyPr wrap="square">
            <a:spAutoFit/>
          </a:bodyPr>
          <a:lstStyle>
            <a:defPPr>
              <a:defRPr lang="ja-JP"/>
            </a:defPPr>
            <a:lvl1pPr>
              <a:defRPr sz="1000"/>
            </a:lvl1pPr>
          </a:lstStyle>
          <a:p>
            <a:r>
              <a:rPr lang="ja-JP" altLang="en-US" dirty="0"/>
              <a:t>ライフサイエンス、カーボンニュートラル、デジタル（</a:t>
            </a:r>
            <a:r>
              <a:rPr lang="en-US" altLang="ja-JP" dirty="0"/>
              <a:t>AI/Web3.0</a:t>
            </a:r>
            <a:r>
              <a:rPr lang="ja-JP" altLang="en-US" dirty="0"/>
              <a:t>等）をテーマに多彩な</a:t>
            </a:r>
            <a:r>
              <a:rPr lang="en-US" altLang="ja-JP" dirty="0"/>
              <a:t>GSE</a:t>
            </a:r>
            <a:r>
              <a:rPr lang="ja-JP" altLang="en-US" dirty="0"/>
              <a:t>の関連イベントを開催。世界的なアクセラレーターによるグローバルピッチイベント、ブロックチェーン開発者主催のグローバルイベント等を実施。</a:t>
            </a:r>
          </a:p>
        </p:txBody>
      </p:sp>
      <p:sp>
        <p:nvSpPr>
          <p:cNvPr id="11" name="テキスト ボックス 10">
            <a:extLst>
              <a:ext uri="{FF2B5EF4-FFF2-40B4-BE49-F238E27FC236}">
                <a16:creationId xmlns:a16="http://schemas.microsoft.com/office/drawing/2014/main" id="{EB3B2F43-5FA4-A74F-18E4-B6CC43EC3606}"/>
              </a:ext>
            </a:extLst>
          </p:cNvPr>
          <p:cNvSpPr txBox="1"/>
          <p:nvPr/>
        </p:nvSpPr>
        <p:spPr>
          <a:xfrm>
            <a:off x="281333" y="1933448"/>
            <a:ext cx="4843489" cy="577081"/>
          </a:xfrm>
          <a:prstGeom prst="rect">
            <a:avLst/>
          </a:prstGeom>
          <a:noFill/>
        </p:spPr>
        <p:txBody>
          <a:bodyPr wrap="square">
            <a:spAutoFit/>
          </a:bodyPr>
          <a:lstStyle>
            <a:defPPr>
              <a:defRPr lang="ja-JP"/>
            </a:defPPr>
            <a:lvl1pPr marL="171450" indent="-171450">
              <a:buFont typeface="Wingdings" panose="05000000000000000000" pitchFamily="2" charset="2"/>
              <a:buChar char="n"/>
              <a:defRPr sz="1050"/>
            </a:lvl1pPr>
          </a:lstStyle>
          <a:p>
            <a:r>
              <a:rPr lang="ja-JP" altLang="en-US" dirty="0"/>
              <a:t>開催概要</a:t>
            </a:r>
            <a:endParaRPr lang="en-US" altLang="ja-JP" dirty="0"/>
          </a:p>
          <a:p>
            <a:pPr marL="0" indent="0">
              <a:buNone/>
            </a:pPr>
            <a:r>
              <a:rPr lang="ja-JP" altLang="en-US" dirty="0"/>
              <a:t>　 主催</a:t>
            </a:r>
            <a:r>
              <a:rPr lang="en-US" altLang="ja-JP" dirty="0"/>
              <a:t>:</a:t>
            </a:r>
            <a:r>
              <a:rPr lang="ja-JP" altLang="en-US" dirty="0">
                <a:solidFill>
                  <a:prstClr val="black"/>
                </a:solidFill>
                <a:latin typeface="Meiryo UI" panose="020B0604030504040204" pitchFamily="50" charset="-128"/>
                <a:ea typeface="Meiryo UI" panose="020B0604030504040204" pitchFamily="50" charset="-128"/>
              </a:rPr>
              <a:t>大阪府　経済団体等と共催で多彩なイベントを開催</a:t>
            </a:r>
            <a:endParaRPr lang="en-US" altLang="ja-JP" dirty="0">
              <a:solidFill>
                <a:prstClr val="black"/>
              </a:solidFill>
              <a:latin typeface="Meiryo UI" panose="020B0604030504040204" pitchFamily="50" charset="-128"/>
              <a:ea typeface="Meiryo UI" panose="020B0604030504040204" pitchFamily="50" charset="-128"/>
            </a:endParaRPr>
          </a:p>
          <a:p>
            <a:pPr marL="0" indent="0">
              <a:buNone/>
            </a:pPr>
            <a:r>
              <a:rPr lang="en-US" altLang="ja-JP" dirty="0"/>
              <a:t>	</a:t>
            </a:r>
          </a:p>
        </p:txBody>
      </p:sp>
      <p:graphicFrame>
        <p:nvGraphicFramePr>
          <p:cNvPr id="34" name="表 33">
            <a:extLst>
              <a:ext uri="{FF2B5EF4-FFF2-40B4-BE49-F238E27FC236}">
                <a16:creationId xmlns:a16="http://schemas.microsoft.com/office/drawing/2014/main" id="{BD5CE648-054C-401A-B9F6-DC6A40FF4C9F}"/>
              </a:ext>
            </a:extLst>
          </p:cNvPr>
          <p:cNvGraphicFramePr>
            <a:graphicFrameLocks noGrp="1"/>
          </p:cNvGraphicFramePr>
          <p:nvPr/>
        </p:nvGraphicFramePr>
        <p:xfrm>
          <a:off x="319506" y="2437283"/>
          <a:ext cx="4261932" cy="560350"/>
        </p:xfrm>
        <a:graphic>
          <a:graphicData uri="http://schemas.openxmlformats.org/drawingml/2006/table">
            <a:tbl>
              <a:tblPr firstRow="1" bandRow="1">
                <a:tableStyleId>{073A0DAA-6AF3-43AB-8588-CEC1D06C72B9}</a:tableStyleId>
              </a:tblPr>
              <a:tblGrid>
                <a:gridCol w="710322">
                  <a:extLst>
                    <a:ext uri="{9D8B030D-6E8A-4147-A177-3AD203B41FA5}">
                      <a16:colId xmlns:a16="http://schemas.microsoft.com/office/drawing/2014/main" val="1458784790"/>
                    </a:ext>
                  </a:extLst>
                </a:gridCol>
                <a:gridCol w="710322">
                  <a:extLst>
                    <a:ext uri="{9D8B030D-6E8A-4147-A177-3AD203B41FA5}">
                      <a16:colId xmlns:a16="http://schemas.microsoft.com/office/drawing/2014/main" val="3381195065"/>
                    </a:ext>
                  </a:extLst>
                </a:gridCol>
                <a:gridCol w="710322">
                  <a:extLst>
                    <a:ext uri="{9D8B030D-6E8A-4147-A177-3AD203B41FA5}">
                      <a16:colId xmlns:a16="http://schemas.microsoft.com/office/drawing/2014/main" val="1123530596"/>
                    </a:ext>
                  </a:extLst>
                </a:gridCol>
                <a:gridCol w="710322">
                  <a:extLst>
                    <a:ext uri="{9D8B030D-6E8A-4147-A177-3AD203B41FA5}">
                      <a16:colId xmlns:a16="http://schemas.microsoft.com/office/drawing/2014/main" val="2281002417"/>
                    </a:ext>
                  </a:extLst>
                </a:gridCol>
                <a:gridCol w="710322">
                  <a:extLst>
                    <a:ext uri="{9D8B030D-6E8A-4147-A177-3AD203B41FA5}">
                      <a16:colId xmlns:a16="http://schemas.microsoft.com/office/drawing/2014/main" val="330086002"/>
                    </a:ext>
                  </a:extLst>
                </a:gridCol>
                <a:gridCol w="710322">
                  <a:extLst>
                    <a:ext uri="{9D8B030D-6E8A-4147-A177-3AD203B41FA5}">
                      <a16:colId xmlns:a16="http://schemas.microsoft.com/office/drawing/2014/main" val="2048253231"/>
                    </a:ext>
                  </a:extLst>
                </a:gridCol>
              </a:tblGrid>
              <a:tr h="240940">
                <a:tc>
                  <a:txBody>
                    <a:bodyPr/>
                    <a:lstStyle/>
                    <a:p>
                      <a:pPr algn="ctr"/>
                      <a:r>
                        <a:rPr kumimoji="1" lang="ja-JP" altLang="en-US" sz="500" dirty="0">
                          <a:solidFill>
                            <a:schemeClr val="tx1"/>
                          </a:solidFill>
                        </a:rPr>
                        <a:t>参加者</a:t>
                      </a:r>
                    </a:p>
                  </a:txBody>
                  <a:tcPr marT="37785" marB="37785" anchor="ctr" anchorCtr="1">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展示</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海外招聘者数</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サイド</a:t>
                      </a:r>
                      <a:br>
                        <a:rPr kumimoji="1" lang="en-US" altLang="ja-JP" sz="500" dirty="0">
                          <a:solidFill>
                            <a:schemeClr val="tx1"/>
                          </a:solidFill>
                        </a:rPr>
                      </a:br>
                      <a:r>
                        <a:rPr kumimoji="1" lang="ja-JP" altLang="en-US" sz="500" dirty="0">
                          <a:solidFill>
                            <a:schemeClr val="tx1"/>
                          </a:solidFill>
                        </a:rPr>
                        <a:t>イベント</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セッション数</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r>
                        <a:rPr kumimoji="1" lang="ja-JP" altLang="en-US" sz="500" dirty="0">
                          <a:solidFill>
                            <a:schemeClr val="tx1"/>
                          </a:solidFill>
                        </a:rPr>
                        <a:t>英語</a:t>
                      </a:r>
                      <a:br>
                        <a:rPr kumimoji="1" lang="en-US" altLang="ja-JP" sz="500" dirty="0">
                          <a:solidFill>
                            <a:schemeClr val="tx1"/>
                          </a:solidFill>
                        </a:rPr>
                      </a:br>
                      <a:r>
                        <a:rPr kumimoji="1" lang="ja-JP" altLang="en-US" sz="500" dirty="0">
                          <a:solidFill>
                            <a:schemeClr val="tx1"/>
                          </a:solidFill>
                        </a:rPr>
                        <a:t>セッション比率</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74245439"/>
                  </a:ext>
                </a:extLst>
              </a:tr>
              <a:tr h="293476">
                <a:tc>
                  <a:txBody>
                    <a:bodyPr/>
                    <a:lstStyle/>
                    <a:p>
                      <a:pPr algn="ctr"/>
                      <a:r>
                        <a:rPr kumimoji="1" lang="en-US" altLang="ja-JP" sz="800" b="1" dirty="0">
                          <a:solidFill>
                            <a:schemeClr val="tx1"/>
                          </a:solidFill>
                        </a:rPr>
                        <a:t>6,550</a:t>
                      </a:r>
                      <a:r>
                        <a:rPr kumimoji="1" lang="ja-JP" altLang="en-US" sz="800" b="1" dirty="0">
                          <a:solidFill>
                            <a:schemeClr val="tx1"/>
                          </a:solidFill>
                        </a:rPr>
                        <a:t>名</a:t>
                      </a:r>
                    </a:p>
                  </a:txBody>
                  <a:tcPr marT="37785" marB="37785" anchor="ctr" anchorCtr="1">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257</a:t>
                      </a:r>
                      <a:r>
                        <a:rPr kumimoji="1" lang="ja-JP" altLang="en-US" sz="800" b="1" dirty="0">
                          <a:solidFill>
                            <a:schemeClr val="tx1"/>
                          </a:solidFill>
                        </a:rPr>
                        <a:t>社</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126</a:t>
                      </a:r>
                      <a:r>
                        <a:rPr kumimoji="1" lang="ja-JP" altLang="en-US" sz="800" b="1" dirty="0">
                          <a:solidFill>
                            <a:schemeClr val="tx1"/>
                          </a:solidFill>
                        </a:rPr>
                        <a:t>名</a:t>
                      </a: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15</a:t>
                      </a:r>
                      <a:endParaRPr kumimoji="1" lang="ja-JP" altLang="en-US" sz="800" b="1" dirty="0">
                        <a:solidFill>
                          <a:schemeClr val="tx1"/>
                        </a:solidFill>
                      </a:endParaRP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85</a:t>
                      </a:r>
                    </a:p>
                    <a:p>
                      <a:pPr algn="ctr"/>
                      <a:r>
                        <a:rPr kumimoji="1" lang="ja-JP" altLang="en-US" sz="800" b="1" dirty="0">
                          <a:solidFill>
                            <a:schemeClr val="tx1"/>
                          </a:solidFill>
                        </a:rPr>
                        <a:t>内 英語</a:t>
                      </a:r>
                      <a:r>
                        <a:rPr kumimoji="1" lang="en-US" altLang="ja-JP" sz="800" b="1" dirty="0">
                          <a:solidFill>
                            <a:schemeClr val="tx1"/>
                          </a:solidFill>
                        </a:rPr>
                        <a:t>63</a:t>
                      </a:r>
                      <a:endParaRPr kumimoji="1" lang="ja-JP" altLang="en-US" sz="800" b="1" dirty="0">
                        <a:solidFill>
                          <a:schemeClr val="tx1"/>
                        </a:solidFill>
                      </a:endParaRP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a:r>
                        <a:rPr kumimoji="1" lang="en-US" altLang="ja-JP" sz="800" b="1" dirty="0">
                          <a:solidFill>
                            <a:schemeClr val="tx1"/>
                          </a:solidFill>
                        </a:rPr>
                        <a:t>74%</a:t>
                      </a:r>
                      <a:endParaRPr kumimoji="1" lang="ja-JP" altLang="en-US" sz="800" b="1" dirty="0">
                        <a:solidFill>
                          <a:schemeClr val="tx1"/>
                        </a:solidFill>
                      </a:endParaRPr>
                    </a:p>
                  </a:txBody>
                  <a:tcPr marT="37785" marB="37785" anchor="ctr" anchorCtr="1">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6887514"/>
                  </a:ext>
                </a:extLst>
              </a:tr>
            </a:tbl>
          </a:graphicData>
        </a:graphic>
      </p:graphicFrame>
      <p:sp>
        <p:nvSpPr>
          <p:cNvPr id="37" name="四角形: 角を丸くする 36">
            <a:extLst>
              <a:ext uri="{FF2B5EF4-FFF2-40B4-BE49-F238E27FC236}">
                <a16:creationId xmlns:a16="http://schemas.microsoft.com/office/drawing/2014/main" id="{3D4CA8DA-A45B-4C13-880F-7F3225E9D994}"/>
              </a:ext>
            </a:extLst>
          </p:cNvPr>
          <p:cNvSpPr/>
          <p:nvPr/>
        </p:nvSpPr>
        <p:spPr>
          <a:xfrm>
            <a:off x="221307" y="4154062"/>
            <a:ext cx="6077562" cy="2679724"/>
          </a:xfrm>
          <a:prstGeom prst="roundRect">
            <a:avLst>
              <a:gd name="adj" fmla="val 3691"/>
            </a:avLst>
          </a:prstGeom>
          <a:solidFill>
            <a:srgbClr val="00B0F0">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タイトル 6">
            <a:extLst>
              <a:ext uri="{FF2B5EF4-FFF2-40B4-BE49-F238E27FC236}">
                <a16:creationId xmlns:a16="http://schemas.microsoft.com/office/drawing/2014/main" id="{751307AE-31C4-43EF-9843-5E8BD5E12B6B}"/>
              </a:ext>
            </a:extLst>
          </p:cNvPr>
          <p:cNvSpPr txBox="1">
            <a:spLocks/>
          </p:cNvSpPr>
          <p:nvPr/>
        </p:nvSpPr>
        <p:spPr>
          <a:xfrm>
            <a:off x="173915" y="3404655"/>
            <a:ext cx="5947679" cy="696769"/>
          </a:xfrm>
          <a:prstGeom prst="rect">
            <a:avLst/>
          </a:prstGeom>
          <a:noFill/>
        </p:spPr>
        <p:txBody>
          <a:bodyPr vert="horz" wrap="none" lIns="91440" tIns="45720" rIns="91440" bIns="45720" rtlCol="0" anchor="ctr">
            <a:noAutofit/>
          </a:bodyPr>
          <a:lstStyle>
            <a:lvl1pPr algn="ctr" defTabSz="914400" rtl="0" eaLnBrk="1" latinLnBrk="0" hangingPunct="1">
              <a:lnSpc>
                <a:spcPct val="90000"/>
              </a:lnSpc>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algn="l"/>
            <a:r>
              <a:rPr kumimoji="1" lang="ja-JP" altLang="en-US" sz="1200" b="0" dirty="0">
                <a:solidFill>
                  <a:schemeClr val="tx1"/>
                </a:solidFill>
              </a:rPr>
              <a:t>京阪神の３都市がそれぞれ自立したエコシステムを推進。関西広域で連携し、地域が強みとする</a:t>
            </a:r>
            <a:endParaRPr kumimoji="1" lang="en-US" altLang="ja-JP" sz="1200" b="0" dirty="0">
              <a:solidFill>
                <a:schemeClr val="tx1"/>
              </a:solidFill>
            </a:endParaRPr>
          </a:p>
          <a:p>
            <a:pPr algn="l"/>
            <a:r>
              <a:rPr kumimoji="1" lang="ja-JP" altLang="en-US" sz="1200" b="0" dirty="0">
                <a:solidFill>
                  <a:schemeClr val="tx1"/>
                </a:solidFill>
              </a:rPr>
              <a:t>ディープテックを軸にスタートアップと産学公金の間で、密なコミュニケーションが取れる関係性を構築。</a:t>
            </a:r>
          </a:p>
          <a:p>
            <a:pPr algn="l"/>
            <a:r>
              <a:rPr kumimoji="1" lang="ja-JP" altLang="en-US" sz="1200" b="0" dirty="0">
                <a:solidFill>
                  <a:schemeClr val="tx1"/>
                </a:solidFill>
              </a:rPr>
              <a:t>万博、</a:t>
            </a:r>
            <a:r>
              <a:rPr kumimoji="1" lang="en-US" altLang="ja-JP" sz="1200" b="0" dirty="0">
                <a:solidFill>
                  <a:schemeClr val="tx1"/>
                </a:solidFill>
              </a:rPr>
              <a:t>GSE</a:t>
            </a:r>
            <a:r>
              <a:rPr kumimoji="1" lang="ja-JP" altLang="en-US" sz="1200" b="0" dirty="0">
                <a:solidFill>
                  <a:schemeClr val="tx1"/>
                </a:solidFill>
              </a:rPr>
              <a:t>、</a:t>
            </a:r>
            <a:r>
              <a:rPr kumimoji="1" lang="en-US" altLang="ja-JP" sz="1200" b="0" dirty="0">
                <a:solidFill>
                  <a:schemeClr val="tx1"/>
                </a:solidFill>
              </a:rPr>
              <a:t>IVS</a:t>
            </a:r>
            <a:r>
              <a:rPr kumimoji="1" lang="ja-JP" altLang="en-US" sz="1200" b="0" dirty="0">
                <a:solidFill>
                  <a:schemeClr val="tx1"/>
                </a:solidFill>
              </a:rPr>
              <a:t>等の国際イベントや海外機関等との連携を通じて国内外の投資を呼び込み</a:t>
            </a:r>
            <a:endParaRPr kumimoji="1" lang="en-US" altLang="ja-JP" sz="1200" b="0" dirty="0">
              <a:solidFill>
                <a:schemeClr val="tx1"/>
              </a:solidFill>
            </a:endParaRPr>
          </a:p>
          <a:p>
            <a:pPr algn="l"/>
            <a:r>
              <a:rPr kumimoji="1" lang="ja-JP" altLang="en-US" sz="1200" b="0" dirty="0">
                <a:solidFill>
                  <a:schemeClr val="tx1"/>
                </a:solidFill>
              </a:rPr>
              <a:t>グローバルに活躍するスタートアップを輩出。</a:t>
            </a:r>
          </a:p>
        </p:txBody>
      </p:sp>
      <p:pic>
        <p:nvPicPr>
          <p:cNvPr id="44" name="グラフィックス 137" descr="矢印: 時計回りの曲線 単色塗りつぶし">
            <a:extLst>
              <a:ext uri="{FF2B5EF4-FFF2-40B4-BE49-F238E27FC236}">
                <a16:creationId xmlns:a16="http://schemas.microsoft.com/office/drawing/2014/main" id="{9B313C09-CB0E-492E-994F-E9BDB47F258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3990305">
            <a:off x="2287281" y="4495632"/>
            <a:ext cx="469232" cy="908855"/>
          </a:xfrm>
          <a:prstGeom prst="rect">
            <a:avLst/>
          </a:prstGeom>
        </p:spPr>
      </p:pic>
      <p:grpSp>
        <p:nvGrpSpPr>
          <p:cNvPr id="56" name="グループ化 55">
            <a:extLst>
              <a:ext uri="{FF2B5EF4-FFF2-40B4-BE49-F238E27FC236}">
                <a16:creationId xmlns:a16="http://schemas.microsoft.com/office/drawing/2014/main" id="{CD2C3006-E442-4355-8A83-EE18A289F4C6}"/>
              </a:ext>
            </a:extLst>
          </p:cNvPr>
          <p:cNvGrpSpPr/>
          <p:nvPr/>
        </p:nvGrpSpPr>
        <p:grpSpPr>
          <a:xfrm>
            <a:off x="2217935" y="4355797"/>
            <a:ext cx="1989592" cy="2009729"/>
            <a:chOff x="4175674" y="3174505"/>
            <a:chExt cx="1494809" cy="1436653"/>
          </a:xfrm>
        </p:grpSpPr>
        <p:grpSp>
          <p:nvGrpSpPr>
            <p:cNvPr id="85" name="グループ化 84">
              <a:extLst>
                <a:ext uri="{FF2B5EF4-FFF2-40B4-BE49-F238E27FC236}">
                  <a16:creationId xmlns:a16="http://schemas.microsoft.com/office/drawing/2014/main" id="{F6B167F5-F984-41F5-841C-77A2E852B348}"/>
                </a:ext>
              </a:extLst>
            </p:cNvPr>
            <p:cNvGrpSpPr/>
            <p:nvPr/>
          </p:nvGrpSpPr>
          <p:grpSpPr>
            <a:xfrm>
              <a:off x="4175674" y="3174505"/>
              <a:ext cx="1494809" cy="1436653"/>
              <a:chOff x="4181153" y="3055289"/>
              <a:chExt cx="1494809" cy="1580319"/>
            </a:xfrm>
          </p:grpSpPr>
          <p:sp>
            <p:nvSpPr>
              <p:cNvPr id="87" name="楕円 86">
                <a:extLst>
                  <a:ext uri="{FF2B5EF4-FFF2-40B4-BE49-F238E27FC236}">
                    <a16:creationId xmlns:a16="http://schemas.microsoft.com/office/drawing/2014/main" id="{9036DAD8-788A-46C0-B37D-2E62EA2FA7D1}"/>
                  </a:ext>
                </a:extLst>
              </p:cNvPr>
              <p:cNvSpPr/>
              <p:nvPr/>
            </p:nvSpPr>
            <p:spPr>
              <a:xfrm>
                <a:off x="4289399" y="3701716"/>
                <a:ext cx="66337" cy="66337"/>
              </a:xfrm>
              <a:prstGeom prst="ellipse">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1050" b="1">
                  <a:solidFill>
                    <a:schemeClr val="tx1"/>
                  </a:solidFill>
                </a:endParaRPr>
              </a:p>
            </p:txBody>
          </p:sp>
          <p:sp>
            <p:nvSpPr>
              <p:cNvPr id="88" name="楕円 87">
                <a:extLst>
                  <a:ext uri="{FF2B5EF4-FFF2-40B4-BE49-F238E27FC236}">
                    <a16:creationId xmlns:a16="http://schemas.microsoft.com/office/drawing/2014/main" id="{0F444113-6429-4A01-B6A8-FA621327BDD0}"/>
                  </a:ext>
                </a:extLst>
              </p:cNvPr>
              <p:cNvSpPr/>
              <p:nvPr/>
            </p:nvSpPr>
            <p:spPr>
              <a:xfrm>
                <a:off x="5249383" y="4448484"/>
                <a:ext cx="66337" cy="66337"/>
              </a:xfrm>
              <a:prstGeom prst="ellipse">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1050" b="1">
                  <a:solidFill>
                    <a:schemeClr val="tx1"/>
                  </a:solidFill>
                </a:endParaRPr>
              </a:p>
            </p:txBody>
          </p:sp>
          <p:sp>
            <p:nvSpPr>
              <p:cNvPr id="89" name="楕円 88">
                <a:extLst>
                  <a:ext uri="{FF2B5EF4-FFF2-40B4-BE49-F238E27FC236}">
                    <a16:creationId xmlns:a16="http://schemas.microsoft.com/office/drawing/2014/main" id="{980E8DCB-2E10-4B2A-8070-302D3E8B0897}"/>
                  </a:ext>
                </a:extLst>
              </p:cNvPr>
              <p:cNvSpPr/>
              <p:nvPr/>
            </p:nvSpPr>
            <p:spPr>
              <a:xfrm>
                <a:off x="4586827" y="4448484"/>
                <a:ext cx="66337" cy="66337"/>
              </a:xfrm>
              <a:prstGeom prst="ellipse">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1050" b="1">
                  <a:solidFill>
                    <a:schemeClr val="tx1"/>
                  </a:solidFill>
                </a:endParaRPr>
              </a:p>
            </p:txBody>
          </p:sp>
          <p:sp>
            <p:nvSpPr>
              <p:cNvPr id="90" name="楕円 89">
                <a:extLst>
                  <a:ext uri="{FF2B5EF4-FFF2-40B4-BE49-F238E27FC236}">
                    <a16:creationId xmlns:a16="http://schemas.microsoft.com/office/drawing/2014/main" id="{810434BB-C8FA-4C3E-90BF-0C84DE872855}"/>
                  </a:ext>
                </a:extLst>
              </p:cNvPr>
              <p:cNvSpPr/>
              <p:nvPr/>
            </p:nvSpPr>
            <p:spPr>
              <a:xfrm>
                <a:off x="5503035" y="3690767"/>
                <a:ext cx="66337" cy="66337"/>
              </a:xfrm>
              <a:prstGeom prst="ellipse">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1050" b="1">
                  <a:solidFill>
                    <a:schemeClr val="tx1"/>
                  </a:solidFill>
                </a:endParaRPr>
              </a:p>
            </p:txBody>
          </p:sp>
          <p:sp>
            <p:nvSpPr>
              <p:cNvPr id="91" name="楕円 90">
                <a:extLst>
                  <a:ext uri="{FF2B5EF4-FFF2-40B4-BE49-F238E27FC236}">
                    <a16:creationId xmlns:a16="http://schemas.microsoft.com/office/drawing/2014/main" id="{30CF4572-CE5C-43B0-B3B0-CF80C3CDC6CF}"/>
                  </a:ext>
                </a:extLst>
              </p:cNvPr>
              <p:cNvSpPr/>
              <p:nvPr/>
            </p:nvSpPr>
            <p:spPr>
              <a:xfrm>
                <a:off x="4918105" y="3175007"/>
                <a:ext cx="66337" cy="66337"/>
              </a:xfrm>
              <a:prstGeom prst="ellipse">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1050" b="1">
                  <a:solidFill>
                    <a:schemeClr val="tx1"/>
                  </a:solidFill>
                </a:endParaRPr>
              </a:p>
            </p:txBody>
          </p:sp>
          <p:cxnSp>
            <p:nvCxnSpPr>
              <p:cNvPr id="92" name="直線コネクタ 91">
                <a:extLst>
                  <a:ext uri="{FF2B5EF4-FFF2-40B4-BE49-F238E27FC236}">
                    <a16:creationId xmlns:a16="http://schemas.microsoft.com/office/drawing/2014/main" id="{EF99A094-6275-4F9F-A571-26D82D327365}"/>
                  </a:ext>
                </a:extLst>
              </p:cNvPr>
              <p:cNvCxnSpPr>
                <a:cxnSpLocks/>
                <a:stCxn id="87" idx="6"/>
                <a:endCxn id="91" idx="4"/>
              </p:cNvCxnSpPr>
              <p:nvPr/>
            </p:nvCxnSpPr>
            <p:spPr>
              <a:xfrm flipV="1">
                <a:off x="4355737" y="3241345"/>
                <a:ext cx="595538" cy="493541"/>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3" name="直線コネクタ 92">
                <a:extLst>
                  <a:ext uri="{FF2B5EF4-FFF2-40B4-BE49-F238E27FC236}">
                    <a16:creationId xmlns:a16="http://schemas.microsoft.com/office/drawing/2014/main" id="{12579920-7822-48B7-9EDA-F3341519CE92}"/>
                  </a:ext>
                </a:extLst>
              </p:cNvPr>
              <p:cNvCxnSpPr>
                <a:cxnSpLocks/>
                <a:stCxn id="89" idx="0"/>
                <a:endCxn id="91" idx="4"/>
              </p:cNvCxnSpPr>
              <p:nvPr/>
            </p:nvCxnSpPr>
            <p:spPr>
              <a:xfrm flipV="1">
                <a:off x="4619996" y="3241345"/>
                <a:ext cx="331278" cy="120714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4" name="直線コネクタ 93">
                <a:extLst>
                  <a:ext uri="{FF2B5EF4-FFF2-40B4-BE49-F238E27FC236}">
                    <a16:creationId xmlns:a16="http://schemas.microsoft.com/office/drawing/2014/main" id="{B60BC11C-5B9C-4476-878B-E0477314D9BF}"/>
                  </a:ext>
                </a:extLst>
              </p:cNvPr>
              <p:cNvCxnSpPr>
                <a:cxnSpLocks/>
                <a:stCxn id="89" idx="0"/>
                <a:endCxn id="87" idx="6"/>
              </p:cNvCxnSpPr>
              <p:nvPr/>
            </p:nvCxnSpPr>
            <p:spPr>
              <a:xfrm flipH="1" flipV="1">
                <a:off x="4355737" y="3734886"/>
                <a:ext cx="264260" cy="713599"/>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5" name="直線コネクタ 94">
                <a:extLst>
                  <a:ext uri="{FF2B5EF4-FFF2-40B4-BE49-F238E27FC236}">
                    <a16:creationId xmlns:a16="http://schemas.microsoft.com/office/drawing/2014/main" id="{29933233-0A15-4612-A608-84B06960756E}"/>
                  </a:ext>
                </a:extLst>
              </p:cNvPr>
              <p:cNvCxnSpPr>
                <a:cxnSpLocks/>
                <a:stCxn id="88" idx="0"/>
                <a:endCxn id="89" idx="0"/>
              </p:cNvCxnSpPr>
              <p:nvPr/>
            </p:nvCxnSpPr>
            <p:spPr>
              <a:xfrm flipH="1">
                <a:off x="4619996" y="4448485"/>
                <a:ext cx="662556"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6" name="直線コネクタ 95">
                <a:extLst>
                  <a:ext uri="{FF2B5EF4-FFF2-40B4-BE49-F238E27FC236}">
                    <a16:creationId xmlns:a16="http://schemas.microsoft.com/office/drawing/2014/main" id="{B0A89BA5-1968-4397-BFA7-505EFE199B49}"/>
                  </a:ext>
                </a:extLst>
              </p:cNvPr>
              <p:cNvCxnSpPr>
                <a:cxnSpLocks/>
                <a:stCxn id="90" idx="2"/>
                <a:endCxn id="88" idx="0"/>
              </p:cNvCxnSpPr>
              <p:nvPr/>
            </p:nvCxnSpPr>
            <p:spPr>
              <a:xfrm flipH="1">
                <a:off x="5282552" y="3723936"/>
                <a:ext cx="220483" cy="724549"/>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7" name="直線コネクタ 96">
                <a:extLst>
                  <a:ext uri="{FF2B5EF4-FFF2-40B4-BE49-F238E27FC236}">
                    <a16:creationId xmlns:a16="http://schemas.microsoft.com/office/drawing/2014/main" id="{5E6DB7FA-DDA6-48BB-B75D-F191CC75F60E}"/>
                  </a:ext>
                </a:extLst>
              </p:cNvPr>
              <p:cNvCxnSpPr>
                <a:cxnSpLocks/>
                <a:stCxn id="91" idx="4"/>
                <a:endCxn id="90" idx="2"/>
              </p:cNvCxnSpPr>
              <p:nvPr/>
            </p:nvCxnSpPr>
            <p:spPr>
              <a:xfrm>
                <a:off x="4951274" y="3241345"/>
                <a:ext cx="551761" cy="482591"/>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8" name="直線コネクタ 97">
                <a:extLst>
                  <a:ext uri="{FF2B5EF4-FFF2-40B4-BE49-F238E27FC236}">
                    <a16:creationId xmlns:a16="http://schemas.microsoft.com/office/drawing/2014/main" id="{B2A1EEC5-816D-4EDB-9832-888581F774E8}"/>
                  </a:ext>
                </a:extLst>
              </p:cNvPr>
              <p:cNvCxnSpPr>
                <a:cxnSpLocks/>
                <a:stCxn id="88" idx="0"/>
                <a:endCxn id="91" idx="4"/>
              </p:cNvCxnSpPr>
              <p:nvPr/>
            </p:nvCxnSpPr>
            <p:spPr>
              <a:xfrm flipH="1" flipV="1">
                <a:off x="4951274" y="3241345"/>
                <a:ext cx="331278" cy="120714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9" name="直線コネクタ 98">
                <a:extLst>
                  <a:ext uri="{FF2B5EF4-FFF2-40B4-BE49-F238E27FC236}">
                    <a16:creationId xmlns:a16="http://schemas.microsoft.com/office/drawing/2014/main" id="{95482103-9E45-4A90-B43E-B2973D6F17BB}"/>
                  </a:ext>
                </a:extLst>
              </p:cNvPr>
              <p:cNvCxnSpPr>
                <a:cxnSpLocks/>
                <a:stCxn id="90" idx="2"/>
                <a:endCxn id="87" idx="6"/>
              </p:cNvCxnSpPr>
              <p:nvPr/>
            </p:nvCxnSpPr>
            <p:spPr>
              <a:xfrm flipH="1">
                <a:off x="4355737" y="3723936"/>
                <a:ext cx="1147299" cy="1095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00" name="直線コネクタ 99">
                <a:extLst>
                  <a:ext uri="{FF2B5EF4-FFF2-40B4-BE49-F238E27FC236}">
                    <a16:creationId xmlns:a16="http://schemas.microsoft.com/office/drawing/2014/main" id="{74BCE204-E4DE-445F-BEA5-8F53A89988F4}"/>
                  </a:ext>
                </a:extLst>
              </p:cNvPr>
              <p:cNvCxnSpPr>
                <a:cxnSpLocks/>
                <a:stCxn id="90" idx="2"/>
                <a:endCxn id="89" idx="0"/>
              </p:cNvCxnSpPr>
              <p:nvPr/>
            </p:nvCxnSpPr>
            <p:spPr>
              <a:xfrm flipH="1">
                <a:off x="4619996" y="3723936"/>
                <a:ext cx="883039" cy="724549"/>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01" name="直線コネクタ 100">
                <a:extLst>
                  <a:ext uri="{FF2B5EF4-FFF2-40B4-BE49-F238E27FC236}">
                    <a16:creationId xmlns:a16="http://schemas.microsoft.com/office/drawing/2014/main" id="{5283FE34-E5FD-49BD-AE0A-A94160000A30}"/>
                  </a:ext>
                </a:extLst>
              </p:cNvPr>
              <p:cNvCxnSpPr>
                <a:cxnSpLocks/>
                <a:stCxn id="88" idx="0"/>
                <a:endCxn id="87" idx="6"/>
              </p:cNvCxnSpPr>
              <p:nvPr/>
            </p:nvCxnSpPr>
            <p:spPr>
              <a:xfrm flipH="1" flipV="1">
                <a:off x="4355737" y="3734886"/>
                <a:ext cx="926816" cy="713599"/>
              </a:xfrm>
              <a:prstGeom prst="line">
                <a:avLst/>
              </a:prstGeom>
              <a:ln/>
            </p:spPr>
            <p:style>
              <a:lnRef idx="1">
                <a:schemeClr val="accent2"/>
              </a:lnRef>
              <a:fillRef idx="0">
                <a:schemeClr val="accent2"/>
              </a:fillRef>
              <a:effectRef idx="0">
                <a:schemeClr val="accent2"/>
              </a:effectRef>
              <a:fontRef idx="minor">
                <a:schemeClr val="tx1"/>
              </a:fontRef>
            </p:style>
          </p:cxnSp>
          <p:sp>
            <p:nvSpPr>
              <p:cNvPr id="102" name="楕円 101">
                <a:extLst>
                  <a:ext uri="{FF2B5EF4-FFF2-40B4-BE49-F238E27FC236}">
                    <a16:creationId xmlns:a16="http://schemas.microsoft.com/office/drawing/2014/main" id="{792FFEBF-8044-48A8-9078-DBF3EAE33DB7}"/>
                  </a:ext>
                </a:extLst>
              </p:cNvPr>
              <p:cNvSpPr/>
              <p:nvPr/>
            </p:nvSpPr>
            <p:spPr>
              <a:xfrm>
                <a:off x="4181153" y="3497364"/>
                <a:ext cx="368827" cy="405710"/>
              </a:xfrm>
              <a:prstGeom prst="ellipse">
                <a:avLst/>
              </a:prstGeom>
              <a:solidFill>
                <a:srgbClr val="FFC000"/>
              </a:solidFill>
              <a:ln w="28575">
                <a:noFill/>
              </a:ln>
              <a:effectLst>
                <a:glow rad="1397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b="1" dirty="0">
                    <a:solidFill>
                      <a:schemeClr val="tx1"/>
                    </a:solidFill>
                  </a:rPr>
                  <a:t>産業界</a:t>
                </a:r>
                <a:endParaRPr kumimoji="1" lang="ja-JP" altLang="en-US" sz="900" b="1" dirty="0">
                  <a:solidFill>
                    <a:schemeClr val="tx1"/>
                  </a:solidFill>
                </a:endParaRPr>
              </a:p>
            </p:txBody>
          </p:sp>
          <p:sp>
            <p:nvSpPr>
              <p:cNvPr id="103" name="楕円 102">
                <a:extLst>
                  <a:ext uri="{FF2B5EF4-FFF2-40B4-BE49-F238E27FC236}">
                    <a16:creationId xmlns:a16="http://schemas.microsoft.com/office/drawing/2014/main" id="{1CA6B30F-2F8F-4517-9069-70332245B5E1}"/>
                  </a:ext>
                </a:extLst>
              </p:cNvPr>
              <p:cNvSpPr/>
              <p:nvPr/>
            </p:nvSpPr>
            <p:spPr>
              <a:xfrm>
                <a:off x="5113765" y="4223886"/>
                <a:ext cx="368827" cy="405710"/>
              </a:xfrm>
              <a:prstGeom prst="ellipse">
                <a:avLst/>
              </a:prstGeom>
              <a:solidFill>
                <a:srgbClr val="FFC000"/>
              </a:solidFill>
              <a:ln w="28575">
                <a:noFill/>
              </a:ln>
              <a:effectLst>
                <a:glow rad="1397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900" b="1" dirty="0">
                    <a:solidFill>
                      <a:schemeClr val="tx1"/>
                    </a:solidFill>
                  </a:rPr>
                  <a:t>VC</a:t>
                </a:r>
                <a:endParaRPr kumimoji="1" lang="ja-JP" altLang="en-US" sz="900" b="1" dirty="0">
                  <a:solidFill>
                    <a:schemeClr val="tx1"/>
                  </a:solidFill>
                </a:endParaRPr>
              </a:p>
            </p:txBody>
          </p:sp>
          <p:sp>
            <p:nvSpPr>
              <p:cNvPr id="104" name="楕円 103">
                <a:extLst>
                  <a:ext uri="{FF2B5EF4-FFF2-40B4-BE49-F238E27FC236}">
                    <a16:creationId xmlns:a16="http://schemas.microsoft.com/office/drawing/2014/main" id="{A21C8D14-55A8-43D9-971F-AE9F75EC00FD}"/>
                  </a:ext>
                </a:extLst>
              </p:cNvPr>
              <p:cNvSpPr/>
              <p:nvPr/>
            </p:nvSpPr>
            <p:spPr>
              <a:xfrm>
                <a:off x="4443100" y="4229898"/>
                <a:ext cx="368827" cy="405710"/>
              </a:xfrm>
              <a:prstGeom prst="ellipse">
                <a:avLst/>
              </a:prstGeom>
              <a:solidFill>
                <a:srgbClr val="FFC000"/>
              </a:solidFill>
              <a:ln w="28575">
                <a:noFill/>
              </a:ln>
              <a:effectLst>
                <a:glow rad="1397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b="1">
                    <a:solidFill>
                      <a:schemeClr val="tx1"/>
                    </a:solidFill>
                  </a:rPr>
                  <a:t>起業家</a:t>
                </a:r>
                <a:endParaRPr kumimoji="1" lang="ja-JP" altLang="en-US" sz="900" b="1">
                  <a:solidFill>
                    <a:schemeClr val="tx1"/>
                  </a:solidFill>
                </a:endParaRPr>
              </a:p>
            </p:txBody>
          </p:sp>
          <p:sp>
            <p:nvSpPr>
              <p:cNvPr id="105" name="楕円 104">
                <a:extLst>
                  <a:ext uri="{FF2B5EF4-FFF2-40B4-BE49-F238E27FC236}">
                    <a16:creationId xmlns:a16="http://schemas.microsoft.com/office/drawing/2014/main" id="{C620845A-DB10-4F5E-82D8-A5E689A80099}"/>
                  </a:ext>
                </a:extLst>
              </p:cNvPr>
              <p:cNvSpPr/>
              <p:nvPr/>
            </p:nvSpPr>
            <p:spPr>
              <a:xfrm>
                <a:off x="5307135" y="3488692"/>
                <a:ext cx="368827" cy="405710"/>
              </a:xfrm>
              <a:prstGeom prst="ellipse">
                <a:avLst/>
              </a:prstGeom>
              <a:solidFill>
                <a:srgbClr val="FFC000"/>
              </a:solidFill>
              <a:ln w="28575">
                <a:noFill/>
              </a:ln>
              <a:effectLst>
                <a:glow rad="1397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b="1">
                    <a:solidFill>
                      <a:schemeClr val="tx1"/>
                    </a:solidFill>
                  </a:rPr>
                  <a:t>自治体</a:t>
                </a:r>
                <a:endParaRPr kumimoji="1" lang="ja-JP" altLang="en-US" sz="900" b="1">
                  <a:solidFill>
                    <a:schemeClr val="tx1"/>
                  </a:solidFill>
                </a:endParaRPr>
              </a:p>
            </p:txBody>
          </p:sp>
          <p:sp>
            <p:nvSpPr>
              <p:cNvPr id="106" name="楕円 105">
                <a:extLst>
                  <a:ext uri="{FF2B5EF4-FFF2-40B4-BE49-F238E27FC236}">
                    <a16:creationId xmlns:a16="http://schemas.microsoft.com/office/drawing/2014/main" id="{BB47073E-F1CC-4F21-9F49-486B4B3AF379}"/>
                  </a:ext>
                </a:extLst>
              </p:cNvPr>
              <p:cNvSpPr/>
              <p:nvPr/>
            </p:nvSpPr>
            <p:spPr>
              <a:xfrm>
                <a:off x="4754643" y="3055289"/>
                <a:ext cx="368827" cy="405710"/>
              </a:xfrm>
              <a:prstGeom prst="ellipse">
                <a:avLst/>
              </a:prstGeom>
              <a:solidFill>
                <a:srgbClr val="FFC000"/>
              </a:solidFill>
              <a:ln w="28575">
                <a:noFill/>
              </a:ln>
              <a:effectLst>
                <a:glow rad="1397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900" b="1" dirty="0">
                    <a:solidFill>
                      <a:schemeClr val="tx1"/>
                    </a:solidFill>
                  </a:rPr>
                  <a:t>アカデミア</a:t>
                </a:r>
                <a:endParaRPr kumimoji="1" lang="ja-JP" altLang="en-US" sz="900" b="1" dirty="0">
                  <a:solidFill>
                    <a:schemeClr val="tx1"/>
                  </a:solidFill>
                </a:endParaRPr>
              </a:p>
            </p:txBody>
          </p:sp>
        </p:grpSp>
        <p:sp>
          <p:nvSpPr>
            <p:cNvPr id="86" name="楕円 85">
              <a:extLst>
                <a:ext uri="{FF2B5EF4-FFF2-40B4-BE49-F238E27FC236}">
                  <a16:creationId xmlns:a16="http://schemas.microsoft.com/office/drawing/2014/main" id="{F6F47E1B-D835-4CC3-B6CA-8BBA993223D5}"/>
                </a:ext>
              </a:extLst>
            </p:cNvPr>
            <p:cNvSpPr/>
            <p:nvPr/>
          </p:nvSpPr>
          <p:spPr>
            <a:xfrm>
              <a:off x="4633644" y="3663415"/>
              <a:ext cx="599444" cy="581771"/>
            </a:xfrm>
            <a:prstGeom prst="ellipse">
              <a:avLst/>
            </a:prstGeom>
            <a:solidFill>
              <a:srgbClr val="FFC000">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813" b="1" dirty="0">
                  <a:solidFill>
                    <a:schemeClr val="tx1"/>
                  </a:solidFill>
                </a:rPr>
                <a:t>各領域で</a:t>
              </a:r>
              <a:endParaRPr lang="en-US" altLang="ja-JP" sz="813" b="1" dirty="0">
                <a:solidFill>
                  <a:schemeClr val="tx1"/>
                </a:solidFill>
              </a:endParaRPr>
            </a:p>
            <a:p>
              <a:pPr algn="ctr"/>
              <a:r>
                <a:rPr lang="ja-JP" altLang="en-US" sz="813" b="1" dirty="0">
                  <a:solidFill>
                    <a:schemeClr val="tx1"/>
                  </a:solidFill>
                </a:rPr>
                <a:t>中心人物同士が</a:t>
              </a:r>
              <a:endParaRPr lang="en-US" altLang="ja-JP" sz="813" b="1" dirty="0">
                <a:solidFill>
                  <a:schemeClr val="tx1"/>
                </a:solidFill>
              </a:endParaRPr>
            </a:p>
            <a:p>
              <a:pPr algn="ctr"/>
              <a:r>
                <a:rPr lang="ja-JP" altLang="en-US" sz="813" b="1" dirty="0">
                  <a:solidFill>
                    <a:schemeClr val="tx1"/>
                  </a:solidFill>
                </a:rPr>
                <a:t>繋がる</a:t>
              </a:r>
              <a:endParaRPr lang="en-US" altLang="ja-JP" sz="813" b="1" dirty="0">
                <a:solidFill>
                  <a:schemeClr val="tx1"/>
                </a:solidFill>
              </a:endParaRPr>
            </a:p>
          </p:txBody>
        </p:sp>
      </p:grpSp>
      <p:sp>
        <p:nvSpPr>
          <p:cNvPr id="63" name="テキスト ボックス 62">
            <a:extLst>
              <a:ext uri="{FF2B5EF4-FFF2-40B4-BE49-F238E27FC236}">
                <a16:creationId xmlns:a16="http://schemas.microsoft.com/office/drawing/2014/main" id="{041D6526-1AFA-4A72-9EFF-E6F2DD5E9130}"/>
              </a:ext>
            </a:extLst>
          </p:cNvPr>
          <p:cNvSpPr txBox="1"/>
          <p:nvPr/>
        </p:nvSpPr>
        <p:spPr>
          <a:xfrm>
            <a:off x="3443558" y="4405813"/>
            <a:ext cx="1178064" cy="369332"/>
          </a:xfrm>
          <a:prstGeom prst="rect">
            <a:avLst/>
          </a:prstGeom>
          <a:noFill/>
        </p:spPr>
        <p:txBody>
          <a:bodyPr wrap="square">
            <a:spAutoFit/>
          </a:bodyPr>
          <a:lstStyle/>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京都大学 室田 浩司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大阪大学　北岡 康夫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神戸大学　蔭山 広明氏 等</a:t>
            </a:r>
            <a:endParaRPr lang="en-US" altLang="ja-JP" sz="600" dirty="0">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FADF4D69-C1E8-4F09-BF70-67011B0706C8}"/>
              </a:ext>
            </a:extLst>
          </p:cNvPr>
          <p:cNvSpPr txBox="1"/>
          <p:nvPr/>
        </p:nvSpPr>
        <p:spPr>
          <a:xfrm>
            <a:off x="1717684" y="5213304"/>
            <a:ext cx="1330297" cy="369332"/>
          </a:xfrm>
          <a:prstGeom prst="rect">
            <a:avLst/>
          </a:prstGeom>
          <a:noFill/>
        </p:spPr>
        <p:txBody>
          <a:bodyPr wrap="square">
            <a:spAutoFit/>
          </a:bodyPr>
          <a:lstStyle/>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阪急阪神不動産　高岸 実良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日本総合研究所　東博 暢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en-US" altLang="ja-JP" sz="600" dirty="0">
                <a:latin typeface="Meiryo UI" panose="020B0604030504040204" pitchFamily="50" charset="-128"/>
                <a:ea typeface="Meiryo UI" panose="020B0604030504040204" pitchFamily="50" charset="-128"/>
              </a:rPr>
              <a:t>ATR </a:t>
            </a:r>
            <a:r>
              <a:rPr lang="ja-JP" altLang="en-US" sz="600" dirty="0">
                <a:latin typeface="Meiryo UI" panose="020B0604030504040204" pitchFamily="50" charset="-128"/>
                <a:ea typeface="Meiryo UI" panose="020B0604030504040204" pitchFamily="50" charset="-128"/>
              </a:rPr>
              <a:t>鈴木 博之氏 等</a:t>
            </a:r>
            <a:endParaRPr lang="zh-TW" altLang="en-US" sz="600" dirty="0">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53003B96-2C32-485E-AF24-C294624206BC}"/>
              </a:ext>
            </a:extLst>
          </p:cNvPr>
          <p:cNvSpPr txBox="1"/>
          <p:nvPr/>
        </p:nvSpPr>
        <p:spPr>
          <a:xfrm>
            <a:off x="3155130" y="6137302"/>
            <a:ext cx="1405543" cy="738664"/>
          </a:xfrm>
          <a:prstGeom prst="rect">
            <a:avLst/>
          </a:prstGeom>
          <a:noFill/>
        </p:spPr>
        <p:txBody>
          <a:bodyPr wrap="square">
            <a:spAutoFit/>
          </a:bodyPr>
          <a:lstStyle/>
          <a:p>
            <a:pPr marL="90488" indent="-90488">
              <a:buFont typeface="Wingdings" panose="05000000000000000000" pitchFamily="2" charset="2"/>
              <a:buChar char="n"/>
            </a:pPr>
            <a:r>
              <a:rPr lang="en-US" altLang="ja-JP" sz="600" dirty="0" err="1">
                <a:latin typeface="Meiryo UI" panose="020B0604030504040204" pitchFamily="50" charset="-128"/>
                <a:ea typeface="Meiryo UI" panose="020B0604030504040204" pitchFamily="50" charset="-128"/>
              </a:rPr>
              <a:t>Monozukuri</a:t>
            </a:r>
            <a:r>
              <a:rPr lang="en-US" altLang="ja-JP" sz="600" dirty="0">
                <a:latin typeface="Meiryo UI" panose="020B0604030504040204" pitchFamily="50" charset="-128"/>
                <a:ea typeface="Meiryo UI" panose="020B0604030504040204" pitchFamily="50" charset="-128"/>
              </a:rPr>
              <a:t> Ventures</a:t>
            </a:r>
          </a:p>
          <a:p>
            <a:r>
              <a:rPr lang="ja-JP" altLang="en-US" sz="600" dirty="0">
                <a:latin typeface="Meiryo UI" panose="020B0604030504040204" pitchFamily="50" charset="-128"/>
                <a:ea typeface="Meiryo UI" panose="020B0604030504040204" pitchFamily="50" charset="-128"/>
              </a:rPr>
              <a:t>　　牧野 成将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ジャフコグループ　高原 瑞紀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en-US" altLang="ja-JP" sz="600" dirty="0" err="1">
                <a:latin typeface="Meiryo UI" panose="020B0604030504040204" pitchFamily="50" charset="-128"/>
                <a:ea typeface="Meiryo UI" panose="020B0604030504040204" pitchFamily="50" charset="-128"/>
              </a:rPr>
              <a:t>Taliki</a:t>
            </a:r>
            <a:r>
              <a:rPr lang="en-US" altLang="ja-JP" sz="600" dirty="0">
                <a:latin typeface="Meiryo UI" panose="020B0604030504040204" pitchFamily="50" charset="-128"/>
                <a:ea typeface="Meiryo UI" panose="020B0604030504040204" pitchFamily="50" charset="-128"/>
              </a:rPr>
              <a:t> </a:t>
            </a:r>
            <a:r>
              <a:rPr lang="ja-JP" altLang="en-US" sz="600" dirty="0">
                <a:latin typeface="Meiryo UI" panose="020B0604030504040204" pitchFamily="50" charset="-128"/>
                <a:ea typeface="Meiryo UI" panose="020B0604030504040204" pitchFamily="50" charset="-128"/>
              </a:rPr>
              <a:t>中村 多伽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みやこキャピタル　岡橋 寛明氏</a:t>
            </a:r>
          </a:p>
          <a:p>
            <a:pPr marL="90488" indent="-90488">
              <a:buFont typeface="Wingdings" panose="05000000000000000000" pitchFamily="2" charset="2"/>
              <a:buChar char="n"/>
            </a:pPr>
            <a:r>
              <a:rPr lang="en-US" altLang="ja-JP" sz="600" dirty="0" err="1">
                <a:latin typeface="Meiryo UI" panose="020B0604030504040204" pitchFamily="50" charset="-128"/>
                <a:ea typeface="Meiryo UI" panose="020B0604030504040204" pitchFamily="50" charset="-128"/>
              </a:rPr>
              <a:t>CounteriPartVC</a:t>
            </a:r>
            <a:r>
              <a:rPr lang="ja-JP" altLang="en-US" sz="600" dirty="0">
                <a:latin typeface="Meiryo UI" panose="020B0604030504040204" pitchFamily="50" charset="-128"/>
                <a:ea typeface="Meiryo UI" panose="020B0604030504040204" pitchFamily="50" charset="-128"/>
              </a:rPr>
              <a:t>　西条 祐介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en-US" altLang="ja-JP" sz="600" dirty="0" err="1">
                <a:latin typeface="Meiryo UI" panose="020B0604030504040204" pitchFamily="50" charset="-128"/>
                <a:ea typeface="Meiryo UI" panose="020B0604030504040204" pitchFamily="50" charset="-128"/>
              </a:rPr>
              <a:t>MedtechActuator</a:t>
            </a:r>
            <a:r>
              <a:rPr lang="ja-JP" altLang="en-US" sz="600" dirty="0">
                <a:latin typeface="Meiryo UI" panose="020B0604030504040204" pitchFamily="50" charset="-128"/>
                <a:ea typeface="Meiryo UI" panose="020B0604030504040204" pitchFamily="50" charset="-128"/>
              </a:rPr>
              <a:t>東 潤一氏　等</a:t>
            </a:r>
          </a:p>
        </p:txBody>
      </p:sp>
      <p:sp>
        <p:nvSpPr>
          <p:cNvPr id="67" name="テキスト ボックス 66">
            <a:extLst>
              <a:ext uri="{FF2B5EF4-FFF2-40B4-BE49-F238E27FC236}">
                <a16:creationId xmlns:a16="http://schemas.microsoft.com/office/drawing/2014/main" id="{03F71F39-4CFD-49F1-9280-B548E6EFAA17}"/>
              </a:ext>
            </a:extLst>
          </p:cNvPr>
          <p:cNvSpPr txBox="1"/>
          <p:nvPr/>
        </p:nvSpPr>
        <p:spPr>
          <a:xfrm>
            <a:off x="1827588" y="6197963"/>
            <a:ext cx="1330297" cy="461665"/>
          </a:xfrm>
          <a:prstGeom prst="rect">
            <a:avLst/>
          </a:prstGeom>
          <a:noFill/>
        </p:spPr>
        <p:txBody>
          <a:bodyPr wrap="square">
            <a:spAutoFit/>
          </a:bodyPr>
          <a:lstStyle/>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さくらインターネット　田中邦裕氏</a:t>
            </a:r>
          </a:p>
          <a:p>
            <a:pPr marL="90488" indent="-90488">
              <a:buFont typeface="Wingdings" panose="05000000000000000000" pitchFamily="2" charset="2"/>
              <a:buChar char="n"/>
            </a:pPr>
            <a:r>
              <a:rPr lang="en-US" altLang="ja-JP" sz="600" dirty="0" err="1">
                <a:latin typeface="Meiryo UI" panose="020B0604030504040204" pitchFamily="50" charset="-128"/>
                <a:ea typeface="Meiryo UI" panose="020B0604030504040204" pitchFamily="50" charset="-128"/>
              </a:rPr>
              <a:t>i</a:t>
            </a:r>
            <a:r>
              <a:rPr lang="en-US" altLang="ja-JP" sz="600" dirty="0">
                <a:latin typeface="Meiryo UI" panose="020B0604030504040204" pitchFamily="50" charset="-128"/>
                <a:ea typeface="Meiryo UI" panose="020B0604030504040204" pitchFamily="50" charset="-128"/>
              </a:rPr>
              <a:t>-plug</a:t>
            </a:r>
            <a:r>
              <a:rPr lang="ja-JP" altLang="en-US" sz="600" dirty="0">
                <a:latin typeface="Meiryo UI" panose="020B0604030504040204" pitchFamily="50" charset="-128"/>
                <a:ea typeface="Meiryo UI" panose="020B0604030504040204" pitchFamily="50" charset="-128"/>
              </a:rPr>
              <a:t>中野 智哉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ja-JP" altLang="en-US" sz="600" dirty="0">
                <a:latin typeface="Meiryo UI" panose="020B0604030504040204" pitchFamily="50" charset="-128"/>
                <a:ea typeface="Meiryo UI" panose="020B0604030504040204" pitchFamily="50" charset="-128"/>
              </a:rPr>
              <a:t>シナジーマーケティング谷井 等氏</a:t>
            </a:r>
            <a:endParaRPr lang="en-US" altLang="ja-JP" sz="600" dirty="0">
              <a:latin typeface="Meiryo UI" panose="020B0604030504040204" pitchFamily="50" charset="-128"/>
              <a:ea typeface="Meiryo UI" panose="020B0604030504040204" pitchFamily="50" charset="-128"/>
            </a:endParaRPr>
          </a:p>
          <a:p>
            <a:pPr marL="90488" indent="-90488">
              <a:buFont typeface="Wingdings" panose="05000000000000000000" pitchFamily="2" charset="2"/>
              <a:buChar char="n"/>
            </a:pPr>
            <a:r>
              <a:rPr lang="en-US" altLang="ja-JP" sz="600" dirty="0">
                <a:latin typeface="Meiryo UI" panose="020B0604030504040204" pitchFamily="50" charset="-128"/>
                <a:ea typeface="Meiryo UI" panose="020B0604030504040204" pitchFamily="50" charset="-128"/>
              </a:rPr>
              <a:t>JSSA</a:t>
            </a:r>
            <a:r>
              <a:rPr lang="ja-JP" altLang="en-US" sz="600" dirty="0">
                <a:latin typeface="Meiryo UI" panose="020B0604030504040204" pitchFamily="50" charset="-128"/>
                <a:ea typeface="Meiryo UI" panose="020B0604030504040204" pitchFamily="50" charset="-128"/>
              </a:rPr>
              <a:t>岡 隆宏氏　　等</a:t>
            </a:r>
          </a:p>
        </p:txBody>
      </p:sp>
      <p:sp>
        <p:nvSpPr>
          <p:cNvPr id="212" name="四角形: 角を丸くする 211">
            <a:extLst>
              <a:ext uri="{FF2B5EF4-FFF2-40B4-BE49-F238E27FC236}">
                <a16:creationId xmlns:a16="http://schemas.microsoft.com/office/drawing/2014/main" id="{D038921B-9F27-42A0-B206-A6DAB7D34B8A}"/>
              </a:ext>
            </a:extLst>
          </p:cNvPr>
          <p:cNvSpPr/>
          <p:nvPr/>
        </p:nvSpPr>
        <p:spPr>
          <a:xfrm>
            <a:off x="6505195" y="5132476"/>
            <a:ext cx="3190215" cy="1681386"/>
          </a:xfrm>
          <a:prstGeom prst="roundRect">
            <a:avLst>
              <a:gd name="adj" fmla="val 5685"/>
            </a:avLst>
          </a:prstGeom>
          <a:solidFill>
            <a:schemeClr val="accent1">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r>
              <a:rPr lang="ja-JP" altLang="en-US" sz="1000" b="1" dirty="0">
                <a:solidFill>
                  <a:schemeClr val="tx1"/>
                </a:solidFill>
                <a:latin typeface="Meiryo UI" panose="020B0604030504040204" pitchFamily="50" charset="-128"/>
                <a:ea typeface="Meiryo UI" panose="020B0604030504040204" pitchFamily="50" charset="-128"/>
              </a:rPr>
              <a:t>海外進出スタートアップの輩出実績（一例）</a:t>
            </a:r>
            <a:endParaRPr lang="en-US" altLang="ja-JP" sz="1000" b="1"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r>
              <a:rPr lang="en-US" altLang="ja-JP" sz="1000" b="1" dirty="0">
                <a:solidFill>
                  <a:schemeClr val="tx1"/>
                </a:solidFill>
                <a:latin typeface="Meiryo UI" panose="020B0604030504040204" pitchFamily="50" charset="-128"/>
                <a:ea typeface="Meiryo UI" panose="020B0604030504040204" pitchFamily="50" charset="-128"/>
              </a:rPr>
              <a:t>Thinker:</a:t>
            </a:r>
            <a:br>
              <a:rPr lang="en-US" altLang="ja-JP" sz="1000" dirty="0">
                <a:solidFill>
                  <a:schemeClr val="tx1"/>
                </a:solidFill>
                <a:latin typeface="Meiryo UI" panose="020B0604030504040204" pitchFamily="50" charset="-128"/>
                <a:ea typeface="Meiryo UI" panose="020B0604030504040204" pitchFamily="50" charset="-128"/>
              </a:rPr>
            </a:br>
            <a:r>
              <a:rPr lang="en-US" altLang="ja-JP" sz="800" dirty="0">
                <a:solidFill>
                  <a:schemeClr val="tx1"/>
                </a:solidFill>
                <a:latin typeface="Meiryo UI" panose="020B0604030504040204" pitchFamily="50" charset="-128"/>
                <a:ea typeface="Meiryo UI" panose="020B0604030504040204" pitchFamily="50" charset="-128"/>
              </a:rPr>
              <a:t>2024</a:t>
            </a:r>
            <a:r>
              <a:rPr lang="ja-JP" altLang="en-US" sz="800" dirty="0">
                <a:solidFill>
                  <a:schemeClr val="tx1"/>
                </a:solidFill>
                <a:latin typeface="Meiryo UI" panose="020B0604030504040204" pitchFamily="50" charset="-128"/>
                <a:ea typeface="Meiryo UI" panose="020B0604030504040204" pitchFamily="50" charset="-128"/>
              </a:rPr>
              <a:t>年　</a:t>
            </a:r>
            <a:r>
              <a:rPr lang="en-US" altLang="ja-JP" sz="800" dirty="0" err="1">
                <a:solidFill>
                  <a:schemeClr val="tx1"/>
                </a:solidFill>
                <a:latin typeface="Meiryo UI" panose="020B0604030504040204" pitchFamily="50" charset="-128"/>
                <a:ea typeface="Meiryo UI" panose="020B0604030504040204" pitchFamily="50" charset="-128"/>
              </a:rPr>
              <a:t>Unistop</a:t>
            </a:r>
            <a:r>
              <a:rPr lang="en-US" altLang="ja-JP" sz="800" dirty="0">
                <a:solidFill>
                  <a:schemeClr val="tx1"/>
                </a:solidFill>
                <a:latin typeface="Meiryo UI" panose="020B0604030504040204" pitchFamily="50" charset="-128"/>
                <a:ea typeface="Meiryo UI" panose="020B0604030504040204" pitchFamily="50" charset="-128"/>
              </a:rPr>
              <a:t> Tech Pte. Ltd.</a:t>
            </a:r>
            <a:r>
              <a:rPr lang="ja-JP" altLang="en-US" sz="800" dirty="0">
                <a:solidFill>
                  <a:schemeClr val="tx1"/>
                </a:solidFill>
                <a:latin typeface="Meiryo UI" panose="020B0604030504040204" pitchFamily="50" charset="-128"/>
                <a:ea typeface="Meiryo UI" panose="020B0604030504040204" pitchFamily="50" charset="-128"/>
              </a:rPr>
              <a:t> と基本合意書締結</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r>
              <a:rPr kumimoji="1" lang="en-US" altLang="ja-JP" sz="1000" b="1" dirty="0">
                <a:solidFill>
                  <a:schemeClr val="tx1"/>
                </a:solidFill>
                <a:latin typeface="Meiryo UI" panose="020B0604030504040204" pitchFamily="50" charset="-128"/>
                <a:ea typeface="Meiryo UI" panose="020B0604030504040204" pitchFamily="50" charset="-128"/>
              </a:rPr>
              <a:t>EX-Fusion</a:t>
            </a:r>
            <a:r>
              <a:rPr kumimoji="1" lang="ja-JP" altLang="en-US" sz="1000" b="1" dirty="0">
                <a:solidFill>
                  <a:schemeClr val="tx1"/>
                </a:solidFill>
                <a:latin typeface="Meiryo UI" panose="020B0604030504040204" pitchFamily="50" charset="-128"/>
                <a:ea typeface="Meiryo UI" panose="020B0604030504040204" pitchFamily="50" charset="-128"/>
              </a:rPr>
              <a:t>：</a:t>
            </a:r>
            <a:br>
              <a:rPr kumimoji="1" lang="en-US" altLang="ja-JP" sz="1000" dirty="0">
                <a:solidFill>
                  <a:schemeClr val="tx1"/>
                </a:solidFill>
                <a:latin typeface="Meiryo UI" panose="020B0604030504040204" pitchFamily="50" charset="-128"/>
                <a:ea typeface="Meiryo UI" panose="020B0604030504040204" pitchFamily="50" charset="-128"/>
              </a:rPr>
            </a:br>
            <a:r>
              <a:rPr kumimoji="1" lang="en-US" altLang="ja-JP" sz="800" dirty="0">
                <a:solidFill>
                  <a:schemeClr val="tx1"/>
                </a:solidFill>
                <a:latin typeface="Meiryo UI" panose="020B0604030504040204" pitchFamily="50" charset="-128"/>
                <a:ea typeface="Meiryo UI" panose="020B0604030504040204" pitchFamily="50" charset="-128"/>
              </a:rPr>
              <a:t>2023</a:t>
            </a:r>
            <a:r>
              <a:rPr kumimoji="1" lang="ja-JP" altLang="en-US" sz="800" dirty="0">
                <a:solidFill>
                  <a:schemeClr val="tx1"/>
                </a:solidFill>
                <a:latin typeface="Meiryo UI" panose="020B0604030504040204" pitchFamily="50" charset="-128"/>
                <a:ea typeface="Meiryo UI" panose="020B0604030504040204" pitchFamily="50" charset="-128"/>
              </a:rPr>
              <a:t>年</a:t>
            </a:r>
            <a:r>
              <a:rPr lang="ja-JP" altLang="en-US" sz="800" i="0" dirty="0">
                <a:solidFill>
                  <a:schemeClr val="tx1"/>
                </a:solidFill>
                <a:effectLst/>
                <a:latin typeface="Meiryo UI" panose="020B0604030504040204" pitchFamily="50" charset="-128"/>
                <a:ea typeface="Meiryo UI" panose="020B0604030504040204" pitchFamily="50" charset="-128"/>
              </a:rPr>
              <a:t>豪州子会社設立、</a:t>
            </a:r>
            <a:r>
              <a:rPr lang="en-US" altLang="ja-JP" sz="800" i="0" dirty="0">
                <a:solidFill>
                  <a:schemeClr val="tx1"/>
                </a:solidFill>
                <a:effectLst/>
                <a:latin typeface="Meiryo UI" panose="020B0604030504040204" pitchFamily="50" charset="-128"/>
                <a:ea typeface="Meiryo UI" panose="020B0604030504040204" pitchFamily="50" charset="-128"/>
              </a:rPr>
              <a:t>EQT Foundation</a:t>
            </a:r>
            <a:r>
              <a:rPr lang="ja-JP" altLang="en-US" sz="800" i="0" dirty="0">
                <a:solidFill>
                  <a:schemeClr val="tx1"/>
                </a:solidFill>
                <a:effectLst/>
                <a:latin typeface="Meiryo UI" panose="020B0604030504040204" pitchFamily="50" charset="-128"/>
                <a:ea typeface="Meiryo UI" panose="020B0604030504040204" pitchFamily="50" charset="-128"/>
              </a:rPr>
              <a:t>から資金調達</a:t>
            </a:r>
            <a:endParaRPr lang="en-US" altLang="ja-JP" sz="1000" i="0" dirty="0">
              <a:solidFill>
                <a:schemeClr val="tx1"/>
              </a:solidFill>
              <a:effectLst/>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r>
              <a:rPr lang="en-US" altLang="ja-JP" sz="1000" b="1" i="0" dirty="0">
                <a:solidFill>
                  <a:schemeClr val="tx1"/>
                </a:solidFill>
                <a:effectLst/>
                <a:latin typeface="Meiryo UI" panose="020B0604030504040204" pitchFamily="50" charset="-128"/>
                <a:ea typeface="Meiryo UI" panose="020B0604030504040204" pitchFamily="50" charset="-128"/>
              </a:rPr>
              <a:t>Shinobi Therapeutics</a:t>
            </a:r>
            <a:r>
              <a:rPr lang="ja-JP" altLang="en-US" sz="1000" b="1" i="0" dirty="0">
                <a:solidFill>
                  <a:schemeClr val="tx1"/>
                </a:solidFill>
                <a:effectLst/>
                <a:latin typeface="Meiryo UI" panose="020B0604030504040204" pitchFamily="50" charset="-128"/>
                <a:ea typeface="Meiryo UI" panose="020B0604030504040204" pitchFamily="50" charset="-128"/>
              </a:rPr>
              <a:t>：</a:t>
            </a:r>
            <a:endParaRPr lang="en-US" altLang="ja-JP" sz="1000" b="1" i="0" dirty="0">
              <a:solidFill>
                <a:schemeClr val="tx1"/>
              </a:solidFill>
              <a:effectLst/>
              <a:latin typeface="Meiryo UI" panose="020B0604030504040204" pitchFamily="50" charset="-128"/>
              <a:ea typeface="Meiryo UI" panose="020B0604030504040204" pitchFamily="50" charset="-128"/>
            </a:endParaRPr>
          </a:p>
          <a:p>
            <a:pPr marL="177800"/>
            <a:r>
              <a:rPr lang="ja-JP" altLang="en-US" sz="800" dirty="0">
                <a:solidFill>
                  <a:schemeClr val="tx1"/>
                </a:solidFill>
                <a:effectLst/>
                <a:latin typeface="Meiryo UI" panose="020B0604030504040204" pitchFamily="50" charset="-128"/>
                <a:ea typeface="Meiryo UI" panose="020B0604030504040204" pitchFamily="50" charset="-128"/>
              </a:rPr>
              <a:t>アメリカ拠点設立・アメリカ</a:t>
            </a:r>
            <a:r>
              <a:rPr lang="en-US" altLang="ja-JP" sz="800" dirty="0">
                <a:solidFill>
                  <a:schemeClr val="tx1"/>
                </a:solidFill>
                <a:effectLst/>
                <a:latin typeface="Meiryo UI" panose="020B0604030504040204" pitchFamily="50" charset="-128"/>
                <a:ea typeface="Meiryo UI" panose="020B0604030504040204" pitchFamily="50" charset="-128"/>
              </a:rPr>
              <a:t>VC</a:t>
            </a:r>
            <a:r>
              <a:rPr lang="ja-JP" altLang="en-US" sz="800" dirty="0">
                <a:solidFill>
                  <a:schemeClr val="tx1"/>
                </a:solidFill>
                <a:effectLst/>
                <a:latin typeface="Meiryo UI" panose="020B0604030504040204" pitchFamily="50" charset="-128"/>
                <a:ea typeface="Meiryo UI" panose="020B0604030504040204" pitchFamily="50" charset="-128"/>
              </a:rPr>
              <a:t>から資金調達</a:t>
            </a:r>
            <a:endParaRPr lang="en-US" altLang="ja-JP" sz="800" dirty="0">
              <a:solidFill>
                <a:schemeClr val="tx1"/>
              </a:solidFill>
              <a:effectLst/>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r>
              <a:rPr lang="en-US" altLang="ja-JP" sz="1000" b="1" dirty="0">
                <a:solidFill>
                  <a:schemeClr val="tx1"/>
                </a:solidFill>
                <a:latin typeface="Meiryo UI" panose="020B0604030504040204" pitchFamily="50" charset="-128"/>
                <a:ea typeface="Meiryo UI" panose="020B0604030504040204" pitchFamily="50" charset="-128"/>
              </a:rPr>
              <a:t>RUTILEA</a:t>
            </a:r>
            <a:r>
              <a:rPr lang="ja-JP" altLang="en-US" sz="1000" b="1" i="0" dirty="0">
                <a:solidFill>
                  <a:schemeClr val="tx1"/>
                </a:solidFill>
                <a:effectLst/>
                <a:latin typeface="Meiryo UI" panose="020B0604030504040204" pitchFamily="50" charset="-128"/>
                <a:ea typeface="Meiryo UI" panose="020B0604030504040204" pitchFamily="50" charset="-128"/>
              </a:rPr>
              <a:t>：</a:t>
            </a:r>
            <a:endParaRPr lang="en-US" altLang="ja-JP" sz="1000" b="1" i="0" dirty="0">
              <a:solidFill>
                <a:schemeClr val="tx1"/>
              </a:solidFill>
              <a:effectLst/>
              <a:latin typeface="Meiryo UI" panose="020B0604030504040204" pitchFamily="50" charset="-128"/>
              <a:ea typeface="Meiryo UI" panose="020B0604030504040204" pitchFamily="50" charset="-128"/>
            </a:endParaRPr>
          </a:p>
          <a:p>
            <a:pPr marL="177800"/>
            <a:r>
              <a:rPr lang="ja-JP" altLang="en-US" sz="800" dirty="0">
                <a:solidFill>
                  <a:schemeClr val="tx1"/>
                </a:solidFill>
                <a:latin typeface="Meiryo UI" panose="020B0604030504040204" pitchFamily="50" charset="-128"/>
                <a:ea typeface="Meiryo UI" panose="020B0604030504040204" pitchFamily="50" charset="-128"/>
              </a:rPr>
              <a:t>サウジアラビア</a:t>
            </a:r>
            <a:r>
              <a:rPr lang="en-US" altLang="ja-JP" sz="800" dirty="0">
                <a:solidFill>
                  <a:schemeClr val="tx1"/>
                </a:solidFill>
                <a:latin typeface="Meiryo UI" panose="020B0604030504040204" pitchFamily="50" charset="-128"/>
                <a:ea typeface="Meiryo UI" panose="020B0604030504040204" pitchFamily="50" charset="-128"/>
              </a:rPr>
              <a:t>VC</a:t>
            </a:r>
            <a:r>
              <a:rPr lang="ja-JP" altLang="en-US" sz="800" dirty="0">
                <a:solidFill>
                  <a:schemeClr val="tx1"/>
                </a:solidFill>
                <a:latin typeface="Meiryo UI" panose="020B0604030504040204" pitchFamily="50" charset="-128"/>
                <a:ea typeface="Meiryo UI" panose="020B0604030504040204" pitchFamily="50" charset="-128"/>
              </a:rPr>
              <a:t>から資金調達</a:t>
            </a:r>
          </a:p>
          <a:p>
            <a:pPr marL="171450" indent="-171450">
              <a:buFont typeface="Wingdings" panose="05000000000000000000" pitchFamily="2" charset="2"/>
              <a:buChar char="Ø"/>
            </a:pPr>
            <a:r>
              <a:rPr lang="en-US" altLang="ja-JP" sz="1000" b="1" dirty="0">
                <a:solidFill>
                  <a:schemeClr val="tx1"/>
                </a:solidFill>
                <a:latin typeface="Meiryo UI" panose="020B0604030504040204" pitchFamily="50" charset="-128"/>
                <a:ea typeface="Meiryo UI" panose="020B0604030504040204" pitchFamily="50" charset="-128"/>
              </a:rPr>
              <a:t>Godot</a:t>
            </a:r>
            <a:r>
              <a:rPr lang="ja-JP" altLang="en-US" sz="1000" b="1" i="0" dirty="0">
                <a:solidFill>
                  <a:schemeClr val="tx1"/>
                </a:solidFill>
                <a:effectLst/>
                <a:latin typeface="Meiryo UI" panose="020B0604030504040204" pitchFamily="50" charset="-128"/>
                <a:ea typeface="Meiryo UI" panose="020B0604030504040204" pitchFamily="50" charset="-128"/>
              </a:rPr>
              <a:t>：</a:t>
            </a:r>
            <a:endParaRPr lang="en-US" altLang="ja-JP" sz="1000" b="1" i="0" dirty="0">
              <a:solidFill>
                <a:schemeClr val="tx1"/>
              </a:solidFill>
              <a:effectLst/>
              <a:latin typeface="Meiryo UI" panose="020B0604030504040204" pitchFamily="50" charset="-128"/>
              <a:ea typeface="Meiryo UI" panose="020B0604030504040204" pitchFamily="50" charset="-128"/>
            </a:endParaRPr>
          </a:p>
          <a:p>
            <a:pPr marL="177800"/>
            <a:r>
              <a:rPr lang="ja-JP" altLang="en-US" sz="800" dirty="0">
                <a:solidFill>
                  <a:schemeClr val="tx1"/>
                </a:solidFill>
                <a:latin typeface="Meiryo UI" panose="020B0604030504040204" pitchFamily="50" charset="-128"/>
                <a:ea typeface="Meiryo UI" panose="020B0604030504040204" pitchFamily="50" charset="-128"/>
              </a:rPr>
              <a:t>オーストリアに研究開発拠点</a:t>
            </a:r>
            <a:endParaRPr lang="en-US" altLang="ja-JP" sz="800" dirty="0">
              <a:solidFill>
                <a:schemeClr val="tx1"/>
              </a:solidFill>
              <a:latin typeface="Meiryo UI" panose="020B0604030504040204" pitchFamily="50" charset="-128"/>
              <a:ea typeface="Meiryo UI" panose="020B0604030504040204" pitchFamily="50" charset="-128"/>
            </a:endParaRPr>
          </a:p>
        </p:txBody>
      </p:sp>
      <p:grpSp>
        <p:nvGrpSpPr>
          <p:cNvPr id="213" name="グループ化 212">
            <a:extLst>
              <a:ext uri="{FF2B5EF4-FFF2-40B4-BE49-F238E27FC236}">
                <a16:creationId xmlns:a16="http://schemas.microsoft.com/office/drawing/2014/main" id="{F62FB464-7336-4480-811C-4EBE4B8DB36F}"/>
              </a:ext>
            </a:extLst>
          </p:cNvPr>
          <p:cNvGrpSpPr/>
          <p:nvPr/>
        </p:nvGrpSpPr>
        <p:grpSpPr>
          <a:xfrm>
            <a:off x="6403014" y="3121238"/>
            <a:ext cx="2357603" cy="279874"/>
            <a:chOff x="623468" y="1552940"/>
            <a:chExt cx="2822632" cy="264869"/>
          </a:xfrm>
        </p:grpSpPr>
        <p:grpSp>
          <p:nvGrpSpPr>
            <p:cNvPr id="214" name="グループ化 213">
              <a:extLst>
                <a:ext uri="{FF2B5EF4-FFF2-40B4-BE49-F238E27FC236}">
                  <a16:creationId xmlns:a16="http://schemas.microsoft.com/office/drawing/2014/main" id="{15029AC6-2F97-4F02-9A96-046F84CD20AD}"/>
                </a:ext>
              </a:extLst>
            </p:cNvPr>
            <p:cNvGrpSpPr/>
            <p:nvPr/>
          </p:nvGrpSpPr>
          <p:grpSpPr>
            <a:xfrm>
              <a:off x="650564" y="1616853"/>
              <a:ext cx="2795536" cy="157443"/>
              <a:chOff x="208495" y="1481916"/>
              <a:chExt cx="1108352" cy="157443"/>
            </a:xfrm>
          </p:grpSpPr>
          <p:cxnSp>
            <p:nvCxnSpPr>
              <p:cNvPr id="216" name="直線コネクタ 215">
                <a:extLst>
                  <a:ext uri="{FF2B5EF4-FFF2-40B4-BE49-F238E27FC236}">
                    <a16:creationId xmlns:a16="http://schemas.microsoft.com/office/drawing/2014/main" id="{69ED2B5D-E54D-490B-B7ED-98597A362B0C}"/>
                  </a:ext>
                </a:extLst>
              </p:cNvPr>
              <p:cNvCxnSpPr>
                <a:cxnSpLocks/>
              </p:cNvCxnSpPr>
              <p:nvPr/>
            </p:nvCxnSpPr>
            <p:spPr>
              <a:xfrm flipV="1">
                <a:off x="208495" y="1637981"/>
                <a:ext cx="1012902" cy="1378"/>
              </a:xfrm>
              <a:prstGeom prst="line">
                <a:avLst/>
              </a:prstGeom>
            </p:spPr>
            <p:style>
              <a:lnRef idx="1">
                <a:schemeClr val="dk1"/>
              </a:lnRef>
              <a:fillRef idx="0">
                <a:schemeClr val="dk1"/>
              </a:fillRef>
              <a:effectRef idx="0">
                <a:schemeClr val="dk1"/>
              </a:effectRef>
              <a:fontRef idx="minor">
                <a:schemeClr val="tx1"/>
              </a:fontRef>
            </p:style>
          </p:cxnSp>
          <p:sp>
            <p:nvSpPr>
              <p:cNvPr id="217" name="正方形/長方形 216">
                <a:extLst>
                  <a:ext uri="{FF2B5EF4-FFF2-40B4-BE49-F238E27FC236}">
                    <a16:creationId xmlns:a16="http://schemas.microsoft.com/office/drawing/2014/main" id="{7D8219B2-3C1B-4369-ADC6-4F221464ED03}"/>
                  </a:ext>
                </a:extLst>
              </p:cNvPr>
              <p:cNvSpPr/>
              <p:nvPr/>
            </p:nvSpPr>
            <p:spPr>
              <a:xfrm>
                <a:off x="254032" y="1481916"/>
                <a:ext cx="1062815" cy="1560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b="1" dirty="0">
                    <a:solidFill>
                      <a:schemeClr val="tx1"/>
                    </a:solidFill>
                    <a:latin typeface="Meiryo UI" panose="020B0604030504040204" pitchFamily="50" charset="-128"/>
                    <a:ea typeface="Meiryo UI" panose="020B0604030504040204" pitchFamily="50" charset="-128"/>
                  </a:rPr>
                  <a:t>　海外展開に関する支援状況</a:t>
                </a:r>
              </a:p>
            </p:txBody>
          </p:sp>
        </p:grpSp>
        <p:pic>
          <p:nvPicPr>
            <p:cNvPr id="215" name="グラフィックス 84" descr="山形の矢印 単色塗りつぶし">
              <a:extLst>
                <a:ext uri="{FF2B5EF4-FFF2-40B4-BE49-F238E27FC236}">
                  <a16:creationId xmlns:a16="http://schemas.microsoft.com/office/drawing/2014/main" id="{7CD4B2DB-A6BB-4864-BBFE-AC7345EEB0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3468" y="1552940"/>
              <a:ext cx="264869" cy="264869"/>
            </a:xfrm>
            <a:prstGeom prst="rect">
              <a:avLst/>
            </a:prstGeom>
          </p:spPr>
        </p:pic>
      </p:grpSp>
      <p:sp>
        <p:nvSpPr>
          <p:cNvPr id="3" name="スライド番号プレースホルダー 2">
            <a:extLst>
              <a:ext uri="{FF2B5EF4-FFF2-40B4-BE49-F238E27FC236}">
                <a16:creationId xmlns:a16="http://schemas.microsoft.com/office/drawing/2014/main" id="{936168EC-6DD7-A3EC-E227-A83ACD523D32}"/>
              </a:ext>
            </a:extLst>
          </p:cNvPr>
          <p:cNvSpPr>
            <a:spLocks noGrp="1"/>
          </p:cNvSpPr>
          <p:nvPr>
            <p:ph type="sldNum" sz="quarter" idx="12"/>
          </p:nvPr>
        </p:nvSpPr>
        <p:spPr>
          <a:xfrm>
            <a:off x="7604917" y="6564822"/>
            <a:ext cx="2311400" cy="365125"/>
          </a:xfrm>
        </p:spPr>
        <p:txBody>
          <a:bodyPr/>
          <a:lstStyle/>
          <a:p>
            <a: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t>10</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218" name="グループ化 217">
            <a:extLst>
              <a:ext uri="{FF2B5EF4-FFF2-40B4-BE49-F238E27FC236}">
                <a16:creationId xmlns:a16="http://schemas.microsoft.com/office/drawing/2014/main" id="{56F87EB1-EC25-4A4B-BE43-12D673A37974}"/>
              </a:ext>
            </a:extLst>
          </p:cNvPr>
          <p:cNvGrpSpPr/>
          <p:nvPr/>
        </p:nvGrpSpPr>
        <p:grpSpPr>
          <a:xfrm>
            <a:off x="241152" y="3099470"/>
            <a:ext cx="2798469" cy="279874"/>
            <a:chOff x="623468" y="1552940"/>
            <a:chExt cx="3350457" cy="264869"/>
          </a:xfrm>
        </p:grpSpPr>
        <p:grpSp>
          <p:nvGrpSpPr>
            <p:cNvPr id="219" name="グループ化 218">
              <a:extLst>
                <a:ext uri="{FF2B5EF4-FFF2-40B4-BE49-F238E27FC236}">
                  <a16:creationId xmlns:a16="http://schemas.microsoft.com/office/drawing/2014/main" id="{E1080EE9-3881-4EDB-879E-4963F8A1A30B}"/>
                </a:ext>
              </a:extLst>
            </p:cNvPr>
            <p:cNvGrpSpPr/>
            <p:nvPr/>
          </p:nvGrpSpPr>
          <p:grpSpPr>
            <a:xfrm>
              <a:off x="650564" y="1616853"/>
              <a:ext cx="3323361" cy="157443"/>
              <a:chOff x="208495" y="1481916"/>
              <a:chExt cx="1317620" cy="157443"/>
            </a:xfrm>
          </p:grpSpPr>
          <p:cxnSp>
            <p:nvCxnSpPr>
              <p:cNvPr id="221" name="直線コネクタ 220">
                <a:extLst>
                  <a:ext uri="{FF2B5EF4-FFF2-40B4-BE49-F238E27FC236}">
                    <a16:creationId xmlns:a16="http://schemas.microsoft.com/office/drawing/2014/main" id="{DB29B447-E89B-4B0F-A01C-030F33700810}"/>
                  </a:ext>
                </a:extLst>
              </p:cNvPr>
              <p:cNvCxnSpPr>
                <a:cxnSpLocks/>
              </p:cNvCxnSpPr>
              <p:nvPr/>
            </p:nvCxnSpPr>
            <p:spPr>
              <a:xfrm>
                <a:off x="208495" y="1639359"/>
                <a:ext cx="1179930" cy="0"/>
              </a:xfrm>
              <a:prstGeom prst="line">
                <a:avLst/>
              </a:prstGeom>
            </p:spPr>
            <p:style>
              <a:lnRef idx="1">
                <a:schemeClr val="dk1"/>
              </a:lnRef>
              <a:fillRef idx="0">
                <a:schemeClr val="dk1"/>
              </a:fillRef>
              <a:effectRef idx="0">
                <a:schemeClr val="dk1"/>
              </a:effectRef>
              <a:fontRef idx="minor">
                <a:schemeClr val="tx1"/>
              </a:fontRef>
            </p:style>
          </p:cxnSp>
          <p:sp>
            <p:nvSpPr>
              <p:cNvPr id="222" name="正方形/長方形 221">
                <a:extLst>
                  <a:ext uri="{FF2B5EF4-FFF2-40B4-BE49-F238E27FC236}">
                    <a16:creationId xmlns:a16="http://schemas.microsoft.com/office/drawing/2014/main" id="{CBB00B9C-245C-4D99-95B2-BA4C98C222AA}"/>
                  </a:ext>
                </a:extLst>
              </p:cNvPr>
              <p:cNvSpPr/>
              <p:nvPr/>
            </p:nvSpPr>
            <p:spPr>
              <a:xfrm>
                <a:off x="254032" y="1481916"/>
                <a:ext cx="1272083" cy="1152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b="1" dirty="0">
                    <a:solidFill>
                      <a:schemeClr val="tx1"/>
                    </a:solidFill>
                    <a:latin typeface="Meiryo UI" panose="020B0604030504040204" pitchFamily="50" charset="-128"/>
                    <a:ea typeface="Meiryo UI" panose="020B0604030504040204" pitchFamily="50" charset="-128"/>
                  </a:rPr>
                  <a:t>　関西のスタートアップ・エコシステム</a:t>
                </a:r>
              </a:p>
            </p:txBody>
          </p:sp>
        </p:grpSp>
        <p:pic>
          <p:nvPicPr>
            <p:cNvPr id="220" name="グラフィックス 84" descr="山形の矢印 単色塗りつぶし">
              <a:extLst>
                <a:ext uri="{FF2B5EF4-FFF2-40B4-BE49-F238E27FC236}">
                  <a16:creationId xmlns:a16="http://schemas.microsoft.com/office/drawing/2014/main" id="{3C8ECF2D-7DE5-4716-80B9-C459C4CD2F7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3468" y="1552940"/>
              <a:ext cx="264869" cy="264869"/>
            </a:xfrm>
            <a:prstGeom prst="rect">
              <a:avLst/>
            </a:prstGeom>
          </p:spPr>
        </p:pic>
      </p:grpSp>
      <p:sp>
        <p:nvSpPr>
          <p:cNvPr id="115" name="正方形/長方形 114">
            <a:extLst>
              <a:ext uri="{FF2B5EF4-FFF2-40B4-BE49-F238E27FC236}">
                <a16:creationId xmlns:a16="http://schemas.microsoft.com/office/drawing/2014/main" id="{52157C22-7313-48A9-A54D-46104FF1473C}"/>
              </a:ext>
            </a:extLst>
          </p:cNvPr>
          <p:cNvSpPr/>
          <p:nvPr/>
        </p:nvSpPr>
        <p:spPr bwMode="auto">
          <a:xfrm>
            <a:off x="36484" y="327777"/>
            <a:ext cx="9824010" cy="504694"/>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大阪は、</a:t>
            </a:r>
            <a:r>
              <a:rPr kumimoji="0" lang="en-US" altLang="ja-JP" sz="1200" b="1" dirty="0">
                <a:latin typeface="Meiryo UI" panose="020B0604030504040204" pitchFamily="50" charset="-128"/>
                <a:ea typeface="Meiryo UI" panose="020B0604030504040204" pitchFamily="50" charset="-128"/>
              </a:rPr>
              <a:t>GSE2025</a:t>
            </a:r>
            <a:r>
              <a:rPr kumimoji="0" lang="ja-JP" altLang="en-US" sz="1200" b="1" dirty="0">
                <a:latin typeface="Meiryo UI" panose="020B0604030504040204" pitchFamily="50" charset="-128"/>
                <a:ea typeface="Meiryo UI" panose="020B0604030504040204" pitchFamily="50" charset="-128"/>
              </a:rPr>
              <a:t>にあわせて大規模なグローバルスタートアップイベントの開催実績があります。これまでの経験を糧に、</a:t>
            </a:r>
            <a:r>
              <a:rPr kumimoji="0" lang="en-US" altLang="ja-JP" sz="1200" b="1" dirty="0">
                <a:latin typeface="Meiryo UI" panose="020B0604030504040204" pitchFamily="50" charset="-128"/>
                <a:ea typeface="Meiryo UI" panose="020B0604030504040204" pitchFamily="50" charset="-128"/>
              </a:rPr>
              <a:t>GSE2026</a:t>
            </a:r>
            <a:r>
              <a:rPr kumimoji="0" lang="ja-JP" altLang="en-US" sz="1200" b="1" dirty="0">
                <a:latin typeface="Meiryo UI" panose="020B0604030504040204" pitchFamily="50" charset="-128"/>
                <a:ea typeface="Meiryo UI" panose="020B0604030504040204" pitchFamily="50" charset="-128"/>
              </a:rPr>
              <a:t>を成功に導きます！</a:t>
            </a:r>
            <a:endParaRPr kumimoji="0" lang="en-US" altLang="ja-JP" sz="1200" b="1" dirty="0">
              <a:latin typeface="Meiryo UI" panose="020B0604030504040204" pitchFamily="50" charset="-128"/>
              <a:ea typeface="Meiryo UI" panose="020B0604030504040204" pitchFamily="50" charset="-128"/>
            </a:endParaRPr>
          </a:p>
        </p:txBody>
      </p:sp>
      <p:pic>
        <p:nvPicPr>
          <p:cNvPr id="116" name="図 115">
            <a:extLst>
              <a:ext uri="{FF2B5EF4-FFF2-40B4-BE49-F238E27FC236}">
                <a16:creationId xmlns:a16="http://schemas.microsoft.com/office/drawing/2014/main" id="{D67494CB-54C7-4F2F-A942-C4BB26C9CC3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b="30716"/>
          <a:stretch/>
        </p:blipFill>
        <p:spPr>
          <a:xfrm>
            <a:off x="4598682" y="5292436"/>
            <a:ext cx="1596455" cy="1336303"/>
          </a:xfrm>
          <a:prstGeom prst="rect">
            <a:avLst/>
          </a:prstGeom>
          <a:solidFill>
            <a:schemeClr val="bg1"/>
          </a:solidFill>
        </p:spPr>
      </p:pic>
      <p:sp>
        <p:nvSpPr>
          <p:cNvPr id="117" name="テキスト ボックス 116">
            <a:extLst>
              <a:ext uri="{FF2B5EF4-FFF2-40B4-BE49-F238E27FC236}">
                <a16:creationId xmlns:a16="http://schemas.microsoft.com/office/drawing/2014/main" id="{55815EA3-1E66-464C-8A07-8F0C6B3AC1F2}"/>
              </a:ext>
            </a:extLst>
          </p:cNvPr>
          <p:cNvSpPr txBox="1"/>
          <p:nvPr/>
        </p:nvSpPr>
        <p:spPr>
          <a:xfrm>
            <a:off x="5504659" y="6658757"/>
            <a:ext cx="810696" cy="184666"/>
          </a:xfrm>
          <a:prstGeom prst="rect">
            <a:avLst/>
          </a:prstGeom>
          <a:noFill/>
        </p:spPr>
        <p:txBody>
          <a:bodyPr wrap="square">
            <a:spAutoFit/>
          </a:bodyPr>
          <a:lstStyle/>
          <a:p>
            <a:r>
              <a:rPr lang="ja-JP" altLang="en-US" sz="300" dirty="0">
                <a:latin typeface="Meiryo UI" panose="020B0604030504040204" pitchFamily="50" charset="-128"/>
                <a:ea typeface="Meiryo UI" panose="020B0604030504040204" pitchFamily="50" charset="-128"/>
              </a:rPr>
              <a:t>出典：令和</a:t>
            </a:r>
            <a:r>
              <a:rPr lang="en-US" altLang="ja-JP" sz="300" dirty="0">
                <a:latin typeface="Meiryo UI" panose="020B0604030504040204" pitchFamily="50" charset="-128"/>
                <a:ea typeface="Meiryo UI" panose="020B0604030504040204" pitchFamily="50" charset="-128"/>
              </a:rPr>
              <a:t>6</a:t>
            </a:r>
            <a:r>
              <a:rPr lang="ja-JP" altLang="en-US" sz="300" dirty="0">
                <a:latin typeface="Meiryo UI" panose="020B0604030504040204" pitchFamily="50" charset="-128"/>
                <a:ea typeface="Meiryo UI" panose="020B0604030504040204" pitchFamily="50" charset="-128"/>
              </a:rPr>
              <a:t>年度大学発ベンチャー　　</a:t>
            </a:r>
            <a:endParaRPr lang="en-US" altLang="ja-JP" sz="300" dirty="0">
              <a:latin typeface="Meiryo UI" panose="020B0604030504040204" pitchFamily="50" charset="-128"/>
              <a:ea typeface="Meiryo UI" panose="020B0604030504040204" pitchFamily="50" charset="-128"/>
            </a:endParaRPr>
          </a:p>
          <a:p>
            <a:r>
              <a:rPr lang="ja-JP" altLang="en-US" sz="300" dirty="0">
                <a:latin typeface="Meiryo UI" panose="020B0604030504040204" pitchFamily="50" charset="-128"/>
                <a:ea typeface="Meiryo UI" panose="020B0604030504040204" pitchFamily="50" charset="-128"/>
              </a:rPr>
              <a:t>　　　　　実態等調査（経済産業省）</a:t>
            </a:r>
            <a:endParaRPr lang="en-US" altLang="ja-JP" sz="300" dirty="0">
              <a:latin typeface="Meiryo UI" panose="020B0604030504040204" pitchFamily="50" charset="-128"/>
              <a:ea typeface="Meiryo UI" panose="020B0604030504040204" pitchFamily="50" charset="-128"/>
            </a:endParaRPr>
          </a:p>
        </p:txBody>
      </p:sp>
      <p:sp>
        <p:nvSpPr>
          <p:cNvPr id="118" name="テキスト ボックス 117">
            <a:extLst>
              <a:ext uri="{FF2B5EF4-FFF2-40B4-BE49-F238E27FC236}">
                <a16:creationId xmlns:a16="http://schemas.microsoft.com/office/drawing/2014/main" id="{55D9B75B-FB38-4012-90ED-607EEAC5C958}"/>
              </a:ext>
            </a:extLst>
          </p:cNvPr>
          <p:cNvSpPr txBox="1"/>
          <p:nvPr/>
        </p:nvSpPr>
        <p:spPr>
          <a:xfrm>
            <a:off x="4598682" y="5014580"/>
            <a:ext cx="1596455" cy="261610"/>
          </a:xfrm>
          <a:prstGeom prst="rect">
            <a:avLst/>
          </a:prstGeom>
          <a:solidFill>
            <a:schemeClr val="accent1">
              <a:lumMod val="75000"/>
            </a:schemeClr>
          </a:solidFill>
          <a:effectLst>
            <a:softEdge rad="0"/>
          </a:effectLst>
        </p:spPr>
        <p:txBody>
          <a:bodyPr wrap="square" tIns="0" rtlCol="0" anchor="ctr" anchorCtr="1">
            <a:spAutoFit/>
          </a:bodyPr>
          <a:lstStyle/>
          <a:p>
            <a:pPr algn="ctr"/>
            <a:r>
              <a:rPr lang="ja-JP" altLang="en-US" sz="700" b="1" dirty="0">
                <a:solidFill>
                  <a:schemeClr val="bg1"/>
                </a:solidFill>
                <a:latin typeface="BIZ UDPゴシック" panose="020B0400000000000000" pitchFamily="50" charset="-128"/>
                <a:ea typeface="BIZ UDPゴシック" panose="020B0400000000000000" pitchFamily="50" charset="-128"/>
              </a:rPr>
              <a:t>大学発ベンチャー創出数トップ</a:t>
            </a:r>
            <a:r>
              <a:rPr lang="en-US" altLang="ja-JP" sz="700" b="1" dirty="0">
                <a:solidFill>
                  <a:schemeClr val="bg1"/>
                </a:solidFill>
                <a:latin typeface="BIZ UDPゴシック" panose="020B0400000000000000" pitchFamily="50" charset="-128"/>
                <a:ea typeface="BIZ UDPゴシック" panose="020B0400000000000000" pitchFamily="50" charset="-128"/>
              </a:rPr>
              <a:t>10</a:t>
            </a:r>
            <a:r>
              <a:rPr lang="ja-JP" altLang="en-US" sz="700" b="1" dirty="0">
                <a:solidFill>
                  <a:schemeClr val="bg1"/>
                </a:solidFill>
                <a:latin typeface="BIZ UDPゴシック" panose="020B0400000000000000" pitchFamily="50" charset="-128"/>
                <a:ea typeface="BIZ UDPゴシック" panose="020B0400000000000000" pitchFamily="50" charset="-128"/>
              </a:rPr>
              <a:t>（</a:t>
            </a:r>
            <a:r>
              <a:rPr lang="en-US" altLang="zh-CN" sz="700" b="1" dirty="0">
                <a:solidFill>
                  <a:schemeClr val="bg1"/>
                </a:solidFill>
                <a:latin typeface="BIZ UDPゴシック" panose="020B0400000000000000" pitchFamily="50" charset="-128"/>
                <a:ea typeface="BIZ UDPゴシック" panose="020B0400000000000000" pitchFamily="50" charset="-128"/>
              </a:rPr>
              <a:t>2024</a:t>
            </a:r>
            <a:r>
              <a:rPr lang="ja-JP" altLang="en-US" sz="700" b="1" dirty="0">
                <a:solidFill>
                  <a:schemeClr val="bg1"/>
                </a:solidFill>
                <a:latin typeface="BIZ UDPゴシック" panose="020B0400000000000000" pitchFamily="50" charset="-128"/>
                <a:ea typeface="BIZ UDPゴシック" panose="020B0400000000000000" pitchFamily="50" charset="-128"/>
              </a:rPr>
              <a:t>年度）</a:t>
            </a:r>
            <a:endParaRPr lang="zh-CN" altLang="en-US" sz="700" b="1" dirty="0">
              <a:solidFill>
                <a:schemeClr val="bg1"/>
              </a:solidFill>
              <a:latin typeface="BIZ UDPゴシック" panose="020B0400000000000000" pitchFamily="50" charset="-128"/>
              <a:ea typeface="BIZ UDPゴシック" panose="020B0400000000000000" pitchFamily="50" charset="-128"/>
            </a:endParaRPr>
          </a:p>
        </p:txBody>
      </p:sp>
      <p:sp>
        <p:nvSpPr>
          <p:cNvPr id="121" name="タイトル 6">
            <a:extLst>
              <a:ext uri="{FF2B5EF4-FFF2-40B4-BE49-F238E27FC236}">
                <a16:creationId xmlns:a16="http://schemas.microsoft.com/office/drawing/2014/main" id="{F55AEE1C-B643-4E26-98B8-28B4818380F5}"/>
              </a:ext>
            </a:extLst>
          </p:cNvPr>
          <p:cNvSpPr txBox="1">
            <a:spLocks/>
          </p:cNvSpPr>
          <p:nvPr/>
        </p:nvSpPr>
        <p:spPr>
          <a:xfrm>
            <a:off x="4550054" y="4128490"/>
            <a:ext cx="2002784" cy="592364"/>
          </a:xfrm>
          <a:prstGeom prst="rect">
            <a:avLst/>
          </a:prstGeom>
          <a:noFill/>
        </p:spPr>
        <p:txBody>
          <a:bodyPr vert="horz" wrap="none" lIns="91440" tIns="45720" rIns="91440" bIns="45720" rtlCol="0" anchor="ctr">
            <a:noAutofit/>
          </a:bodyPr>
          <a:lstStyle>
            <a:lvl1pPr algn="ctr" defTabSz="914400" rtl="0" eaLnBrk="1" latinLnBrk="0" hangingPunct="1">
              <a:lnSpc>
                <a:spcPct val="90000"/>
              </a:lnSpc>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algn="l"/>
            <a:endParaRPr kumimoji="1" lang="ja-JP" altLang="en-US" sz="1000" b="0" dirty="0">
              <a:solidFill>
                <a:schemeClr val="tx1"/>
              </a:solidFill>
            </a:endParaRPr>
          </a:p>
        </p:txBody>
      </p:sp>
      <p:sp>
        <p:nvSpPr>
          <p:cNvPr id="127" name="四角形: 角を丸くする 126">
            <a:extLst>
              <a:ext uri="{FF2B5EF4-FFF2-40B4-BE49-F238E27FC236}">
                <a16:creationId xmlns:a16="http://schemas.microsoft.com/office/drawing/2014/main" id="{CC04232E-0692-490E-AB4C-E5E7EFBA5FB0}"/>
              </a:ext>
            </a:extLst>
          </p:cNvPr>
          <p:cNvSpPr/>
          <p:nvPr/>
        </p:nvSpPr>
        <p:spPr>
          <a:xfrm>
            <a:off x="4737028" y="4210294"/>
            <a:ext cx="1315782" cy="155847"/>
          </a:xfrm>
          <a:prstGeom prst="roundRect">
            <a:avLst>
              <a:gd name="adj" fmla="val 50000"/>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700" b="1" dirty="0">
                <a:latin typeface="Meiryo UI" panose="020B0604030504040204" pitchFamily="50" charset="-128"/>
                <a:ea typeface="Meiryo UI" panose="020B0604030504040204" pitchFamily="50" charset="-128"/>
              </a:rPr>
              <a:t>Deep Tech</a:t>
            </a:r>
            <a:r>
              <a:rPr lang="ja-JP" altLang="en-US" sz="700" b="1" dirty="0">
                <a:latin typeface="Meiryo UI" panose="020B0604030504040204" pitchFamily="50" charset="-128"/>
                <a:ea typeface="Meiryo UI" panose="020B0604030504040204" pitchFamily="50" charset="-128"/>
              </a:rPr>
              <a:t>・産学官連携</a:t>
            </a:r>
            <a:endParaRPr kumimoji="1" lang="ja-JP" altLang="en-US" sz="700" b="1" dirty="0">
              <a:latin typeface="Meiryo UI" panose="020B0604030504040204" pitchFamily="50" charset="-128"/>
              <a:ea typeface="Meiryo UI" panose="020B0604030504040204" pitchFamily="50" charset="-128"/>
            </a:endParaRPr>
          </a:p>
        </p:txBody>
      </p:sp>
      <p:pic>
        <p:nvPicPr>
          <p:cNvPr id="128" name="図 127">
            <a:extLst>
              <a:ext uri="{FF2B5EF4-FFF2-40B4-BE49-F238E27FC236}">
                <a16:creationId xmlns:a16="http://schemas.microsoft.com/office/drawing/2014/main" id="{695DB8BA-9459-4311-B89B-AA8E92D61242}"/>
              </a:ext>
            </a:extLst>
          </p:cNvPr>
          <p:cNvPicPr>
            <a:picLocks noChangeAspect="1"/>
          </p:cNvPicPr>
          <p:nvPr/>
        </p:nvPicPr>
        <p:blipFill>
          <a:blip r:embed="rId8" cstate="email">
            <a:extLst>
              <a:ext uri="{BEBA8EAE-BF5A-486C-A8C5-ECC9F3942E4B}">
                <a14:imgProps xmlns:a14="http://schemas.microsoft.com/office/drawing/2010/main">
                  <a14:imgLayer r:embed="rId9">
                    <a14:imgEffect>
                      <a14:backgroundRemoval t="4636" b="96689" l="4739" r="95735">
                        <a14:foregroundMark x1="53791" y1="20530" x2="54739" y2="20530"/>
                        <a14:foregroundMark x1="46919" y1="4636" x2="46919" y2="4636"/>
                        <a14:foregroundMark x1="70142" y1="38411" x2="70142" y2="38411"/>
                        <a14:foregroundMark x1="34597" y1="40839" x2="36967" y2="41060"/>
                        <a14:foregroundMark x1="89336" y1="77263" x2="89336" y2="77263"/>
                        <a14:foregroundMark x1="94313" y1="80132" x2="95735" y2="80132"/>
                        <a14:foregroundMark x1="81754" y1="96689" x2="81754" y2="96689"/>
                        <a14:foregroundMark x1="69668" y1="95585" x2="69668" y2="95585"/>
                        <a14:foregroundMark x1="43839" y1="90066" x2="43839" y2="90066"/>
                        <a14:foregroundMark x1="14218" y1="83444" x2="14218" y2="83444"/>
                        <a14:foregroundMark x1="4739" y1="82119" x2="4739" y2="82119"/>
                      </a14:backgroundRemoval>
                    </a14:imgEffect>
                  </a14:imgLayer>
                </a14:imgProps>
              </a:ext>
              <a:ext uri="{28A0092B-C50C-407E-A947-70E740481C1C}">
                <a14:useLocalDpi xmlns:a14="http://schemas.microsoft.com/office/drawing/2010/main"/>
              </a:ext>
            </a:extLst>
          </a:blip>
          <a:stretch>
            <a:fillRect/>
          </a:stretch>
        </p:blipFill>
        <p:spPr>
          <a:xfrm>
            <a:off x="4715047" y="4599068"/>
            <a:ext cx="340208" cy="364649"/>
          </a:xfrm>
          <a:prstGeom prst="rect">
            <a:avLst/>
          </a:prstGeom>
        </p:spPr>
      </p:pic>
      <p:pic>
        <p:nvPicPr>
          <p:cNvPr id="129" name="図 128">
            <a:extLst>
              <a:ext uri="{FF2B5EF4-FFF2-40B4-BE49-F238E27FC236}">
                <a16:creationId xmlns:a16="http://schemas.microsoft.com/office/drawing/2014/main" id="{FE5AD5B4-68D3-424D-9059-D6B6951CB388}"/>
              </a:ext>
            </a:extLst>
          </p:cNvPr>
          <p:cNvPicPr>
            <a:picLocks noChangeAspect="1"/>
          </p:cNvPicPr>
          <p:nvPr/>
        </p:nvPicPr>
        <p:blipFill>
          <a:blip r:embed="rId10" cstate="email">
            <a:extLst>
              <a:ext uri="{BEBA8EAE-BF5A-486C-A8C5-ECC9F3942E4B}">
                <a14:imgProps xmlns:a14="http://schemas.microsoft.com/office/drawing/2010/main">
                  <a14:imgLayer r:embed="rId11">
                    <a14:imgEffect>
                      <a14:backgroundRemoval t="8293" b="93659" l="1592" r="96817">
                        <a14:foregroundMark x1="26260" y1="23415" x2="26260" y2="23415"/>
                        <a14:foregroundMark x1="41379" y1="24878" x2="41379" y2="24878"/>
                        <a14:foregroundMark x1="5570" y1="68293" x2="5570" y2="68293"/>
                        <a14:foregroundMark x1="1592" y1="76585" x2="1592" y2="76585"/>
                        <a14:foregroundMark x1="89390" y1="35610" x2="89390" y2="35610"/>
                        <a14:foregroundMark x1="87003" y1="37561" x2="87003" y2="37561"/>
                        <a14:foregroundMark x1="85676" y1="35610" x2="85676" y2="35610"/>
                        <a14:foregroundMark x1="88859" y1="26341" x2="83024" y2="52195"/>
                        <a14:foregroundMark x1="83024" y1="35610" x2="92573" y2="34146"/>
                        <a14:foregroundMark x1="92573" y1="34146" x2="96817" y2="35610"/>
                        <a14:foregroundMark x1="74801" y1="41951" x2="72944" y2="51220"/>
                        <a14:foregroundMark x1="81698" y1="57073" x2="80902" y2="62927"/>
                        <a14:foregroundMark x1="60212" y1="90244" x2="60212" y2="90244"/>
                        <a14:foregroundMark x1="54642" y1="93171" x2="54642" y2="93171"/>
                        <a14:foregroundMark x1="51459" y1="93659" x2="51459" y2="93659"/>
                        <a14:foregroundMark x1="47215" y1="92683" x2="47215" y2="92683"/>
                        <a14:foregroundMark x1="41910" y1="92683" x2="41910" y2="92683"/>
                        <a14:foregroundMark x1="37931" y1="93171" x2="37931" y2="93171"/>
                        <a14:foregroundMark x1="38196" y1="92195" x2="38196" y2="92195"/>
                        <a14:foregroundMark x1="35279" y1="93171" x2="35279" y2="93171"/>
                        <a14:foregroundMark x1="28912" y1="92195" x2="28912" y2="92195"/>
                        <a14:foregroundMark x1="21751" y1="92195" x2="29178" y2="91707"/>
                        <a14:foregroundMark x1="63926" y1="92683" x2="72414" y2="91707"/>
                      </a14:backgroundRemoval>
                    </a14:imgEffect>
                  </a14:imgLayer>
                </a14:imgProps>
              </a:ext>
              <a:ext uri="{28A0092B-C50C-407E-A947-70E740481C1C}">
                <a14:useLocalDpi xmlns:a14="http://schemas.microsoft.com/office/drawing/2010/main"/>
              </a:ext>
            </a:extLst>
          </a:blip>
          <a:stretch>
            <a:fillRect/>
          </a:stretch>
        </p:blipFill>
        <p:spPr>
          <a:xfrm>
            <a:off x="5141539" y="4663883"/>
            <a:ext cx="479268" cy="260216"/>
          </a:xfrm>
          <a:prstGeom prst="rect">
            <a:avLst/>
          </a:prstGeom>
        </p:spPr>
      </p:pic>
      <p:pic>
        <p:nvPicPr>
          <p:cNvPr id="130" name="図 129">
            <a:extLst>
              <a:ext uri="{FF2B5EF4-FFF2-40B4-BE49-F238E27FC236}">
                <a16:creationId xmlns:a16="http://schemas.microsoft.com/office/drawing/2014/main" id="{98059ED0-815E-4968-B2F0-89144DBF52AA}"/>
              </a:ext>
            </a:extLst>
          </p:cNvPr>
          <p:cNvPicPr>
            <a:picLocks noChangeAspect="1"/>
          </p:cNvPicPr>
          <p:nvPr/>
        </p:nvPicPr>
        <p:blipFill>
          <a:blip r:embed="rId12" cstate="email">
            <a:extLst>
              <a:ext uri="{BEBA8EAE-BF5A-486C-A8C5-ECC9F3942E4B}">
                <a14:imgProps xmlns:a14="http://schemas.microsoft.com/office/drawing/2010/main">
                  <a14:imgLayer r:embed="rId13">
                    <a14:imgEffect>
                      <a14:backgroundRemoval t="7957" b="96344" l="8457" r="94080">
                        <a14:foregroundMark x1="49894" y1="7957" x2="49894" y2="7957"/>
                        <a14:foregroundMark x1="30444" y1="16129" x2="30444" y2="16129"/>
                        <a14:foregroundMark x1="11628" y1="22796" x2="11628" y2="22796"/>
                        <a14:foregroundMark x1="68922" y1="32903" x2="68922" y2="32903"/>
                        <a14:foregroundMark x1="89641" y1="41290" x2="89641" y2="41290"/>
                        <a14:foregroundMark x1="8668" y1="93978" x2="8668" y2="93978"/>
                        <a14:foregroundMark x1="10782" y1="91828" x2="10782" y2="91828"/>
                        <a14:foregroundMark x1="12896" y1="92473" x2="12896" y2="92473"/>
                        <a14:foregroundMark x1="16702" y1="93118" x2="16702" y2="93118"/>
                        <a14:foregroundMark x1="20930" y1="93548" x2="20930" y2="93548"/>
                        <a14:foregroundMark x1="21142" y1="95054" x2="21142" y2="95054"/>
                        <a14:foregroundMark x1="18605" y1="93118" x2="18605" y2="93118"/>
                        <a14:foregroundMark x1="18605" y1="94409" x2="18605" y2="94409"/>
                        <a14:foregroundMark x1="9725" y1="93978" x2="23044" y2="93548"/>
                        <a14:foregroundMark x1="23044" y1="93548" x2="23044" y2="93548"/>
                        <a14:foregroundMark x1="22410" y1="93118" x2="58985" y2="92043"/>
                        <a14:foregroundMark x1="58985" y1="92043" x2="61734" y2="93548"/>
                        <a14:foregroundMark x1="31078" y1="91613" x2="31078" y2="91613"/>
                        <a14:foregroundMark x1="31078" y1="90968" x2="31078" y2="90968"/>
                        <a14:foregroundMark x1="27484" y1="91183" x2="27484" y2="91183"/>
                        <a14:foregroundMark x1="30867" y1="94839" x2="31501" y2="94839"/>
                        <a14:foregroundMark x1="35307" y1="94839" x2="35307" y2="94839"/>
                        <a14:foregroundMark x1="33404" y1="95054" x2="33404" y2="95054"/>
                        <a14:foregroundMark x1="37209" y1="94839" x2="37209" y2="94839"/>
                        <a14:foregroundMark x1="52643" y1="94624" x2="52643" y2="94624"/>
                        <a14:foregroundMark x1="54757" y1="94409" x2="54757" y2="94409"/>
                        <a14:foregroundMark x1="61099" y1="95269" x2="61099" y2="95269"/>
                        <a14:foregroundMark x1="8668" y1="95699" x2="8668" y2="95699"/>
                        <a14:foregroundMark x1="8879" y1="94624" x2="9091" y2="94624"/>
                        <a14:foregroundMark x1="7400" y1="90538" x2="17970" y2="96774"/>
                        <a14:foregroundMark x1="17970" y1="96774" x2="32135" y2="95054"/>
                        <a14:foregroundMark x1="32135" y1="95054" x2="50740" y2="95269"/>
                        <a14:foregroundMark x1="50740" y1="95269" x2="62579" y2="93978"/>
                        <a14:foregroundMark x1="62579" y1="93978" x2="10148" y2="91398"/>
                        <a14:foregroundMark x1="10148" y1="91398" x2="9091" y2="90968"/>
                        <a14:foregroundMark x1="93869" y1="95269" x2="66596" y2="96129"/>
                        <a14:foregroundMark x1="66596" y1="96129" x2="82241" y2="90108"/>
                        <a14:foregroundMark x1="82241" y1="90108" x2="92600" y2="94194"/>
                        <a14:foregroundMark x1="92600" y1="94194" x2="92389" y2="95269"/>
                        <a14:foregroundMark x1="94292" y1="95484" x2="81607" y2="90323"/>
                        <a14:foregroundMark x1="81607" y1="90323" x2="69556" y2="90538"/>
                        <a14:foregroundMark x1="69556" y1="90538" x2="79070" y2="95699"/>
                        <a14:foregroundMark x1="79070" y1="95699" x2="94080" y2="95484"/>
                      </a14:backgroundRemoval>
                    </a14:imgEffect>
                  </a14:imgLayer>
                </a14:imgProps>
              </a:ext>
              <a:ext uri="{28A0092B-C50C-407E-A947-70E740481C1C}">
                <a14:useLocalDpi xmlns:a14="http://schemas.microsoft.com/office/drawing/2010/main"/>
              </a:ext>
            </a:extLst>
          </a:blip>
          <a:stretch>
            <a:fillRect/>
          </a:stretch>
        </p:blipFill>
        <p:spPr>
          <a:xfrm>
            <a:off x="5712602" y="4619830"/>
            <a:ext cx="340208" cy="333951"/>
          </a:xfrm>
          <a:prstGeom prst="rect">
            <a:avLst/>
          </a:prstGeom>
        </p:spPr>
      </p:pic>
      <p:sp>
        <p:nvSpPr>
          <p:cNvPr id="132" name="四角形: 角を丸くする 131">
            <a:extLst>
              <a:ext uri="{FF2B5EF4-FFF2-40B4-BE49-F238E27FC236}">
                <a16:creationId xmlns:a16="http://schemas.microsoft.com/office/drawing/2014/main" id="{00F9E139-E2E6-4889-A3C1-858EB4B422AB}"/>
              </a:ext>
            </a:extLst>
          </p:cNvPr>
          <p:cNvSpPr/>
          <p:nvPr/>
        </p:nvSpPr>
        <p:spPr>
          <a:xfrm>
            <a:off x="474883" y="4825626"/>
            <a:ext cx="972906" cy="165309"/>
          </a:xfrm>
          <a:prstGeom prst="roundRect">
            <a:avLst>
              <a:gd name="adj" fmla="val 50000"/>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ja-JP" altLang="en-US" sz="700" b="1" dirty="0">
                <a:latin typeface="Meiryo UI" panose="020B0604030504040204" pitchFamily="50" charset="-128"/>
                <a:ea typeface="Meiryo UI" panose="020B0604030504040204" pitchFamily="50" charset="-128"/>
              </a:rPr>
              <a:t>経済界</a:t>
            </a:r>
            <a:endParaRPr kumimoji="1" lang="ja-JP" altLang="en-US" sz="700" b="1" dirty="0">
              <a:latin typeface="Meiryo UI" panose="020B0604030504040204" pitchFamily="50" charset="-128"/>
              <a:ea typeface="Meiryo UI" panose="020B0604030504040204" pitchFamily="50" charset="-128"/>
            </a:endParaRPr>
          </a:p>
        </p:txBody>
      </p:sp>
      <p:pic>
        <p:nvPicPr>
          <p:cNvPr id="133" name="図 132">
            <a:extLst>
              <a:ext uri="{FF2B5EF4-FFF2-40B4-BE49-F238E27FC236}">
                <a16:creationId xmlns:a16="http://schemas.microsoft.com/office/drawing/2014/main" id="{25BCD4DA-AA56-4246-A1E5-A5575E4BC70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03320" y="5066374"/>
            <a:ext cx="608901" cy="131827"/>
          </a:xfrm>
          <a:prstGeom prst="rect">
            <a:avLst/>
          </a:prstGeom>
        </p:spPr>
      </p:pic>
      <p:pic>
        <p:nvPicPr>
          <p:cNvPr id="134" name="図 133">
            <a:extLst>
              <a:ext uri="{FF2B5EF4-FFF2-40B4-BE49-F238E27FC236}">
                <a16:creationId xmlns:a16="http://schemas.microsoft.com/office/drawing/2014/main" id="{D3E2ECAD-B926-48F8-9570-D1E0BF338DE8}"/>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58359" y="5066762"/>
            <a:ext cx="597498" cy="115049"/>
          </a:xfrm>
          <a:prstGeom prst="rect">
            <a:avLst/>
          </a:prstGeom>
        </p:spPr>
      </p:pic>
      <p:pic>
        <p:nvPicPr>
          <p:cNvPr id="135" name="図 134">
            <a:extLst>
              <a:ext uri="{FF2B5EF4-FFF2-40B4-BE49-F238E27FC236}">
                <a16:creationId xmlns:a16="http://schemas.microsoft.com/office/drawing/2014/main" id="{5F28521C-CE8A-446E-A912-4CF3BB194F1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79453" y="5237575"/>
            <a:ext cx="496102" cy="118029"/>
          </a:xfrm>
          <a:prstGeom prst="rect">
            <a:avLst/>
          </a:prstGeom>
        </p:spPr>
      </p:pic>
      <p:pic>
        <p:nvPicPr>
          <p:cNvPr id="136" name="図 135">
            <a:extLst>
              <a:ext uri="{FF2B5EF4-FFF2-40B4-BE49-F238E27FC236}">
                <a16:creationId xmlns:a16="http://schemas.microsoft.com/office/drawing/2014/main" id="{2687A254-3545-4829-B1AA-51FE44E7FF62}"/>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973" y="5205997"/>
            <a:ext cx="597885" cy="117360"/>
          </a:xfrm>
          <a:prstGeom prst="rect">
            <a:avLst/>
          </a:prstGeom>
        </p:spPr>
      </p:pic>
      <p:pic>
        <p:nvPicPr>
          <p:cNvPr id="137" name="図 136">
            <a:extLst>
              <a:ext uri="{FF2B5EF4-FFF2-40B4-BE49-F238E27FC236}">
                <a16:creationId xmlns:a16="http://schemas.microsoft.com/office/drawing/2014/main" id="{862FF6D5-08FD-4260-AAAD-3D39B33EB04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34698" y="5353276"/>
            <a:ext cx="630777" cy="138987"/>
          </a:xfrm>
          <a:prstGeom prst="rect">
            <a:avLst/>
          </a:prstGeom>
        </p:spPr>
      </p:pic>
      <p:pic>
        <p:nvPicPr>
          <p:cNvPr id="138" name="図 137">
            <a:extLst>
              <a:ext uri="{FF2B5EF4-FFF2-40B4-BE49-F238E27FC236}">
                <a16:creationId xmlns:a16="http://schemas.microsoft.com/office/drawing/2014/main" id="{41DC8C79-3F34-4B1D-816E-0A1CED2D95EA}"/>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21054" y="5405467"/>
            <a:ext cx="584072" cy="129705"/>
          </a:xfrm>
          <a:prstGeom prst="rect">
            <a:avLst/>
          </a:prstGeom>
        </p:spPr>
      </p:pic>
      <p:pic>
        <p:nvPicPr>
          <p:cNvPr id="139" name="図 138">
            <a:extLst>
              <a:ext uri="{FF2B5EF4-FFF2-40B4-BE49-F238E27FC236}">
                <a16:creationId xmlns:a16="http://schemas.microsoft.com/office/drawing/2014/main" id="{9BB280CD-D068-4EFD-9D68-A02EFCBA32C3}"/>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36886" y="4355036"/>
            <a:ext cx="838706" cy="130738"/>
          </a:xfrm>
          <a:prstGeom prst="rect">
            <a:avLst/>
          </a:prstGeom>
        </p:spPr>
      </p:pic>
      <p:pic>
        <p:nvPicPr>
          <p:cNvPr id="140" name="図 139">
            <a:extLst>
              <a:ext uri="{FF2B5EF4-FFF2-40B4-BE49-F238E27FC236}">
                <a16:creationId xmlns:a16="http://schemas.microsoft.com/office/drawing/2014/main" id="{1311DB6D-5DC1-49E4-9742-A382F662EB32}"/>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20409" y="4348380"/>
            <a:ext cx="359720" cy="301332"/>
          </a:xfrm>
          <a:prstGeom prst="rect">
            <a:avLst/>
          </a:prstGeom>
        </p:spPr>
      </p:pic>
      <p:pic>
        <p:nvPicPr>
          <p:cNvPr id="141" name="図 140">
            <a:extLst>
              <a:ext uri="{FF2B5EF4-FFF2-40B4-BE49-F238E27FC236}">
                <a16:creationId xmlns:a16="http://schemas.microsoft.com/office/drawing/2014/main" id="{5649571F-D87A-42DE-BAB6-0EE45CD3A25B}"/>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719602" y="4480790"/>
            <a:ext cx="334668" cy="208394"/>
          </a:xfrm>
          <a:prstGeom prst="rect">
            <a:avLst/>
          </a:prstGeom>
        </p:spPr>
      </p:pic>
      <p:grpSp>
        <p:nvGrpSpPr>
          <p:cNvPr id="142" name="グループ化 141">
            <a:extLst>
              <a:ext uri="{FF2B5EF4-FFF2-40B4-BE49-F238E27FC236}">
                <a16:creationId xmlns:a16="http://schemas.microsoft.com/office/drawing/2014/main" id="{71E19863-136F-49E7-BC95-5DA56AC7624F}"/>
              </a:ext>
            </a:extLst>
          </p:cNvPr>
          <p:cNvGrpSpPr/>
          <p:nvPr/>
        </p:nvGrpSpPr>
        <p:grpSpPr>
          <a:xfrm>
            <a:off x="175127" y="5595736"/>
            <a:ext cx="1482853" cy="748705"/>
            <a:chOff x="6039144" y="2912436"/>
            <a:chExt cx="1631138" cy="783603"/>
          </a:xfrm>
        </p:grpSpPr>
        <p:grpSp>
          <p:nvGrpSpPr>
            <p:cNvPr id="143" name="グループ化 142">
              <a:extLst>
                <a:ext uri="{FF2B5EF4-FFF2-40B4-BE49-F238E27FC236}">
                  <a16:creationId xmlns:a16="http://schemas.microsoft.com/office/drawing/2014/main" id="{75C3C8A0-7AE8-4972-852B-D1178015B6EA}"/>
                </a:ext>
              </a:extLst>
            </p:cNvPr>
            <p:cNvGrpSpPr/>
            <p:nvPr/>
          </p:nvGrpSpPr>
          <p:grpSpPr>
            <a:xfrm>
              <a:off x="6039144" y="2912436"/>
              <a:ext cx="1390728" cy="536257"/>
              <a:chOff x="5121260" y="3742140"/>
              <a:chExt cx="1390728" cy="536257"/>
            </a:xfrm>
          </p:grpSpPr>
          <p:grpSp>
            <p:nvGrpSpPr>
              <p:cNvPr id="149" name="グループ化 148">
                <a:extLst>
                  <a:ext uri="{FF2B5EF4-FFF2-40B4-BE49-F238E27FC236}">
                    <a16:creationId xmlns:a16="http://schemas.microsoft.com/office/drawing/2014/main" id="{D56EB502-0C43-4E56-81E2-88B903DF9A34}"/>
                  </a:ext>
                </a:extLst>
              </p:cNvPr>
              <p:cNvGrpSpPr/>
              <p:nvPr/>
            </p:nvGrpSpPr>
            <p:grpSpPr>
              <a:xfrm>
                <a:off x="5121260" y="3742140"/>
                <a:ext cx="1390728" cy="466617"/>
                <a:chOff x="5778637" y="3847985"/>
                <a:chExt cx="1390728" cy="466617"/>
              </a:xfrm>
            </p:grpSpPr>
            <p:sp>
              <p:nvSpPr>
                <p:cNvPr id="151" name="四角形: 角を丸くする 150">
                  <a:extLst>
                    <a:ext uri="{FF2B5EF4-FFF2-40B4-BE49-F238E27FC236}">
                      <a16:creationId xmlns:a16="http://schemas.microsoft.com/office/drawing/2014/main" id="{F0E55077-154C-4BED-9F4C-39513BEB494A}"/>
                    </a:ext>
                  </a:extLst>
                </p:cNvPr>
                <p:cNvSpPr/>
                <p:nvPr/>
              </p:nvSpPr>
              <p:spPr>
                <a:xfrm>
                  <a:off x="6099167" y="3847985"/>
                  <a:ext cx="1070198" cy="173014"/>
                </a:xfrm>
                <a:prstGeom prst="roundRect">
                  <a:avLst>
                    <a:gd name="adj" fmla="val 50000"/>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altLang="ja-JP" sz="700" b="1" dirty="0">
                      <a:latin typeface="Meiryo UI" panose="020B0604030504040204" pitchFamily="50" charset="-128"/>
                      <a:ea typeface="Meiryo UI" panose="020B0604030504040204" pitchFamily="50" charset="-128"/>
                    </a:rPr>
                    <a:t>SU</a:t>
                  </a:r>
                  <a:r>
                    <a:rPr lang="ja-JP" altLang="en-US" sz="700" b="1" dirty="0">
                      <a:latin typeface="Meiryo UI" panose="020B0604030504040204" pitchFamily="50" charset="-128"/>
                      <a:ea typeface="Meiryo UI" panose="020B0604030504040204" pitchFamily="50" charset="-128"/>
                    </a:rPr>
                    <a:t>コミュニティ</a:t>
                  </a:r>
                  <a:endParaRPr kumimoji="1" lang="ja-JP" altLang="en-US" sz="700" b="1" dirty="0">
                    <a:latin typeface="Meiryo UI" panose="020B0604030504040204" pitchFamily="50" charset="-128"/>
                    <a:ea typeface="Meiryo UI" panose="020B0604030504040204" pitchFamily="50" charset="-128"/>
                  </a:endParaRPr>
                </a:p>
              </p:txBody>
            </p:sp>
            <p:pic>
              <p:nvPicPr>
                <p:cNvPr id="152" name="図 151">
                  <a:extLst>
                    <a:ext uri="{FF2B5EF4-FFF2-40B4-BE49-F238E27FC236}">
                      <a16:creationId xmlns:a16="http://schemas.microsoft.com/office/drawing/2014/main" id="{6A282C0C-71BE-4078-8334-7C5764BE87EF}"/>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5778637" y="4107589"/>
                  <a:ext cx="490823" cy="207013"/>
                </a:xfrm>
                <a:prstGeom prst="rect">
                  <a:avLst/>
                </a:prstGeom>
              </p:spPr>
            </p:pic>
            <p:pic>
              <p:nvPicPr>
                <p:cNvPr id="153" name="図 152">
                  <a:extLst>
                    <a:ext uri="{FF2B5EF4-FFF2-40B4-BE49-F238E27FC236}">
                      <a16:creationId xmlns:a16="http://schemas.microsoft.com/office/drawing/2014/main" id="{7E21FA51-5F00-465B-8E07-486171043DCB}"/>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6338278" y="4124837"/>
                  <a:ext cx="382601" cy="163972"/>
                </a:xfrm>
                <a:prstGeom prst="rect">
                  <a:avLst/>
                </a:prstGeom>
              </p:spPr>
            </p:pic>
          </p:grpSp>
          <p:pic>
            <p:nvPicPr>
              <p:cNvPr id="150" name="図 149">
                <a:extLst>
                  <a:ext uri="{FF2B5EF4-FFF2-40B4-BE49-F238E27FC236}">
                    <a16:creationId xmlns:a16="http://schemas.microsoft.com/office/drawing/2014/main" id="{B57414B5-98EC-40BD-8B80-CCC8C0AAD526}"/>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6115184" y="3999629"/>
                <a:ext cx="223940" cy="278768"/>
              </a:xfrm>
              <a:prstGeom prst="rect">
                <a:avLst/>
              </a:prstGeom>
            </p:spPr>
          </p:pic>
        </p:grpSp>
        <p:pic>
          <p:nvPicPr>
            <p:cNvPr id="144" name="図 143">
              <a:extLst>
                <a:ext uri="{FF2B5EF4-FFF2-40B4-BE49-F238E27FC236}">
                  <a16:creationId xmlns:a16="http://schemas.microsoft.com/office/drawing/2014/main" id="{E518A798-800E-4F49-9942-71FFC7A5CC9A}"/>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054647" y="3396529"/>
              <a:ext cx="694601" cy="111905"/>
            </a:xfrm>
            <a:prstGeom prst="rect">
              <a:avLst/>
            </a:prstGeom>
          </p:spPr>
        </p:pic>
        <p:pic>
          <p:nvPicPr>
            <p:cNvPr id="145" name="図 144">
              <a:extLst>
                <a:ext uri="{FF2B5EF4-FFF2-40B4-BE49-F238E27FC236}">
                  <a16:creationId xmlns:a16="http://schemas.microsoft.com/office/drawing/2014/main" id="{5B3FB16E-C535-4E73-86E1-AF53C1545291}"/>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7402830" y="3399662"/>
              <a:ext cx="248350" cy="231793"/>
            </a:xfrm>
            <a:prstGeom prst="rect">
              <a:avLst/>
            </a:prstGeom>
          </p:spPr>
        </p:pic>
        <p:pic>
          <p:nvPicPr>
            <p:cNvPr id="146" name="図 145">
              <a:extLst>
                <a:ext uri="{FF2B5EF4-FFF2-40B4-BE49-F238E27FC236}">
                  <a16:creationId xmlns:a16="http://schemas.microsoft.com/office/drawing/2014/main" id="{AF74AC7C-E54E-4874-A646-68A9F2E45AA0}"/>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6072100" y="3547866"/>
              <a:ext cx="367281" cy="118380"/>
            </a:xfrm>
            <a:prstGeom prst="rect">
              <a:avLst/>
            </a:prstGeom>
          </p:spPr>
        </p:pic>
        <p:pic>
          <p:nvPicPr>
            <p:cNvPr id="147" name="図 146">
              <a:extLst>
                <a:ext uri="{FF2B5EF4-FFF2-40B4-BE49-F238E27FC236}">
                  <a16:creationId xmlns:a16="http://schemas.microsoft.com/office/drawing/2014/main" id="{3BFB56B6-DC27-42C9-81E1-B22B34F1A635}"/>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6845845" y="3500118"/>
              <a:ext cx="480142" cy="195921"/>
            </a:xfrm>
            <a:prstGeom prst="rect">
              <a:avLst/>
            </a:prstGeom>
          </p:spPr>
        </p:pic>
        <p:pic>
          <p:nvPicPr>
            <p:cNvPr id="148" name="図 147">
              <a:extLst>
                <a:ext uri="{FF2B5EF4-FFF2-40B4-BE49-F238E27FC236}">
                  <a16:creationId xmlns:a16="http://schemas.microsoft.com/office/drawing/2014/main" id="{995A0341-91C1-42A1-91E4-94FDF867834B}"/>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7319079" y="3200192"/>
              <a:ext cx="351203" cy="117905"/>
            </a:xfrm>
            <a:prstGeom prst="rect">
              <a:avLst/>
            </a:prstGeom>
          </p:spPr>
        </p:pic>
      </p:grpSp>
      <p:sp>
        <p:nvSpPr>
          <p:cNvPr id="155" name="四角形: 角を丸くする 154">
            <a:extLst>
              <a:ext uri="{FF2B5EF4-FFF2-40B4-BE49-F238E27FC236}">
                <a16:creationId xmlns:a16="http://schemas.microsoft.com/office/drawing/2014/main" id="{7EE29D6F-C925-4AD4-9BA4-AE8760F8C79B}"/>
              </a:ext>
            </a:extLst>
          </p:cNvPr>
          <p:cNvSpPr/>
          <p:nvPr/>
        </p:nvSpPr>
        <p:spPr>
          <a:xfrm>
            <a:off x="472914" y="6379459"/>
            <a:ext cx="974875" cy="177668"/>
          </a:xfrm>
          <a:prstGeom prst="roundRect">
            <a:avLst>
              <a:gd name="adj" fmla="val 50000"/>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700" b="1" dirty="0">
                <a:latin typeface="Meiryo UI" panose="020B0604030504040204" pitchFamily="50" charset="-128"/>
                <a:ea typeface="Meiryo UI" panose="020B0604030504040204" pitchFamily="50" charset="-128"/>
              </a:rPr>
              <a:t>国際イベント</a:t>
            </a:r>
          </a:p>
        </p:txBody>
      </p:sp>
      <p:pic>
        <p:nvPicPr>
          <p:cNvPr id="156" name="図 155">
            <a:extLst>
              <a:ext uri="{FF2B5EF4-FFF2-40B4-BE49-F238E27FC236}">
                <a16:creationId xmlns:a16="http://schemas.microsoft.com/office/drawing/2014/main" id="{A8AAFC96-85E8-4258-BBE9-A069170EBCFA}"/>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425808" y="6564822"/>
            <a:ext cx="236490" cy="218006"/>
          </a:xfrm>
          <a:prstGeom prst="rect">
            <a:avLst/>
          </a:prstGeom>
        </p:spPr>
      </p:pic>
      <p:pic>
        <p:nvPicPr>
          <p:cNvPr id="157" name="図 156">
            <a:extLst>
              <a:ext uri="{FF2B5EF4-FFF2-40B4-BE49-F238E27FC236}">
                <a16:creationId xmlns:a16="http://schemas.microsoft.com/office/drawing/2014/main" id="{A8DB9460-0114-40D8-B512-4B1451CCB242}"/>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672550" y="6634706"/>
            <a:ext cx="507935" cy="98054"/>
          </a:xfrm>
          <a:prstGeom prst="rect">
            <a:avLst/>
          </a:prstGeom>
        </p:spPr>
      </p:pic>
      <p:pic>
        <p:nvPicPr>
          <p:cNvPr id="158" name="図 157">
            <a:extLst>
              <a:ext uri="{FF2B5EF4-FFF2-40B4-BE49-F238E27FC236}">
                <a16:creationId xmlns:a16="http://schemas.microsoft.com/office/drawing/2014/main" id="{69393CA1-F0E8-4250-8F72-54F55041BA16}"/>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162300" y="6590369"/>
            <a:ext cx="239796" cy="162701"/>
          </a:xfrm>
          <a:prstGeom prst="rect">
            <a:avLst/>
          </a:prstGeom>
        </p:spPr>
      </p:pic>
      <p:pic>
        <p:nvPicPr>
          <p:cNvPr id="159" name="図 158">
            <a:extLst>
              <a:ext uri="{FF2B5EF4-FFF2-40B4-BE49-F238E27FC236}">
                <a16:creationId xmlns:a16="http://schemas.microsoft.com/office/drawing/2014/main" id="{72C3EDA6-8815-4A62-A22E-EFEC96074454}"/>
              </a:ext>
            </a:extLst>
          </p:cNvPr>
          <p:cNvPicPr>
            <a:picLocks noChangeAspect="1"/>
          </p:cNvPicPr>
          <p:nvPr/>
        </p:nvPicPr>
        <p:blipFill>
          <a:blip r:embed="rId34" cstate="email">
            <a:extLst>
              <a:ext uri="{BEBA8EAE-BF5A-486C-A8C5-ECC9F3942E4B}">
                <a14:imgProps xmlns:a14="http://schemas.microsoft.com/office/drawing/2010/main">
                  <a14:imgLayer r:embed="rId35">
                    <a14:imgEffect>
                      <a14:backgroundRemoval t="8621" b="91954" l="1836" r="98164">
                        <a14:foregroundMark x1="8347" y1="22414" x2="8347" y2="22414"/>
                        <a14:foregroundMark x1="4341" y1="24138" x2="4341" y2="24138"/>
                        <a14:foregroundMark x1="2170" y1="41954" x2="5843" y2="18391"/>
                        <a14:foregroundMark x1="5843" y1="18391" x2="10851" y2="41954"/>
                        <a14:foregroundMark x1="10851" y1="41954" x2="10184" y2="42529"/>
                        <a14:foregroundMark x1="19699" y1="48851" x2="19699" y2="13793"/>
                        <a14:foregroundMark x1="19699" y1="13793" x2="26043" y2="28736"/>
                        <a14:foregroundMark x1="26043" y1="28736" x2="29048" y2="10345"/>
                        <a14:foregroundMark x1="46411" y1="10920" x2="38063" y2="23563"/>
                        <a14:foregroundMark x1="38063" y1="23563" x2="43239" y2="47126"/>
                        <a14:foregroundMark x1="43239" y1="47126" x2="45409" y2="44828"/>
                        <a14:foregroundMark x1="54424" y1="8621" x2="54257" y2="47126"/>
                        <a14:foregroundMark x1="70117" y1="21839" x2="78965" y2="20115"/>
                        <a14:foregroundMark x1="78965" y1="20115" x2="79299" y2="48851"/>
                        <a14:foregroundMark x1="79299" y1="48851" x2="71452" y2="37931"/>
                        <a14:foregroundMark x1="71452" y1="37931" x2="70451" y2="21264"/>
                        <a14:foregroundMark x1="88314" y1="49425" x2="92654" y2="16667"/>
                        <a14:foregroundMark x1="92654" y1="16667" x2="98164" y2="45977"/>
                        <a14:foregroundMark x1="24541" y1="91954" x2="24541" y2="91954"/>
                        <a14:foregroundMark x1="40735" y1="89080" x2="41068" y2="89080"/>
                        <a14:foregroundMark x1="58431" y1="90805" x2="58431" y2="90805"/>
                        <a14:foregroundMark x1="74124" y1="90230" x2="74124" y2="90230"/>
                      </a14:backgroundRemoval>
                    </a14:imgEffect>
                  </a14:imgLayer>
                </a14:imgProps>
              </a:ext>
              <a:ext uri="{28A0092B-C50C-407E-A947-70E740481C1C}">
                <a14:useLocalDpi xmlns:a14="http://schemas.microsoft.com/office/drawing/2010/main"/>
              </a:ext>
            </a:extLst>
          </a:blip>
          <a:stretch>
            <a:fillRect/>
          </a:stretch>
        </p:blipFill>
        <p:spPr>
          <a:xfrm>
            <a:off x="1075103" y="4502635"/>
            <a:ext cx="485369" cy="148184"/>
          </a:xfrm>
          <a:prstGeom prst="rect">
            <a:avLst/>
          </a:prstGeom>
        </p:spPr>
      </p:pic>
      <p:pic>
        <p:nvPicPr>
          <p:cNvPr id="160" name="図 159">
            <a:extLst>
              <a:ext uri="{FF2B5EF4-FFF2-40B4-BE49-F238E27FC236}">
                <a16:creationId xmlns:a16="http://schemas.microsoft.com/office/drawing/2014/main" id="{91C72425-3F94-4A06-B611-B3B59AFDFE31}"/>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1142411" y="4586736"/>
            <a:ext cx="391339" cy="108237"/>
          </a:xfrm>
          <a:prstGeom prst="rect">
            <a:avLst/>
          </a:prstGeom>
        </p:spPr>
      </p:pic>
      <p:sp>
        <p:nvSpPr>
          <p:cNvPr id="161" name="テキスト ボックス 160">
            <a:extLst>
              <a:ext uri="{FF2B5EF4-FFF2-40B4-BE49-F238E27FC236}">
                <a16:creationId xmlns:a16="http://schemas.microsoft.com/office/drawing/2014/main" id="{7EF36115-3D51-43E0-A399-7DE1066E572F}"/>
              </a:ext>
            </a:extLst>
          </p:cNvPr>
          <p:cNvSpPr txBox="1"/>
          <p:nvPr/>
        </p:nvSpPr>
        <p:spPr>
          <a:xfrm>
            <a:off x="6403014" y="3445399"/>
            <a:ext cx="3281056" cy="1754326"/>
          </a:xfrm>
          <a:prstGeom prst="rect">
            <a:avLst/>
          </a:prstGeom>
          <a:noFill/>
        </p:spPr>
        <p:txBody>
          <a:bodyPr wrap="square">
            <a:spAutoFit/>
          </a:bodyPr>
          <a:lstStyle/>
          <a:p>
            <a:r>
              <a:rPr lang="ja-JP" altLang="en-US" sz="900" dirty="0"/>
              <a:t>・</a:t>
            </a:r>
            <a:r>
              <a:rPr lang="en-US" altLang="ja-JP" sz="900" dirty="0"/>
              <a:t>500</a:t>
            </a:r>
            <a:r>
              <a:rPr lang="ja-JP" altLang="en-US" sz="900" dirty="0"/>
              <a:t>、</a:t>
            </a:r>
            <a:r>
              <a:rPr lang="en-US" altLang="ja-JP" sz="900" dirty="0" err="1"/>
              <a:t>Plug&amp;Play</a:t>
            </a:r>
            <a:r>
              <a:rPr lang="ja-JP" altLang="en-US" sz="900" dirty="0"/>
              <a:t>、</a:t>
            </a:r>
            <a:r>
              <a:rPr lang="en-US" altLang="ja-JP" sz="900" dirty="0"/>
              <a:t>Rainmaking Innovation</a:t>
            </a:r>
            <a:r>
              <a:rPr lang="ja-JP" altLang="en-US" sz="900" dirty="0"/>
              <a:t>、</a:t>
            </a:r>
            <a:endParaRPr lang="en-US" altLang="ja-JP" sz="900" dirty="0"/>
          </a:p>
          <a:p>
            <a:r>
              <a:rPr lang="en-US" altLang="ja-JP" sz="900" dirty="0" err="1"/>
              <a:t>MedTechActuator</a:t>
            </a:r>
            <a:r>
              <a:rPr lang="ja-JP" altLang="en-US" sz="900" dirty="0"/>
              <a:t>、</a:t>
            </a:r>
            <a:r>
              <a:rPr lang="en-US" altLang="ja-JP" sz="900" dirty="0"/>
              <a:t>Antler Ibex</a:t>
            </a:r>
            <a:r>
              <a:rPr lang="ja-JP" altLang="en-US" sz="900" dirty="0"/>
              <a:t>、</a:t>
            </a:r>
            <a:r>
              <a:rPr lang="en-US" altLang="ja-JP" sz="900" dirty="0"/>
              <a:t>Berkeley </a:t>
            </a:r>
          </a:p>
          <a:p>
            <a:r>
              <a:rPr lang="en-US" altLang="ja-JP" sz="900" dirty="0" err="1"/>
              <a:t>SkyDeck</a:t>
            </a:r>
            <a:r>
              <a:rPr lang="ja-JP" altLang="en-US" sz="900" dirty="0"/>
              <a:t>、</a:t>
            </a:r>
            <a:r>
              <a:rPr lang="en-US" altLang="ja-JP" sz="900" dirty="0" err="1"/>
              <a:t>BioLabs</a:t>
            </a:r>
            <a:r>
              <a:rPr lang="ja-JP" altLang="en-US" sz="900" dirty="0"/>
              <a:t>、</a:t>
            </a:r>
            <a:r>
              <a:rPr lang="en-US" altLang="ja-JP" sz="900" dirty="0"/>
              <a:t>Counter Part VC</a:t>
            </a:r>
            <a:r>
              <a:rPr lang="ja-JP" altLang="en-US" sz="900" dirty="0"/>
              <a:t>等</a:t>
            </a:r>
            <a:endParaRPr lang="en-US" altLang="ja-JP" sz="900" dirty="0"/>
          </a:p>
          <a:p>
            <a:r>
              <a:rPr lang="ja-JP" altLang="en-US" sz="900" dirty="0"/>
              <a:t>海外アクセラレーター、</a:t>
            </a:r>
            <a:r>
              <a:rPr lang="en-US" altLang="ja-JP" sz="900" dirty="0"/>
              <a:t>VC</a:t>
            </a:r>
            <a:r>
              <a:rPr lang="ja-JP" altLang="en-US" sz="900" dirty="0"/>
              <a:t>の活動招致による支援</a:t>
            </a:r>
            <a:endParaRPr lang="en-US" altLang="ja-JP" sz="900" dirty="0"/>
          </a:p>
          <a:p>
            <a:endParaRPr lang="en-US" altLang="ja-JP" sz="300" dirty="0"/>
          </a:p>
          <a:p>
            <a:r>
              <a:rPr lang="ja-JP" altLang="en-US" sz="900" dirty="0"/>
              <a:t>・</a:t>
            </a:r>
            <a:r>
              <a:rPr lang="en-US" altLang="ja-JP" sz="900" dirty="0"/>
              <a:t> OIH GET IN THE RING</a:t>
            </a:r>
            <a:r>
              <a:rPr lang="ja-JP" altLang="en-US" sz="900" dirty="0"/>
              <a:t>、けいはんな</a:t>
            </a:r>
            <a:r>
              <a:rPr lang="en-US" altLang="ja-JP" sz="900" dirty="0"/>
              <a:t>KGAP</a:t>
            </a:r>
            <a:r>
              <a:rPr lang="ja-JP" altLang="en-US" sz="900" dirty="0"/>
              <a:t>、京都リサーチパーク</a:t>
            </a:r>
            <a:r>
              <a:rPr lang="en-US" altLang="ja-JP" sz="900" dirty="0"/>
              <a:t>HVC Kyoto</a:t>
            </a:r>
            <a:r>
              <a:rPr lang="ja-JP" altLang="en-US" sz="900" dirty="0"/>
              <a:t>、神戸医療産業都市</a:t>
            </a:r>
            <a:r>
              <a:rPr lang="en-US" altLang="ja-JP" sz="900" dirty="0"/>
              <a:t>KLSAP</a:t>
            </a:r>
            <a:r>
              <a:rPr lang="ja-JP" altLang="en-US" sz="900" dirty="0"/>
              <a:t>、兵庫・神戸</a:t>
            </a:r>
            <a:r>
              <a:rPr lang="en-US" altLang="ja-JP" sz="900" dirty="0"/>
              <a:t>SDGs CHALLENGE</a:t>
            </a:r>
            <a:r>
              <a:rPr lang="ja-JP" altLang="en-US" sz="900" dirty="0"/>
              <a:t>等地域独自の海外進出プログラム、グローバルピッチイベントの開催</a:t>
            </a:r>
            <a:endParaRPr lang="en-US" altLang="ja-JP" sz="900" dirty="0"/>
          </a:p>
          <a:p>
            <a:endParaRPr lang="en-US" altLang="ja-JP" sz="300" dirty="0"/>
          </a:p>
          <a:p>
            <a:r>
              <a:rPr lang="ja-JP" altLang="en-US" sz="900" dirty="0"/>
              <a:t>・</a:t>
            </a:r>
            <a:r>
              <a:rPr lang="en-US" altLang="ja-JP" sz="900" dirty="0"/>
              <a:t>KSAC</a:t>
            </a:r>
            <a:r>
              <a:rPr lang="ja-JP" altLang="en-US" sz="900" dirty="0"/>
              <a:t>はじめ各機関による海外拠点の開設、海外機関とのネットワーク構築及び</a:t>
            </a:r>
            <a:r>
              <a:rPr lang="en-US" altLang="ja-JP" sz="900" dirty="0"/>
              <a:t>Deep Tech Frontier Kansai</a:t>
            </a:r>
            <a:r>
              <a:rPr lang="ja-JP" altLang="en-US" sz="900" dirty="0"/>
              <a:t>による情報発信支援</a:t>
            </a:r>
            <a:endParaRPr lang="en-US" altLang="ja-JP" sz="900" dirty="0"/>
          </a:p>
        </p:txBody>
      </p:sp>
      <p:pic>
        <p:nvPicPr>
          <p:cNvPr id="162" name="図 161">
            <a:extLst>
              <a:ext uri="{FF2B5EF4-FFF2-40B4-BE49-F238E27FC236}">
                <a16:creationId xmlns:a16="http://schemas.microsoft.com/office/drawing/2014/main" id="{EE8BA311-20CF-45DC-B776-3C576D67588D}"/>
              </a:ext>
            </a:extLst>
          </p:cNvPr>
          <p:cNvPicPr>
            <a:picLocks noChangeAspect="1"/>
          </p:cNvPicPr>
          <p:nvPr/>
        </p:nvPicPr>
        <p:blipFill>
          <a:blip r:embed="rId37" cstate="email">
            <a:extLst>
              <a:ext uri="{BEBA8EAE-BF5A-486C-A8C5-ECC9F3942E4B}">
                <a14:imgProps xmlns:a14="http://schemas.microsoft.com/office/drawing/2010/main">
                  <a14:imgLayer r:embed="rId38">
                    <a14:imgEffect>
                      <a14:backgroundRemoval t="7907" b="87907" l="3873" r="93914">
                        <a14:foregroundMark x1="23513" y1="14884" x2="23513" y2="14884"/>
                        <a14:foregroundMark x1="23928" y1="18140" x2="23928" y2="18140"/>
                        <a14:foregroundMark x1="18949" y1="14419" x2="18949" y2="14419"/>
                        <a14:foregroundMark x1="15076" y1="20000" x2="15076" y2="20000"/>
                        <a14:foregroundMark x1="9544" y1="31163" x2="9544" y2="31163"/>
                        <a14:foregroundMark x1="7746" y1="45581" x2="7746" y2="45581"/>
                        <a14:foregroundMark x1="7331" y1="20000" x2="7331" y2="20000"/>
                        <a14:foregroundMark x1="6777" y1="51163" x2="6777" y2="51163"/>
                        <a14:foregroundMark x1="7054" y1="17674" x2="7054" y2="17674"/>
                        <a14:foregroundMark x1="3873" y1="20465" x2="3873" y2="20465"/>
                        <a14:foregroundMark x1="8160" y1="73023" x2="8160" y2="73023"/>
                        <a14:foregroundMark x1="33748" y1="60930" x2="33748" y2="60930"/>
                        <a14:foregroundMark x1="39834" y1="69302" x2="39834" y2="69302"/>
                        <a14:foregroundMark x1="45228" y1="68372" x2="45228" y2="68372"/>
                        <a14:foregroundMark x1="51452" y1="68372" x2="51452" y2="68372"/>
                        <a14:foregroundMark x1="55187" y1="68837" x2="55187" y2="68837"/>
                        <a14:foregroundMark x1="60719" y1="66512" x2="60719" y2="66512"/>
                        <a14:foregroundMark x1="60858" y1="55814" x2="60858" y2="55814"/>
                        <a14:foregroundMark x1="36376" y1="27442" x2="36376" y2="27442"/>
                        <a14:foregroundMark x1="38589" y1="37674" x2="37898" y2="36279"/>
                        <a14:foregroundMark x1="43292" y1="38140" x2="43292" y2="38140"/>
                        <a14:foregroundMark x1="47441" y1="38605" x2="47441" y2="38605"/>
                        <a14:foregroundMark x1="52697" y1="34884" x2="52697" y2="34884"/>
                        <a14:foregroundMark x1="56155" y1="36279" x2="56155" y2="36279"/>
                        <a14:foregroundMark x1="59613" y1="37209" x2="59613" y2="37209"/>
                        <a14:foregroundMark x1="63209" y1="33953" x2="63209" y2="33953"/>
                        <a14:foregroundMark x1="70401" y1="26977" x2="70401" y2="26977"/>
                        <a14:foregroundMark x1="74412" y1="38605" x2="74412" y2="38605"/>
                        <a14:foregroundMark x1="77178" y1="40930" x2="77178" y2="40930"/>
                        <a14:foregroundMark x1="83956" y1="32558" x2="83956" y2="32558"/>
                        <a14:foregroundMark x1="86030" y1="33023" x2="86030" y2="33023"/>
                        <a14:foregroundMark x1="88520" y1="33023" x2="88520" y2="33023"/>
                        <a14:foregroundMark x1="88243" y1="25581" x2="88243" y2="25581"/>
                        <a14:foregroundMark x1="90318" y1="36279" x2="90318" y2="36279"/>
                        <a14:foregroundMark x1="93914" y1="36279" x2="93914" y2="36279"/>
                        <a14:foregroundMark x1="36791" y1="59535" x2="36791" y2="59535"/>
                      </a14:backgroundRemoval>
                    </a14:imgEffect>
                  </a14:imgLayer>
                </a14:imgProps>
              </a:ext>
              <a:ext uri="{28A0092B-C50C-407E-A947-70E740481C1C}">
                <a14:useLocalDpi xmlns:a14="http://schemas.microsoft.com/office/drawing/2010/main"/>
              </a:ext>
            </a:extLst>
          </a:blip>
          <a:stretch>
            <a:fillRect/>
          </a:stretch>
        </p:blipFill>
        <p:spPr>
          <a:xfrm>
            <a:off x="5164050" y="4421340"/>
            <a:ext cx="738177" cy="219514"/>
          </a:xfrm>
          <a:prstGeom prst="rect">
            <a:avLst/>
          </a:prstGeom>
        </p:spPr>
      </p:pic>
      <p:pic>
        <p:nvPicPr>
          <p:cNvPr id="16" name="図 15">
            <a:extLst>
              <a:ext uri="{FF2B5EF4-FFF2-40B4-BE49-F238E27FC236}">
                <a16:creationId xmlns:a16="http://schemas.microsoft.com/office/drawing/2014/main" id="{5CEA3033-24F5-48DF-BC85-07FF76758894}"/>
              </a:ext>
            </a:extLst>
          </p:cNvPr>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1204229" y="6601520"/>
            <a:ext cx="361246" cy="165890"/>
          </a:xfrm>
          <a:prstGeom prst="rect">
            <a:avLst/>
          </a:prstGeom>
        </p:spPr>
      </p:pic>
      <p:sp>
        <p:nvSpPr>
          <p:cNvPr id="4" name="テキスト ボックス 3">
            <a:extLst>
              <a:ext uri="{FF2B5EF4-FFF2-40B4-BE49-F238E27FC236}">
                <a16:creationId xmlns:a16="http://schemas.microsoft.com/office/drawing/2014/main" id="{010CB9F0-DDAC-4CC4-B00B-65474908CC79}"/>
              </a:ext>
            </a:extLst>
          </p:cNvPr>
          <p:cNvSpPr txBox="1"/>
          <p:nvPr/>
        </p:nvSpPr>
        <p:spPr>
          <a:xfrm>
            <a:off x="3357537" y="2273792"/>
            <a:ext cx="1357510" cy="184666"/>
          </a:xfrm>
          <a:prstGeom prst="rect">
            <a:avLst/>
          </a:prstGeom>
          <a:noFill/>
        </p:spPr>
        <p:txBody>
          <a:bodyPr wrap="square" rtlCol="0">
            <a:spAutoFit/>
          </a:bodyPr>
          <a:lstStyle/>
          <a:p>
            <a:r>
              <a:rPr lang="en-US" altLang="ja-JP" sz="600" dirty="0">
                <a:solidFill>
                  <a:prstClr val="black"/>
                </a:solidFill>
                <a:latin typeface="Meiryo UI" panose="020B0604030504040204" pitchFamily="50" charset="-128"/>
                <a:ea typeface="Meiryo UI" panose="020B0604030504040204" pitchFamily="50" charset="-128"/>
              </a:rPr>
              <a:t>※</a:t>
            </a:r>
            <a:r>
              <a:rPr lang="ja-JP" altLang="en-US" sz="600" dirty="0">
                <a:solidFill>
                  <a:prstClr val="black"/>
                </a:solidFill>
                <a:latin typeface="Meiryo UI" panose="020B0604030504040204" pitchFamily="50" charset="-128"/>
                <a:ea typeface="Meiryo UI" panose="020B0604030504040204" pitchFamily="50" charset="-128"/>
              </a:rPr>
              <a:t>実績数値には右記イベントを含む</a:t>
            </a:r>
            <a:endParaRPr kumimoji="1" lang="ja-JP" altLang="en-US" sz="6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98561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81744" y="160143"/>
            <a:ext cx="9505503" cy="307777"/>
          </a:xfrm>
        </p:spPr>
        <p:txBody>
          <a:bodyPr/>
          <a:lstStyle/>
          <a:p>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1. </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全体ビジョン</a:t>
            </a:r>
            <a:endParaRPr kumimoji="1" lang="ja-JP" altLang="en-US" sz="1400" u="sng">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スライド番号プレースホルダー 2"/>
          <p:cNvSpPr>
            <a:spLocks noGrp="1"/>
          </p:cNvSpPr>
          <p:nvPr>
            <p:ph type="sldNum" sz="quarter" idx="12"/>
          </p:nvPr>
        </p:nvSpPr>
        <p:spPr/>
        <p:txBody>
          <a:bodyPr/>
          <a:lstStyle/>
          <a:p>
            <a: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2" name="テキスト ボックス 31">
            <a:extLst>
              <a:ext uri="{FF2B5EF4-FFF2-40B4-BE49-F238E27FC236}">
                <a16:creationId xmlns:a16="http://schemas.microsoft.com/office/drawing/2014/main" id="{5E9BCB6F-282E-45B0-8DD5-0DDB8ADBE967}"/>
              </a:ext>
            </a:extLst>
          </p:cNvPr>
          <p:cNvSpPr txBox="1"/>
          <p:nvPr/>
        </p:nvSpPr>
        <p:spPr>
          <a:xfrm>
            <a:off x="10696" y="557393"/>
            <a:ext cx="9905999" cy="3600986"/>
          </a:xfrm>
          <a:prstGeom prst="rect">
            <a:avLst/>
          </a:prstGeom>
          <a:noFill/>
        </p:spPr>
        <p:txBody>
          <a:bodyPr wrap="square">
            <a:spAutoFit/>
          </a:bodyPr>
          <a:lstStyle/>
          <a:p>
            <a:r>
              <a:rPr lang="ja-JP" altLang="en-US" sz="1200" dirty="0"/>
              <a:t>■</a:t>
            </a:r>
            <a:r>
              <a:rPr lang="en-US" altLang="ja-JP" sz="1200" dirty="0"/>
              <a:t>2025</a:t>
            </a:r>
            <a:r>
              <a:rPr lang="ja-JP" altLang="en-US" sz="1200" dirty="0"/>
              <a:t>年大阪・関西万博において実施された</a:t>
            </a:r>
            <a:r>
              <a:rPr lang="en-US" altLang="ja-JP" sz="1200" dirty="0"/>
              <a:t>GSE</a:t>
            </a:r>
            <a:r>
              <a:rPr lang="ja-JP" altLang="en-US" sz="1200" dirty="0"/>
              <a:t>は、「ディープテック」を軸とし、これまでのスタートアップイベントとは一線を画した</a:t>
            </a:r>
            <a:endParaRPr lang="en-US" altLang="ja-JP" sz="1200" dirty="0"/>
          </a:p>
          <a:p>
            <a:r>
              <a:rPr lang="ja-JP" altLang="en-US" sz="1200" dirty="0"/>
              <a:t>　取組みとして実施された。</a:t>
            </a:r>
          </a:p>
          <a:p>
            <a:endParaRPr lang="en-US" altLang="ja-JP" sz="1200" dirty="0"/>
          </a:p>
          <a:p>
            <a:r>
              <a:rPr lang="ja-JP" altLang="en-US" sz="1200" dirty="0"/>
              <a:t>■世界有数の技術基盤を有する日本、とりわけ、世界トップクラスの大学や研究機関、高い技術力を持つグローバル企業が集積する大阪・関</a:t>
            </a:r>
            <a:endParaRPr lang="en-US" altLang="ja-JP" sz="1200" dirty="0"/>
          </a:p>
          <a:p>
            <a:r>
              <a:rPr lang="ja-JP" altLang="en-US" sz="1200" dirty="0"/>
              <a:t>　西で開催したことで、我が国のディープテックの実力を国内のみならず、海外にも発信し、国内外の起業家、投資家の交流を通じて、世界</a:t>
            </a:r>
            <a:endParaRPr lang="en-US" altLang="ja-JP" sz="1200" dirty="0"/>
          </a:p>
          <a:p>
            <a:r>
              <a:rPr lang="ja-JP" altLang="en-US" sz="1200" dirty="0"/>
              <a:t>　が改めて、日本のスタートアップの実力を再認識する機会となった。</a:t>
            </a:r>
          </a:p>
          <a:p>
            <a:r>
              <a:rPr lang="ja-JP" altLang="en-US" sz="1200" dirty="0"/>
              <a:t>　それと同時に、開催地である大阪・関西としても、「ディープテックのフロンティア」としての認知度向上にもつながった。</a:t>
            </a:r>
          </a:p>
          <a:p>
            <a:endParaRPr lang="en-US" altLang="ja-JP" sz="1200" dirty="0"/>
          </a:p>
          <a:p>
            <a:r>
              <a:rPr lang="ja-JP" altLang="en-US" sz="1200" dirty="0"/>
              <a:t>■</a:t>
            </a:r>
            <a:r>
              <a:rPr lang="en-US" altLang="ja-JP" sz="1200" dirty="0"/>
              <a:t>GSE2026</a:t>
            </a:r>
            <a:r>
              <a:rPr lang="ja-JP" altLang="en-US" sz="1200" dirty="0"/>
              <a:t>については、その大阪・関西が、万博の理念を確実に継承し、我が国最大級のディープテックの「ナショナルイベント」として</a:t>
            </a:r>
            <a:endParaRPr lang="en-US" altLang="ja-JP" sz="1200" dirty="0"/>
          </a:p>
          <a:p>
            <a:r>
              <a:rPr lang="ja-JP" altLang="en-US" sz="1200" dirty="0"/>
              <a:t>　位置付け、より発展した形で実施する。その実施にあたっては、以下の</a:t>
            </a:r>
            <a:r>
              <a:rPr lang="en-US" altLang="ja-JP" sz="1200" dirty="0"/>
              <a:t>3</a:t>
            </a:r>
            <a:r>
              <a:rPr lang="ja-JP" altLang="en-US" sz="1200" dirty="0"/>
              <a:t>つをビジョンの柱に据える。</a:t>
            </a:r>
          </a:p>
          <a:p>
            <a:r>
              <a:rPr lang="ja-JP" altLang="en-US" sz="1200" dirty="0"/>
              <a:t>　・バイオ・ヘルスケア、フュージョン、量子など「国家戦略技術領域」について京阪神のディープテックの厚みを基盤とする。</a:t>
            </a:r>
          </a:p>
          <a:p>
            <a:r>
              <a:rPr lang="ja-JP" altLang="en-US" sz="1200" dirty="0"/>
              <a:t>　・全国のスタートアップ拠点とも連携し、他都市が強みとする領域は連携を通じて、その得意とするディープテック分野の大学・スタート</a:t>
            </a:r>
            <a:endParaRPr lang="en-US" altLang="ja-JP" sz="1200" dirty="0"/>
          </a:p>
          <a:p>
            <a:r>
              <a:rPr lang="ja-JP" altLang="en-US" sz="1200" dirty="0"/>
              <a:t>　　アップを結集し、地域の枠を超えて、日本のスタートアップの層の厚さや種類の多さ、多様性などを発信。国内外の参加者に共創を促す。</a:t>
            </a:r>
          </a:p>
          <a:p>
            <a:r>
              <a:rPr lang="ja-JP" altLang="en-US" sz="1200" dirty="0"/>
              <a:t>　・大阪・関西万博で培ったネットワークと経験を活かし、国・経済界・地元自治体で連携して構築中の「万博技術実装化センター（仮</a:t>
            </a:r>
            <a:endParaRPr lang="en-US" altLang="ja-JP" sz="1200" dirty="0"/>
          </a:p>
          <a:p>
            <a:r>
              <a:rPr lang="ja-JP" altLang="en-US" sz="1200" dirty="0"/>
              <a:t>　　称）」の取組みとも相乗効果を発揮する。</a:t>
            </a:r>
          </a:p>
          <a:p>
            <a:endParaRPr lang="en-US" altLang="ja-JP" sz="1200" dirty="0"/>
          </a:p>
          <a:p>
            <a:r>
              <a:rPr lang="ja-JP" altLang="en-US" sz="1200" dirty="0"/>
              <a:t>■ 「事業化・社会実装・ルールメイク」をコンセプトに、我が国の代表的な研究シーズと先端の情報や知見を持つ海外トップクラスの起業家、</a:t>
            </a:r>
            <a:endParaRPr lang="en-US" altLang="ja-JP" sz="1200" dirty="0"/>
          </a:p>
          <a:p>
            <a:r>
              <a:rPr lang="ja-JP" altLang="en-US" sz="1200" dirty="0"/>
              <a:t>　投資家などを掛け合わせ、国内外の方々を惹きつける強みとして確立する。それを</a:t>
            </a:r>
            <a:r>
              <a:rPr lang="en-US" altLang="ja-JP" sz="1200" dirty="0"/>
              <a:t>2027</a:t>
            </a:r>
            <a:r>
              <a:rPr lang="ja-JP" altLang="en-US" sz="1200" dirty="0"/>
              <a:t>年以降も実施していくことにより、継続的な</a:t>
            </a:r>
            <a:endParaRPr lang="en-US" altLang="ja-JP" sz="1200" dirty="0"/>
          </a:p>
          <a:p>
            <a:r>
              <a:rPr lang="ja-JP" altLang="en-US" sz="1200" dirty="0"/>
              <a:t>　来訪と投資や協業につなげることで日本のエコシステムのグローバル化と、スタートアップの海外進出を促進していく。</a:t>
            </a:r>
            <a:endParaRPr lang="en-US" altLang="ja-JP" sz="1200" dirty="0"/>
          </a:p>
        </p:txBody>
      </p:sp>
      <p:sp>
        <p:nvSpPr>
          <p:cNvPr id="46" name="楕円 45">
            <a:extLst>
              <a:ext uri="{FF2B5EF4-FFF2-40B4-BE49-F238E27FC236}">
                <a16:creationId xmlns:a16="http://schemas.microsoft.com/office/drawing/2014/main" id="{5ECF9B63-F40D-4846-B7DB-E20E62CACE57}"/>
              </a:ext>
            </a:extLst>
          </p:cNvPr>
          <p:cNvSpPr/>
          <p:nvPr/>
        </p:nvSpPr>
        <p:spPr bwMode="auto">
          <a:xfrm>
            <a:off x="1405467" y="4281720"/>
            <a:ext cx="7112000" cy="2539478"/>
          </a:xfrm>
          <a:prstGeom prst="ellipse">
            <a:avLst/>
          </a:prstGeom>
          <a:solidFill>
            <a:srgbClr val="CCECFF"/>
          </a:solidFill>
          <a:ln w="9525">
            <a:solidFill>
              <a:srgbClr val="0070C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7" name="楕円 46">
            <a:extLst>
              <a:ext uri="{FF2B5EF4-FFF2-40B4-BE49-F238E27FC236}">
                <a16:creationId xmlns:a16="http://schemas.microsoft.com/office/drawing/2014/main" id="{E7D6015C-6113-4D6B-A275-D33061A9D73C}"/>
              </a:ext>
            </a:extLst>
          </p:cNvPr>
          <p:cNvSpPr/>
          <p:nvPr/>
        </p:nvSpPr>
        <p:spPr bwMode="auto">
          <a:xfrm>
            <a:off x="2757112" y="4600792"/>
            <a:ext cx="4339453" cy="2059224"/>
          </a:xfrm>
          <a:prstGeom prst="ellipse">
            <a:avLst/>
          </a:prstGeom>
          <a:solidFill>
            <a:srgbClr val="FFCC99"/>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8" name="楕円 47">
            <a:extLst>
              <a:ext uri="{FF2B5EF4-FFF2-40B4-BE49-F238E27FC236}">
                <a16:creationId xmlns:a16="http://schemas.microsoft.com/office/drawing/2014/main" id="{D4887FA1-D524-4900-9C9D-17081B94CC6C}"/>
              </a:ext>
            </a:extLst>
          </p:cNvPr>
          <p:cNvSpPr/>
          <p:nvPr/>
        </p:nvSpPr>
        <p:spPr bwMode="auto">
          <a:xfrm>
            <a:off x="3770280" y="4819523"/>
            <a:ext cx="2396690" cy="1295663"/>
          </a:xfrm>
          <a:prstGeom prst="ellipse">
            <a:avLst/>
          </a:prstGeom>
          <a:solidFill>
            <a:srgbClr val="FFC000"/>
          </a:solidFill>
          <a:ln w="9525">
            <a:solidFill>
              <a:srgbClr val="FF0000"/>
            </a:solidFill>
            <a:miter lim="800000"/>
            <a:headEnd/>
            <a:tailEnd/>
          </a:ln>
          <a:effectLst/>
        </p:spPr>
        <p:txBody>
          <a:bodyPr wrap="none" tIns="0" bIns="0" rtlCol="0" anchor="b" anchorCtr="0"/>
          <a:lstStyle/>
          <a:p>
            <a:pPr algn="ctr">
              <a:lnSpc>
                <a:spcPts val="1800"/>
              </a:lnSpc>
            </a:pPr>
            <a:r>
              <a:rPr kumimoji="0" lang="en-US" altLang="ja-JP" sz="1800" dirty="0">
                <a:latin typeface="Meiryo UI" panose="020B0604030504040204" pitchFamily="50" charset="-128"/>
                <a:ea typeface="Meiryo UI" panose="020B0604030504040204" pitchFamily="50" charset="-128"/>
              </a:rPr>
              <a:t>GSE2026</a:t>
            </a:r>
          </a:p>
          <a:p>
            <a:pPr algn="ctr">
              <a:lnSpc>
                <a:spcPts val="1800"/>
              </a:lnSpc>
            </a:pPr>
            <a:r>
              <a:rPr kumimoji="0" lang="ja-JP" altLang="en-US" sz="1100" b="1" dirty="0">
                <a:latin typeface="Meiryo UI" panose="020B0604030504040204" pitchFamily="50" charset="-128"/>
                <a:ea typeface="Meiryo UI" panose="020B0604030504040204" pitchFamily="50" charset="-128"/>
              </a:rPr>
              <a:t>ディープテックのナショナルイベント</a:t>
            </a:r>
            <a:endParaRPr kumimoji="0" lang="en-US" altLang="ja-JP" sz="1000" b="1" dirty="0">
              <a:latin typeface="Meiryo UI" panose="020B0604030504040204" pitchFamily="50" charset="-128"/>
              <a:ea typeface="Meiryo UI" panose="020B0604030504040204" pitchFamily="50" charset="-128"/>
            </a:endParaRPr>
          </a:p>
          <a:p>
            <a:pPr algn="ctr">
              <a:lnSpc>
                <a:spcPts val="1800"/>
              </a:lnSpc>
            </a:pPr>
            <a:r>
              <a:rPr kumimoji="0" lang="en-US" altLang="ja-JP" sz="1000" b="1" dirty="0">
                <a:latin typeface="Meiryo UI" panose="020B0604030504040204" pitchFamily="50" charset="-128"/>
                <a:ea typeface="Meiryo UI" panose="020B0604030504040204" pitchFamily="50" charset="-128"/>
              </a:rPr>
              <a:t>【</a:t>
            </a:r>
            <a:r>
              <a:rPr kumimoji="0" lang="ja-JP" altLang="en-US" sz="1000" b="1" dirty="0">
                <a:latin typeface="Meiryo UI" panose="020B0604030504040204" pitchFamily="50" charset="-128"/>
                <a:ea typeface="Meiryo UI" panose="020B0604030504040204" pitchFamily="50" charset="-128"/>
              </a:rPr>
              <a:t>事業化・社会実装・ルールメイク</a:t>
            </a:r>
            <a:r>
              <a:rPr kumimoji="0" lang="en-US" altLang="ja-JP" sz="1000" b="1" dirty="0">
                <a:latin typeface="Meiryo UI" panose="020B0604030504040204" pitchFamily="50" charset="-128"/>
                <a:ea typeface="Meiryo UI" panose="020B0604030504040204" pitchFamily="50" charset="-128"/>
              </a:rPr>
              <a:t>】</a:t>
            </a:r>
            <a:endParaRPr kumimoji="0" lang="ja-JP" altLang="en-US" sz="1000" b="1" dirty="0">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AE050A9C-9B1A-4F07-A1C1-9F89A78ABF36}"/>
              </a:ext>
            </a:extLst>
          </p:cNvPr>
          <p:cNvSpPr/>
          <p:nvPr/>
        </p:nvSpPr>
        <p:spPr bwMode="auto">
          <a:xfrm>
            <a:off x="4091277" y="4952306"/>
            <a:ext cx="680375" cy="232850"/>
          </a:xfrm>
          <a:prstGeom prst="rect">
            <a:avLst/>
          </a:prstGeom>
          <a:solidFill>
            <a:srgbClr val="FFBE3C"/>
          </a:solidFill>
          <a:ln w="9525">
            <a:solidFill>
              <a:schemeClr val="bg1">
                <a:lumMod val="50000"/>
              </a:schemeClr>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実行委員会</a:t>
            </a:r>
          </a:p>
        </p:txBody>
      </p:sp>
      <p:sp>
        <p:nvSpPr>
          <p:cNvPr id="50" name="正方形/長方形 49">
            <a:extLst>
              <a:ext uri="{FF2B5EF4-FFF2-40B4-BE49-F238E27FC236}">
                <a16:creationId xmlns:a16="http://schemas.microsoft.com/office/drawing/2014/main" id="{1DC9F473-6F73-4603-B145-79E97106D3E9}"/>
              </a:ext>
            </a:extLst>
          </p:cNvPr>
          <p:cNvSpPr/>
          <p:nvPr/>
        </p:nvSpPr>
        <p:spPr bwMode="auto">
          <a:xfrm>
            <a:off x="5104445" y="4952306"/>
            <a:ext cx="680375" cy="232850"/>
          </a:xfrm>
          <a:prstGeom prst="rect">
            <a:avLst/>
          </a:prstGeom>
          <a:solidFill>
            <a:srgbClr val="FFC000"/>
          </a:solidFill>
          <a:ln w="9525">
            <a:solidFill>
              <a:schemeClr val="bg1">
                <a:lumMod val="50000"/>
              </a:schemeClr>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国</a:t>
            </a:r>
          </a:p>
        </p:txBody>
      </p:sp>
      <p:sp>
        <p:nvSpPr>
          <p:cNvPr id="51" name="テキスト ボックス 50">
            <a:extLst>
              <a:ext uri="{FF2B5EF4-FFF2-40B4-BE49-F238E27FC236}">
                <a16:creationId xmlns:a16="http://schemas.microsoft.com/office/drawing/2014/main" id="{39737DAE-45DD-4305-A5EC-435205F54359}"/>
              </a:ext>
            </a:extLst>
          </p:cNvPr>
          <p:cNvSpPr txBox="1"/>
          <p:nvPr/>
        </p:nvSpPr>
        <p:spPr>
          <a:xfrm>
            <a:off x="4805823" y="4878463"/>
            <a:ext cx="385011" cy="338554"/>
          </a:xfrm>
          <a:prstGeom prst="rect">
            <a:avLst/>
          </a:prstGeom>
          <a:noFill/>
        </p:spPr>
        <p:txBody>
          <a:bodyPr wrap="square" rtlCol="0">
            <a:spAutoFit/>
          </a:bodyPr>
          <a:lstStyle/>
          <a:p>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共催</a:t>
            </a:r>
          </a:p>
        </p:txBody>
      </p:sp>
      <p:sp>
        <p:nvSpPr>
          <p:cNvPr id="52" name="正方形/長方形 51">
            <a:extLst>
              <a:ext uri="{FF2B5EF4-FFF2-40B4-BE49-F238E27FC236}">
                <a16:creationId xmlns:a16="http://schemas.microsoft.com/office/drawing/2014/main" id="{E23183C4-44E6-4825-A730-9F552B7C9F6B}"/>
              </a:ext>
            </a:extLst>
          </p:cNvPr>
          <p:cNvSpPr/>
          <p:nvPr/>
        </p:nvSpPr>
        <p:spPr bwMode="auto">
          <a:xfrm>
            <a:off x="5031619" y="6134365"/>
            <a:ext cx="1118192" cy="331274"/>
          </a:xfrm>
          <a:prstGeom prst="rect">
            <a:avLst/>
          </a:prstGeom>
          <a:solidFill>
            <a:srgbClr val="FFFF99"/>
          </a:solidFill>
          <a:ln w="9525">
            <a:solidFill>
              <a:schemeClr val="bg2">
                <a:lumMod val="50000"/>
              </a:schemeClr>
            </a:solidFill>
            <a:miter lim="800000"/>
            <a:headEnd/>
            <a:tailEnd/>
          </a:ln>
          <a:effectLst/>
        </p:spPr>
        <p:txBody>
          <a:bodyPr wrap="none" rtlCol="0" anchor="ctr"/>
          <a:lstStyle/>
          <a:p>
            <a:pPr algn="ctr"/>
            <a:r>
              <a:rPr kumimoji="0" lang="ja-JP" altLang="en-US" sz="1000" b="1" dirty="0">
                <a:latin typeface="Meiryo UI" panose="020B0604030504040204" pitchFamily="50" charset="-128"/>
                <a:ea typeface="Meiryo UI" panose="020B0604030504040204" pitchFamily="50" charset="-128"/>
              </a:rPr>
              <a:t>海外トップクラスの</a:t>
            </a:r>
            <a:endParaRPr kumimoji="0" lang="en-US" altLang="ja-JP" sz="1000" b="1" dirty="0">
              <a:latin typeface="Meiryo UI" panose="020B0604030504040204" pitchFamily="50" charset="-128"/>
              <a:ea typeface="Meiryo UI" panose="020B0604030504040204" pitchFamily="50" charset="-128"/>
            </a:endParaRPr>
          </a:p>
          <a:p>
            <a:pPr algn="ctr"/>
            <a:r>
              <a:rPr kumimoji="0" lang="ja-JP" altLang="en-US" sz="1000" b="1" dirty="0">
                <a:latin typeface="Meiryo UI" panose="020B0604030504040204" pitchFamily="50" charset="-128"/>
                <a:ea typeface="Meiryo UI" panose="020B0604030504040204" pitchFamily="50" charset="-128"/>
              </a:rPr>
              <a:t>起業家、投資家等</a:t>
            </a:r>
            <a:endParaRPr kumimoji="0" lang="ja-JP" altLang="en-US" sz="1600" b="1" dirty="0">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B6D852F8-6AEB-4A01-B8E7-17244C2A16BE}"/>
              </a:ext>
            </a:extLst>
          </p:cNvPr>
          <p:cNvSpPr/>
          <p:nvPr/>
        </p:nvSpPr>
        <p:spPr bwMode="auto">
          <a:xfrm>
            <a:off x="3703866" y="6116504"/>
            <a:ext cx="1163642" cy="349135"/>
          </a:xfrm>
          <a:prstGeom prst="rect">
            <a:avLst/>
          </a:prstGeom>
          <a:solidFill>
            <a:srgbClr val="FFFF99"/>
          </a:solidFill>
          <a:ln w="9525">
            <a:solidFill>
              <a:schemeClr val="bg2">
                <a:lumMod val="50000"/>
              </a:schemeClr>
            </a:solidFill>
            <a:miter lim="800000"/>
            <a:headEnd/>
            <a:tailEnd/>
          </a:ln>
          <a:effectLst/>
        </p:spPr>
        <p:txBody>
          <a:bodyPr wrap="none" rtlCol="0" anchor="ctr"/>
          <a:lstStyle/>
          <a:p>
            <a:pPr algn="ctr"/>
            <a:r>
              <a:rPr kumimoji="0" lang="ja-JP" altLang="en-US" sz="1000" b="1" dirty="0">
                <a:latin typeface="Meiryo UI" panose="020B0604030504040204" pitchFamily="50" charset="-128"/>
                <a:ea typeface="Meiryo UI" panose="020B0604030504040204" pitchFamily="50" charset="-128"/>
              </a:rPr>
              <a:t>日本を代表する</a:t>
            </a:r>
            <a:endParaRPr kumimoji="0" lang="en-US" altLang="ja-JP" sz="1000" b="1" dirty="0">
              <a:latin typeface="Meiryo UI" panose="020B0604030504040204" pitchFamily="50" charset="-128"/>
              <a:ea typeface="Meiryo UI" panose="020B0604030504040204" pitchFamily="50" charset="-128"/>
            </a:endParaRPr>
          </a:p>
          <a:p>
            <a:pPr algn="ctr"/>
            <a:r>
              <a:rPr kumimoji="0" lang="ja-JP" altLang="en-US" sz="1000" b="1" dirty="0">
                <a:latin typeface="Meiryo UI" panose="020B0604030504040204" pitchFamily="50" charset="-128"/>
                <a:ea typeface="Meiryo UI" panose="020B0604030504040204" pitchFamily="50" charset="-128"/>
              </a:rPr>
              <a:t>スタートアップ、シーズ</a:t>
            </a:r>
            <a:endParaRPr kumimoji="0" lang="ja-JP" altLang="en-US" b="1" dirty="0">
              <a:latin typeface="Meiryo UI" panose="020B0604030504040204" pitchFamily="50" charset="-128"/>
              <a:ea typeface="Meiryo UI" panose="020B0604030504040204" pitchFamily="50" charset="-128"/>
            </a:endParaRPr>
          </a:p>
        </p:txBody>
      </p:sp>
      <p:sp>
        <p:nvSpPr>
          <p:cNvPr id="54" name="四角形: 角を丸くする 53">
            <a:extLst>
              <a:ext uri="{FF2B5EF4-FFF2-40B4-BE49-F238E27FC236}">
                <a16:creationId xmlns:a16="http://schemas.microsoft.com/office/drawing/2014/main" id="{4DACBD3B-1DDF-42EA-BE37-E63C7606AA76}"/>
              </a:ext>
            </a:extLst>
          </p:cNvPr>
          <p:cNvSpPr/>
          <p:nvPr/>
        </p:nvSpPr>
        <p:spPr bwMode="auto">
          <a:xfrm>
            <a:off x="7744322" y="5950235"/>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事業会社</a:t>
            </a:r>
          </a:p>
        </p:txBody>
      </p:sp>
      <p:sp>
        <p:nvSpPr>
          <p:cNvPr id="55" name="四角形: 角を丸くする 54">
            <a:extLst>
              <a:ext uri="{FF2B5EF4-FFF2-40B4-BE49-F238E27FC236}">
                <a16:creationId xmlns:a16="http://schemas.microsoft.com/office/drawing/2014/main" id="{027FADFC-FE94-49D5-B6FF-32BDE4962C7B}"/>
              </a:ext>
            </a:extLst>
          </p:cNvPr>
          <p:cNvSpPr/>
          <p:nvPr/>
        </p:nvSpPr>
        <p:spPr bwMode="auto">
          <a:xfrm>
            <a:off x="7744323" y="5238038"/>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スタートアップ</a:t>
            </a:r>
          </a:p>
        </p:txBody>
      </p:sp>
      <p:sp>
        <p:nvSpPr>
          <p:cNvPr id="56" name="四角形: 角を丸くする 55">
            <a:extLst>
              <a:ext uri="{FF2B5EF4-FFF2-40B4-BE49-F238E27FC236}">
                <a16:creationId xmlns:a16="http://schemas.microsoft.com/office/drawing/2014/main" id="{5C03F4EE-50DD-408C-9070-0324F6CB2E2B}"/>
              </a:ext>
            </a:extLst>
          </p:cNvPr>
          <p:cNvSpPr/>
          <p:nvPr/>
        </p:nvSpPr>
        <p:spPr bwMode="auto">
          <a:xfrm>
            <a:off x="785745" y="5952226"/>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a:t>
            </a:r>
            <a:r>
              <a:rPr kumimoji="0" lang="en-US" altLang="ja-JP" sz="900" dirty="0">
                <a:latin typeface="Meiryo UI" panose="020B0604030504040204" pitchFamily="50" charset="-128"/>
                <a:ea typeface="Meiryo UI" panose="020B0604030504040204" pitchFamily="50" charset="-128"/>
              </a:rPr>
              <a:t>CVC</a:t>
            </a:r>
            <a:r>
              <a:rPr kumimoji="0" lang="ja-JP" altLang="en-US" sz="900" dirty="0">
                <a:latin typeface="Meiryo UI" panose="020B0604030504040204" pitchFamily="50" charset="-128"/>
                <a:ea typeface="Meiryo UI" panose="020B0604030504040204" pitchFamily="50" charset="-128"/>
              </a:rPr>
              <a:t>コミュニティ</a:t>
            </a:r>
          </a:p>
        </p:txBody>
      </p:sp>
      <p:sp>
        <p:nvSpPr>
          <p:cNvPr id="57" name="四角形: 角を丸くする 56">
            <a:extLst>
              <a:ext uri="{FF2B5EF4-FFF2-40B4-BE49-F238E27FC236}">
                <a16:creationId xmlns:a16="http://schemas.microsoft.com/office/drawing/2014/main" id="{6001E016-54D2-4B7F-B743-DCA010AF5B7D}"/>
              </a:ext>
            </a:extLst>
          </p:cNvPr>
          <p:cNvSpPr/>
          <p:nvPr/>
        </p:nvSpPr>
        <p:spPr bwMode="auto">
          <a:xfrm>
            <a:off x="785745" y="5583000"/>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領事館</a:t>
            </a:r>
          </a:p>
        </p:txBody>
      </p:sp>
      <p:sp>
        <p:nvSpPr>
          <p:cNvPr id="58" name="四角形: 角を丸くする 57">
            <a:extLst>
              <a:ext uri="{FF2B5EF4-FFF2-40B4-BE49-F238E27FC236}">
                <a16:creationId xmlns:a16="http://schemas.microsoft.com/office/drawing/2014/main" id="{4104B150-0348-4CDB-A78D-739631A3A07D}"/>
              </a:ext>
            </a:extLst>
          </p:cNvPr>
          <p:cNvSpPr/>
          <p:nvPr/>
        </p:nvSpPr>
        <p:spPr bwMode="auto">
          <a:xfrm>
            <a:off x="7744322" y="4870972"/>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a:t>
            </a:r>
            <a:r>
              <a:rPr kumimoji="0" lang="en-US" altLang="ja-JP" sz="900" dirty="0">
                <a:latin typeface="Meiryo UI" panose="020B0604030504040204" pitchFamily="50" charset="-128"/>
                <a:ea typeface="Meiryo UI" panose="020B0604030504040204" pitchFamily="50" charset="-128"/>
              </a:rPr>
              <a:t>VC</a:t>
            </a:r>
            <a:r>
              <a:rPr kumimoji="0" lang="ja-JP" altLang="en-US" sz="900" dirty="0">
                <a:latin typeface="Meiryo UI" panose="020B0604030504040204" pitchFamily="50" charset="-128"/>
                <a:ea typeface="Meiryo UI" panose="020B0604030504040204" pitchFamily="50" charset="-128"/>
              </a:rPr>
              <a:t>、投資家</a:t>
            </a:r>
          </a:p>
        </p:txBody>
      </p:sp>
      <p:sp>
        <p:nvSpPr>
          <p:cNvPr id="59" name="四角形: 角を丸くする 58">
            <a:extLst>
              <a:ext uri="{FF2B5EF4-FFF2-40B4-BE49-F238E27FC236}">
                <a16:creationId xmlns:a16="http://schemas.microsoft.com/office/drawing/2014/main" id="{35EDE880-96DD-4625-8071-EA429B964D6A}"/>
              </a:ext>
            </a:extLst>
          </p:cNvPr>
          <p:cNvSpPr/>
          <p:nvPr/>
        </p:nvSpPr>
        <p:spPr bwMode="auto">
          <a:xfrm>
            <a:off x="785744" y="5242894"/>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支援機関</a:t>
            </a:r>
          </a:p>
        </p:txBody>
      </p:sp>
      <p:sp>
        <p:nvSpPr>
          <p:cNvPr id="60" name="四角形: 角を丸くする 59">
            <a:extLst>
              <a:ext uri="{FF2B5EF4-FFF2-40B4-BE49-F238E27FC236}">
                <a16:creationId xmlns:a16="http://schemas.microsoft.com/office/drawing/2014/main" id="{9F1A9874-5751-4B5D-9B7D-7828DDC72A64}"/>
              </a:ext>
            </a:extLst>
          </p:cNvPr>
          <p:cNvSpPr/>
          <p:nvPr/>
        </p:nvSpPr>
        <p:spPr bwMode="auto">
          <a:xfrm>
            <a:off x="7750741" y="5581808"/>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経営候補人材</a:t>
            </a:r>
          </a:p>
        </p:txBody>
      </p:sp>
      <p:sp>
        <p:nvSpPr>
          <p:cNvPr id="61" name="四角形: 角を丸くする 60">
            <a:extLst>
              <a:ext uri="{FF2B5EF4-FFF2-40B4-BE49-F238E27FC236}">
                <a16:creationId xmlns:a16="http://schemas.microsoft.com/office/drawing/2014/main" id="{3C168BAC-3D59-4931-9FC8-CF0BBF5CEFA2}"/>
              </a:ext>
            </a:extLst>
          </p:cNvPr>
          <p:cNvSpPr/>
          <p:nvPr/>
        </p:nvSpPr>
        <p:spPr bwMode="auto">
          <a:xfrm>
            <a:off x="785743" y="4884899"/>
            <a:ext cx="1357161" cy="253236"/>
          </a:xfrm>
          <a:prstGeom prst="roundRect">
            <a:avLst/>
          </a:prstGeom>
          <a:solidFill>
            <a:schemeClr val="tx2">
              <a:lumMod val="40000"/>
              <a:lumOff val="60000"/>
            </a:schemeClr>
          </a:solidFill>
          <a:ln w="9525">
            <a:solidFill>
              <a:srgbClr val="0064C8"/>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海外大学、研究者</a:t>
            </a:r>
          </a:p>
        </p:txBody>
      </p:sp>
      <p:sp>
        <p:nvSpPr>
          <p:cNvPr id="62" name="テキスト ボックス 61">
            <a:extLst>
              <a:ext uri="{FF2B5EF4-FFF2-40B4-BE49-F238E27FC236}">
                <a16:creationId xmlns:a16="http://schemas.microsoft.com/office/drawing/2014/main" id="{62CF5AAC-4939-41E6-AC92-FDB0D3BDBBFD}"/>
              </a:ext>
            </a:extLst>
          </p:cNvPr>
          <p:cNvSpPr txBox="1"/>
          <p:nvPr/>
        </p:nvSpPr>
        <p:spPr>
          <a:xfrm>
            <a:off x="4820128" y="6215295"/>
            <a:ext cx="385011" cy="215444"/>
          </a:xfrm>
          <a:prstGeom prst="rect">
            <a:avLst/>
          </a:prstGeom>
          <a:noFill/>
        </p:spPr>
        <p:txBody>
          <a:bodyPr wrap="square" rtlCol="0">
            <a:spAutoFit/>
          </a:bodyPr>
          <a:lstStyle/>
          <a:p>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ボックス 62">
            <a:extLst>
              <a:ext uri="{FF2B5EF4-FFF2-40B4-BE49-F238E27FC236}">
                <a16:creationId xmlns:a16="http://schemas.microsoft.com/office/drawing/2014/main" id="{0BF235C0-53CC-405D-B112-8BD1E1CD764C}"/>
              </a:ext>
            </a:extLst>
          </p:cNvPr>
          <p:cNvSpPr txBox="1"/>
          <p:nvPr/>
        </p:nvSpPr>
        <p:spPr>
          <a:xfrm>
            <a:off x="4598858" y="4551541"/>
            <a:ext cx="1011861" cy="276999"/>
          </a:xfrm>
          <a:prstGeom prst="rect">
            <a:avLst/>
          </a:prstGeom>
          <a:noFill/>
        </p:spPr>
        <p:txBody>
          <a:bodyPr wrap="square" rtlCol="0">
            <a:spAutoFit/>
          </a:bodyPr>
          <a:lstStyle/>
          <a:p>
            <a:r>
              <a:rPr kumimoji="1" lang="ja-JP" altLang="en-US" sz="1200" b="1" dirty="0">
                <a:latin typeface="Meiryo UI" panose="020B0604030504040204" pitchFamily="50" charset="-128"/>
                <a:ea typeface="Meiryo UI" panose="020B0604030504040204" pitchFamily="50" charset="-128"/>
                <a:cs typeface="Meiryo UI" panose="020B0604030504040204" pitchFamily="50" charset="-128"/>
              </a:rPr>
              <a:t>国　　内</a:t>
            </a:r>
            <a:endParaRPr kumimoji="1" lang="ja-JP" altLang="en-US"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四角形: 角を丸くする 63">
            <a:extLst>
              <a:ext uri="{FF2B5EF4-FFF2-40B4-BE49-F238E27FC236}">
                <a16:creationId xmlns:a16="http://schemas.microsoft.com/office/drawing/2014/main" id="{DF1E7D95-9941-443E-A10B-2C9289311738}"/>
              </a:ext>
            </a:extLst>
          </p:cNvPr>
          <p:cNvSpPr/>
          <p:nvPr/>
        </p:nvSpPr>
        <p:spPr bwMode="auto">
          <a:xfrm>
            <a:off x="2493424" y="5116124"/>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事業会社</a:t>
            </a:r>
          </a:p>
        </p:txBody>
      </p:sp>
      <p:sp>
        <p:nvSpPr>
          <p:cNvPr id="65" name="四角形: 角を丸くする 64">
            <a:extLst>
              <a:ext uri="{FF2B5EF4-FFF2-40B4-BE49-F238E27FC236}">
                <a16:creationId xmlns:a16="http://schemas.microsoft.com/office/drawing/2014/main" id="{36B3E55F-5F06-4F44-88B2-E9D6BD40D08B}"/>
              </a:ext>
            </a:extLst>
          </p:cNvPr>
          <p:cNvSpPr/>
          <p:nvPr/>
        </p:nvSpPr>
        <p:spPr bwMode="auto">
          <a:xfrm>
            <a:off x="2493424" y="5622797"/>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en-US" altLang="ja-JP" sz="900" dirty="0">
                <a:latin typeface="Meiryo UI" panose="020B0604030504040204" pitchFamily="50" charset="-128"/>
                <a:ea typeface="Meiryo UI" panose="020B0604030504040204" pitchFamily="50" charset="-128"/>
              </a:rPr>
              <a:t>VC</a:t>
            </a:r>
            <a:r>
              <a:rPr kumimoji="0" lang="ja-JP" altLang="en-US" sz="900" dirty="0">
                <a:latin typeface="Meiryo UI" panose="020B0604030504040204" pitchFamily="50" charset="-128"/>
                <a:ea typeface="Meiryo UI" panose="020B0604030504040204" pitchFamily="50" charset="-128"/>
              </a:rPr>
              <a:t>・金融機関</a:t>
            </a:r>
          </a:p>
        </p:txBody>
      </p:sp>
      <p:sp>
        <p:nvSpPr>
          <p:cNvPr id="66" name="四角形: 角を丸くする 65">
            <a:extLst>
              <a:ext uri="{FF2B5EF4-FFF2-40B4-BE49-F238E27FC236}">
                <a16:creationId xmlns:a16="http://schemas.microsoft.com/office/drawing/2014/main" id="{7AD3D170-8923-468B-B6BB-9B743BC3EE66}"/>
              </a:ext>
            </a:extLst>
          </p:cNvPr>
          <p:cNvSpPr/>
          <p:nvPr/>
        </p:nvSpPr>
        <p:spPr bwMode="auto">
          <a:xfrm>
            <a:off x="2656264" y="6086142"/>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自治体</a:t>
            </a:r>
          </a:p>
        </p:txBody>
      </p:sp>
      <p:sp>
        <p:nvSpPr>
          <p:cNvPr id="67" name="四角形: 角を丸くする 66">
            <a:extLst>
              <a:ext uri="{FF2B5EF4-FFF2-40B4-BE49-F238E27FC236}">
                <a16:creationId xmlns:a16="http://schemas.microsoft.com/office/drawing/2014/main" id="{92AC9821-B031-4EC4-A099-44C54071646E}"/>
              </a:ext>
            </a:extLst>
          </p:cNvPr>
          <p:cNvSpPr/>
          <p:nvPr/>
        </p:nvSpPr>
        <p:spPr bwMode="auto">
          <a:xfrm>
            <a:off x="3089658" y="4631719"/>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スタートアップ</a:t>
            </a:r>
          </a:p>
        </p:txBody>
      </p:sp>
      <p:sp>
        <p:nvSpPr>
          <p:cNvPr id="68" name="四角形: 角を丸くする 67">
            <a:extLst>
              <a:ext uri="{FF2B5EF4-FFF2-40B4-BE49-F238E27FC236}">
                <a16:creationId xmlns:a16="http://schemas.microsoft.com/office/drawing/2014/main" id="{DC54971B-3419-4295-AB9F-AA7C4E503C36}"/>
              </a:ext>
            </a:extLst>
          </p:cNvPr>
          <p:cNvSpPr/>
          <p:nvPr/>
        </p:nvSpPr>
        <p:spPr bwMode="auto">
          <a:xfrm>
            <a:off x="5900942" y="4647658"/>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大学</a:t>
            </a:r>
          </a:p>
        </p:txBody>
      </p:sp>
      <p:sp>
        <p:nvSpPr>
          <p:cNvPr id="69" name="四角形: 角を丸くする 68">
            <a:extLst>
              <a:ext uri="{FF2B5EF4-FFF2-40B4-BE49-F238E27FC236}">
                <a16:creationId xmlns:a16="http://schemas.microsoft.com/office/drawing/2014/main" id="{3489F0B2-F284-4699-9580-AA07C1660D11}"/>
              </a:ext>
            </a:extLst>
          </p:cNvPr>
          <p:cNvSpPr/>
          <p:nvPr/>
        </p:nvSpPr>
        <p:spPr bwMode="auto">
          <a:xfrm>
            <a:off x="6384833" y="5061033"/>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支援機関</a:t>
            </a:r>
          </a:p>
        </p:txBody>
      </p:sp>
      <p:sp>
        <p:nvSpPr>
          <p:cNvPr id="70" name="四角形: 角を丸くする 69">
            <a:extLst>
              <a:ext uri="{FF2B5EF4-FFF2-40B4-BE49-F238E27FC236}">
                <a16:creationId xmlns:a16="http://schemas.microsoft.com/office/drawing/2014/main" id="{7818C4F0-1945-48CE-AA03-8095D9871A47}"/>
              </a:ext>
            </a:extLst>
          </p:cNvPr>
          <p:cNvSpPr/>
          <p:nvPr/>
        </p:nvSpPr>
        <p:spPr bwMode="auto">
          <a:xfrm>
            <a:off x="6413499" y="5552703"/>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起業候補人材</a:t>
            </a:r>
          </a:p>
        </p:txBody>
      </p:sp>
      <p:sp>
        <p:nvSpPr>
          <p:cNvPr id="71" name="四角形: 角を丸くする 70">
            <a:extLst>
              <a:ext uri="{FF2B5EF4-FFF2-40B4-BE49-F238E27FC236}">
                <a16:creationId xmlns:a16="http://schemas.microsoft.com/office/drawing/2014/main" id="{34328F78-BE82-4121-AE6A-CAF4D5D6AB46}"/>
              </a:ext>
            </a:extLst>
          </p:cNvPr>
          <p:cNvSpPr/>
          <p:nvPr/>
        </p:nvSpPr>
        <p:spPr bwMode="auto">
          <a:xfrm>
            <a:off x="6286641" y="6046433"/>
            <a:ext cx="946754" cy="276999"/>
          </a:xfrm>
          <a:prstGeom prst="roundRect">
            <a:avLst/>
          </a:prstGeom>
          <a:solidFill>
            <a:schemeClr val="bg1"/>
          </a:solidFill>
          <a:ln w="9525">
            <a:solidFill>
              <a:srgbClr val="FFCC99"/>
            </a:solidFill>
            <a:miter lim="800000"/>
            <a:headEnd/>
            <a:tailEnd/>
          </a:ln>
          <a:effectLst/>
        </p:spPr>
        <p:txBody>
          <a:bodyPr wrap="none" rtlCol="0" anchor="ctr"/>
          <a:lstStyle/>
          <a:p>
            <a:pPr algn="ctr"/>
            <a:r>
              <a:rPr kumimoji="0" lang="ja-JP" altLang="en-US" sz="900" dirty="0">
                <a:latin typeface="Meiryo UI" panose="020B0604030504040204" pitchFamily="50" charset="-128"/>
                <a:ea typeface="Meiryo UI" panose="020B0604030504040204" pitchFamily="50" charset="-128"/>
              </a:rPr>
              <a:t>研究者</a:t>
            </a:r>
            <a:endParaRPr kumimoji="0" lang="en-US" altLang="ja-JP" sz="900" dirty="0">
              <a:latin typeface="Meiryo UI" panose="020B0604030504040204" pitchFamily="50" charset="-128"/>
              <a:ea typeface="Meiryo UI" panose="020B0604030504040204" pitchFamily="50" charset="-128"/>
            </a:endParaRPr>
          </a:p>
          <a:p>
            <a:pPr algn="ctr"/>
            <a:r>
              <a:rPr kumimoji="0" lang="ja-JP" altLang="en-US" sz="900" dirty="0">
                <a:latin typeface="Meiryo UI" panose="020B0604030504040204" pitchFamily="50" charset="-128"/>
                <a:ea typeface="Meiryo UI" panose="020B0604030504040204" pitchFamily="50" charset="-128"/>
              </a:rPr>
              <a:t>ノーベル賞受賞者</a:t>
            </a:r>
          </a:p>
        </p:txBody>
      </p:sp>
      <p:sp>
        <p:nvSpPr>
          <p:cNvPr id="72" name="テキスト ボックス 71">
            <a:extLst>
              <a:ext uri="{FF2B5EF4-FFF2-40B4-BE49-F238E27FC236}">
                <a16:creationId xmlns:a16="http://schemas.microsoft.com/office/drawing/2014/main" id="{84441816-354E-4F94-9D0E-B65B6726E510}"/>
              </a:ext>
            </a:extLst>
          </p:cNvPr>
          <p:cNvSpPr txBox="1"/>
          <p:nvPr/>
        </p:nvSpPr>
        <p:spPr>
          <a:xfrm>
            <a:off x="4598858" y="4273620"/>
            <a:ext cx="1011861" cy="276999"/>
          </a:xfrm>
          <a:prstGeom prst="rect">
            <a:avLst/>
          </a:prstGeom>
          <a:noFill/>
        </p:spPr>
        <p:txBody>
          <a:bodyPr wrap="square" rtlCol="0">
            <a:spAutoFit/>
          </a:bodyPr>
          <a:lstStyle/>
          <a:p>
            <a:r>
              <a:rPr kumimoji="1" lang="ja-JP" altLang="en-US" sz="1200" b="1" dirty="0">
                <a:latin typeface="Meiryo UI" panose="020B0604030504040204" pitchFamily="50" charset="-128"/>
                <a:ea typeface="Meiryo UI" panose="020B0604030504040204" pitchFamily="50" charset="-128"/>
                <a:cs typeface="Meiryo UI" panose="020B0604030504040204" pitchFamily="50" charset="-128"/>
              </a:rPr>
              <a:t>海　　外</a:t>
            </a:r>
            <a:endParaRPr kumimoji="1" lang="ja-JP" altLang="en-US"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矢印: 下カーブ 72">
            <a:extLst>
              <a:ext uri="{FF2B5EF4-FFF2-40B4-BE49-F238E27FC236}">
                <a16:creationId xmlns:a16="http://schemas.microsoft.com/office/drawing/2014/main" id="{BFF6F119-E1D6-4B59-9B80-862E018C35DA}"/>
              </a:ext>
            </a:extLst>
          </p:cNvPr>
          <p:cNvSpPr/>
          <p:nvPr/>
        </p:nvSpPr>
        <p:spPr bwMode="auto">
          <a:xfrm>
            <a:off x="1277444" y="4160827"/>
            <a:ext cx="3320107" cy="720100"/>
          </a:xfrm>
          <a:prstGeom prst="curvedDownArrow">
            <a:avLst>
              <a:gd name="adj1" fmla="val 25000"/>
              <a:gd name="adj2" fmla="val 58296"/>
              <a:gd name="adj3" fmla="val 25000"/>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74" name="矢印: 下カーブ 73">
            <a:extLst>
              <a:ext uri="{FF2B5EF4-FFF2-40B4-BE49-F238E27FC236}">
                <a16:creationId xmlns:a16="http://schemas.microsoft.com/office/drawing/2014/main" id="{BE02E60C-A207-40D7-8AB2-6D3D839A2196}"/>
              </a:ext>
            </a:extLst>
          </p:cNvPr>
          <p:cNvSpPr/>
          <p:nvPr/>
        </p:nvSpPr>
        <p:spPr bwMode="auto">
          <a:xfrm flipH="1">
            <a:off x="5185293" y="4142050"/>
            <a:ext cx="3493547" cy="720100"/>
          </a:xfrm>
          <a:prstGeom prst="curvedDownArrow">
            <a:avLst>
              <a:gd name="adj1" fmla="val 25000"/>
              <a:gd name="adj2" fmla="val 59481"/>
              <a:gd name="adj3" fmla="val 25000"/>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9020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9D99B-93D7-EE6B-B2A7-B1B0E6A21226}"/>
            </a:ext>
          </a:extLst>
        </p:cNvPr>
        <p:cNvGrpSpPr/>
        <p:nvPr/>
      </p:nvGrpSpPr>
      <p:grpSpPr>
        <a:xfrm>
          <a:off x="0" y="0"/>
          <a:ext cx="0" cy="0"/>
          <a:chOff x="0" y="0"/>
          <a:chExt cx="0" cy="0"/>
        </a:xfrm>
      </p:grpSpPr>
      <p:sp>
        <p:nvSpPr>
          <p:cNvPr id="40" name="正方形/長方形 39">
            <a:extLst>
              <a:ext uri="{FF2B5EF4-FFF2-40B4-BE49-F238E27FC236}">
                <a16:creationId xmlns:a16="http://schemas.microsoft.com/office/drawing/2014/main" id="{386FF436-6643-47B8-8EDD-FD481ACB7310}"/>
              </a:ext>
            </a:extLst>
          </p:cNvPr>
          <p:cNvSpPr/>
          <p:nvPr/>
        </p:nvSpPr>
        <p:spPr bwMode="auto">
          <a:xfrm>
            <a:off x="2456876" y="1840069"/>
            <a:ext cx="5766082" cy="3410557"/>
          </a:xfrm>
          <a:prstGeom prst="rect">
            <a:avLst/>
          </a:prstGeom>
          <a:solidFill>
            <a:schemeClr val="bg1"/>
          </a:solidFill>
          <a:ln w="19050">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FCFDFD9F-D0DE-C1A6-48CA-660E80F37AF9}"/>
              </a:ext>
            </a:extLst>
          </p:cNvPr>
          <p:cNvSpPr>
            <a:spLocks noGrp="1"/>
          </p:cNvSpPr>
          <p:nvPr>
            <p:ph type="title"/>
          </p:nvPr>
        </p:nvSpPr>
        <p:spPr>
          <a:xfrm>
            <a:off x="99719" y="70971"/>
            <a:ext cx="9505503" cy="307777"/>
          </a:xfrm>
        </p:spPr>
        <p:txBody>
          <a:bodyPr/>
          <a:lstStyle/>
          <a:p>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2. </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イベント概要・</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GSE2026</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全体構成）</a:t>
            </a:r>
            <a:endParaRPr kumimoji="1" lang="ja-JP" altLang="en-US" sz="1400"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 name="正方形/長方形 7">
            <a:extLst>
              <a:ext uri="{FF2B5EF4-FFF2-40B4-BE49-F238E27FC236}">
                <a16:creationId xmlns:a16="http://schemas.microsoft.com/office/drawing/2014/main" id="{7607F7ED-DFA3-44D8-8E57-DB957C51553A}"/>
              </a:ext>
            </a:extLst>
          </p:cNvPr>
          <p:cNvSpPr/>
          <p:nvPr/>
        </p:nvSpPr>
        <p:spPr bwMode="auto">
          <a:xfrm>
            <a:off x="2466857" y="2228916"/>
            <a:ext cx="5665967" cy="3005142"/>
          </a:xfrm>
          <a:prstGeom prst="rect">
            <a:avLst/>
          </a:prstGeom>
          <a:solidFill>
            <a:schemeClr val="accent6">
              <a:lumMod val="60000"/>
              <a:lumOff val="40000"/>
            </a:schemeClr>
          </a:solidFill>
          <a:ln w="19050">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5FEFB929-9CE5-4AA6-986E-91E4237CBA68}"/>
              </a:ext>
            </a:extLst>
          </p:cNvPr>
          <p:cNvSpPr/>
          <p:nvPr/>
        </p:nvSpPr>
        <p:spPr bwMode="auto">
          <a:xfrm>
            <a:off x="2466284" y="1433141"/>
            <a:ext cx="5729261" cy="333304"/>
          </a:xfrm>
          <a:prstGeom prst="rect">
            <a:avLst/>
          </a:prstGeom>
          <a:solidFill>
            <a:schemeClr val="accent6">
              <a:lumMod val="20000"/>
              <a:lumOff val="80000"/>
            </a:schemeClr>
          </a:solidFill>
          <a:ln w="38100">
            <a:solidFill>
              <a:srgbClr val="B2B2B2"/>
            </a:solidFill>
            <a:miter lim="800000"/>
            <a:headEnd/>
            <a:tailEnd/>
          </a:ln>
          <a:effectLst/>
        </p:spPr>
        <p:txBody>
          <a:bodyPr wrap="none" rtlCol="0" anchor="ctr"/>
          <a:lstStyle/>
          <a:p>
            <a:pPr algn="ctr"/>
            <a:r>
              <a:rPr kumimoji="0" lang="en-US" altLang="ja-JP" sz="1600" b="1" dirty="0">
                <a:latin typeface="Meiryo UI" panose="020B0604030504040204" pitchFamily="50" charset="-128"/>
                <a:ea typeface="Meiryo UI" panose="020B0604030504040204" pitchFamily="50" charset="-128"/>
              </a:rPr>
              <a:t>Japan Innovation Week</a:t>
            </a:r>
            <a:r>
              <a:rPr kumimoji="0" lang="ja-JP" altLang="en-US" sz="1200" b="1" dirty="0">
                <a:latin typeface="Meiryo UI" panose="020B0604030504040204" pitchFamily="50" charset="-128"/>
                <a:ea typeface="Meiryo UI" panose="020B0604030504040204" pitchFamily="50" charset="-128"/>
              </a:rPr>
              <a:t>（</a:t>
            </a:r>
            <a:r>
              <a:rPr kumimoji="0" lang="en-US" altLang="ja-JP" sz="1200" b="1" dirty="0">
                <a:latin typeface="Meiryo UI" panose="020B0604030504040204" pitchFamily="50" charset="-128"/>
                <a:ea typeface="Meiryo UI" panose="020B0604030504040204" pitchFamily="50" charset="-128"/>
              </a:rPr>
              <a:t>10</a:t>
            </a:r>
            <a:r>
              <a:rPr kumimoji="0" lang="ja-JP" altLang="en-US" sz="1200" b="1" dirty="0">
                <a:latin typeface="Meiryo UI" panose="020B0604030504040204" pitchFamily="50" charset="-128"/>
                <a:ea typeface="Meiryo UI" panose="020B0604030504040204" pitchFamily="50" charset="-128"/>
              </a:rPr>
              <a:t>月</a:t>
            </a:r>
            <a:r>
              <a:rPr kumimoji="0" lang="en-US" altLang="ja-JP" sz="1200" b="1" dirty="0">
                <a:latin typeface="Meiryo UI" panose="020B0604030504040204" pitchFamily="50" charset="-128"/>
                <a:ea typeface="Meiryo UI" panose="020B0604030504040204" pitchFamily="50" charset="-128"/>
              </a:rPr>
              <a:t>5</a:t>
            </a:r>
            <a:r>
              <a:rPr kumimoji="0" lang="ja-JP" altLang="en-US" sz="1200" b="1" dirty="0">
                <a:latin typeface="Meiryo UI" panose="020B0604030504040204" pitchFamily="50" charset="-128"/>
                <a:ea typeface="Meiryo UI" panose="020B0604030504040204" pitchFamily="50" charset="-128"/>
              </a:rPr>
              <a:t>日（月）～</a:t>
            </a:r>
            <a:r>
              <a:rPr kumimoji="0" lang="en-US" altLang="ja-JP" sz="1200" b="1" dirty="0">
                <a:latin typeface="Meiryo UI" panose="020B0604030504040204" pitchFamily="50" charset="-128"/>
                <a:ea typeface="Meiryo UI" panose="020B0604030504040204" pitchFamily="50" charset="-128"/>
              </a:rPr>
              <a:t>3</a:t>
            </a:r>
            <a:r>
              <a:rPr kumimoji="0" lang="ja-JP" altLang="en-US" sz="1200" b="1" dirty="0">
                <a:latin typeface="Meiryo UI" panose="020B0604030504040204" pitchFamily="50" charset="-128"/>
                <a:ea typeface="Meiryo UI" panose="020B0604030504040204" pitchFamily="50" charset="-128"/>
              </a:rPr>
              <a:t>日間 </a:t>
            </a:r>
            <a:r>
              <a:rPr kumimoji="0" lang="en-US" altLang="ja-JP" sz="1000" b="1" dirty="0">
                <a:latin typeface="Meiryo UI" panose="020B0604030504040204" pitchFamily="50" charset="-128"/>
                <a:ea typeface="Meiryo UI" panose="020B0604030504040204" pitchFamily="50" charset="-128"/>
              </a:rPr>
              <a:t>※</a:t>
            </a:r>
            <a:r>
              <a:rPr kumimoji="0" lang="ja-JP" altLang="en-US" sz="1000" b="1" dirty="0">
                <a:latin typeface="Meiryo UI" panose="020B0604030504040204" pitchFamily="50" charset="-128"/>
                <a:ea typeface="Meiryo UI" panose="020B0604030504040204" pitchFamily="50" charset="-128"/>
              </a:rPr>
              <a:t>今後国とも調整</a:t>
            </a:r>
            <a:r>
              <a:rPr kumimoji="0" lang="ja-JP" altLang="en-US" sz="1200" b="1" dirty="0">
                <a:latin typeface="Meiryo UI" panose="020B0604030504040204" pitchFamily="50" charset="-128"/>
                <a:ea typeface="Meiryo UI" panose="020B0604030504040204" pitchFamily="50" charset="-128"/>
              </a:rPr>
              <a:t>）</a:t>
            </a:r>
          </a:p>
        </p:txBody>
      </p:sp>
      <p:sp>
        <p:nvSpPr>
          <p:cNvPr id="21" name="テキスト ボックス 20">
            <a:extLst>
              <a:ext uri="{FF2B5EF4-FFF2-40B4-BE49-F238E27FC236}">
                <a16:creationId xmlns:a16="http://schemas.microsoft.com/office/drawing/2014/main" id="{61D9A54D-1788-4F34-8EB4-B451F8D9305B}"/>
              </a:ext>
            </a:extLst>
          </p:cNvPr>
          <p:cNvSpPr txBox="1"/>
          <p:nvPr/>
        </p:nvSpPr>
        <p:spPr>
          <a:xfrm>
            <a:off x="3602574" y="1852355"/>
            <a:ext cx="3363936" cy="338554"/>
          </a:xfrm>
          <a:prstGeom prst="rect">
            <a:avLst/>
          </a:prstGeom>
          <a:noFill/>
        </p:spPr>
        <p:txBody>
          <a:bodyPr wrap="square" rtlCol="0">
            <a:spAutoFit/>
          </a:bodyPr>
          <a:lstStyle/>
          <a:p>
            <a:pPr algn="ctr"/>
            <a:r>
              <a:rPr kumimoji="1" lang="en-US" altLang="ja-JP" sz="1600" b="1" dirty="0">
                <a:latin typeface="Meiryo UI" panose="020B0604030504040204" pitchFamily="50" charset="-128"/>
                <a:ea typeface="Meiryo UI" panose="020B0604030504040204" pitchFamily="50" charset="-128"/>
                <a:cs typeface="Meiryo UI" panose="020B0604030504040204" pitchFamily="50" charset="-128"/>
              </a:rPr>
              <a:t>Global Startup Expo2026</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72DDBB1A-9C1A-4962-A945-E702B8EED575}"/>
              </a:ext>
            </a:extLst>
          </p:cNvPr>
          <p:cNvSpPr/>
          <p:nvPr/>
        </p:nvSpPr>
        <p:spPr bwMode="auto">
          <a:xfrm>
            <a:off x="91563" y="1383476"/>
            <a:ext cx="2118271" cy="3876583"/>
          </a:xfrm>
          <a:prstGeom prst="rect">
            <a:avLst/>
          </a:prstGeom>
          <a:noFill/>
          <a:ln w="19050">
            <a:solidFill>
              <a:srgbClr val="B2B2B2"/>
            </a:solidFill>
            <a:miter lim="800000"/>
            <a:headEnd/>
            <a:tailEnd/>
          </a:ln>
          <a:effectLst/>
        </p:spPr>
        <p:txBody>
          <a:bodyPr wrap="square" rtlCol="0" anchor="t"/>
          <a:lstStyle/>
          <a:p>
            <a:r>
              <a:rPr kumimoji="0" lang="ja-JP" altLang="en-US" sz="1200" dirty="0">
                <a:latin typeface="Meiryo UI" panose="020B0604030504040204" pitchFamily="50" charset="-128"/>
                <a:ea typeface="Meiryo UI" panose="020B0604030504040204" pitchFamily="50" charset="-128"/>
              </a:rPr>
              <a:t>各拠点都市のイベントで</a:t>
            </a:r>
            <a:r>
              <a:rPr kumimoji="0" lang="en-US" altLang="ja-JP" sz="1200" dirty="0">
                <a:latin typeface="Meiryo UI" panose="020B0604030504040204" pitchFamily="50" charset="-128"/>
                <a:ea typeface="Meiryo UI" panose="020B0604030504040204" pitchFamily="50" charset="-128"/>
              </a:rPr>
              <a:t>GSE2026</a:t>
            </a:r>
            <a:r>
              <a:rPr kumimoji="0" lang="ja-JP" altLang="en-US" sz="1200" dirty="0">
                <a:latin typeface="Meiryo UI" panose="020B0604030504040204" pitchFamily="50" charset="-128"/>
                <a:ea typeface="Meiryo UI" panose="020B0604030504040204" pitchFamily="50" charset="-128"/>
              </a:rPr>
              <a:t>を</a:t>
            </a:r>
            <a:r>
              <a:rPr kumimoji="0" lang="en-US" altLang="ja-JP" sz="1200" dirty="0">
                <a:latin typeface="Meiryo UI" panose="020B0604030504040204" pitchFamily="50" charset="-128"/>
                <a:ea typeface="Meiryo UI" panose="020B0604030504040204" pitchFamily="50" charset="-128"/>
              </a:rPr>
              <a:t>PR</a:t>
            </a:r>
            <a:r>
              <a:rPr kumimoji="0" lang="ja-JP" altLang="en-US" sz="1200" dirty="0">
                <a:latin typeface="Meiryo UI" panose="020B0604030504040204" pitchFamily="50" charset="-128"/>
                <a:ea typeface="Meiryo UI" panose="020B0604030504040204" pitchFamily="50" charset="-128"/>
              </a:rPr>
              <a:t>し、機運・期待を高めていく。</a:t>
            </a:r>
            <a:endParaRPr kumimoji="0" lang="en-US" altLang="ja-JP" sz="1200" dirty="0">
              <a:latin typeface="Meiryo UI" panose="020B0604030504040204" pitchFamily="50" charset="-128"/>
              <a:ea typeface="Meiryo UI" panose="020B0604030504040204" pitchFamily="50" charset="-128"/>
            </a:endParaRPr>
          </a:p>
          <a:p>
            <a:endParaRPr kumimoji="0" lang="en-US" altLang="ja-JP" sz="800" dirty="0">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京都</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　スタートアップ</a:t>
            </a:r>
            <a:endParaRPr kumimoji="0" lang="en-US" altLang="ja-JP" sz="1200" dirty="0">
              <a:latin typeface="Meiryo UI" panose="020B0604030504040204" pitchFamily="50" charset="-128"/>
              <a:ea typeface="Meiryo UI" panose="020B0604030504040204" pitchFamily="50" charset="-128"/>
            </a:endParaRPr>
          </a:p>
          <a:p>
            <a:r>
              <a:rPr kumimoji="0" lang="ja-JP" altLang="en-US" sz="1200" dirty="0">
                <a:latin typeface="Meiryo UI" panose="020B0604030504040204" pitchFamily="50" charset="-128"/>
                <a:ea typeface="Meiryo UI" panose="020B0604030504040204" pitchFamily="50" charset="-128"/>
              </a:rPr>
              <a:t>　カンファレンス　</a:t>
            </a:r>
            <a:endParaRPr kumimoji="0" lang="en-US" altLang="ja-JP" sz="1200" dirty="0">
              <a:latin typeface="Meiryo UI" panose="020B0604030504040204" pitchFamily="50" charset="-128"/>
              <a:ea typeface="Meiryo UI" panose="020B0604030504040204" pitchFamily="50" charset="-128"/>
            </a:endParaRPr>
          </a:p>
          <a:p>
            <a:r>
              <a:rPr kumimoji="0" lang="ja-JP" altLang="en-US" sz="1200" dirty="0">
                <a:latin typeface="Meiryo UI" panose="020B0604030504040204" pitchFamily="50" charset="-128"/>
                <a:ea typeface="Meiryo UI" panose="020B0604030504040204" pitchFamily="50" charset="-128"/>
              </a:rPr>
              <a:t>　「</a:t>
            </a:r>
            <a:r>
              <a:rPr kumimoji="0" lang="en-US" altLang="ja-JP" sz="1200" dirty="0">
                <a:latin typeface="Meiryo UI" panose="020B0604030504040204" pitchFamily="50" charset="-128"/>
                <a:ea typeface="Meiryo UI" panose="020B0604030504040204" pitchFamily="50" charset="-128"/>
              </a:rPr>
              <a:t>IVS</a:t>
            </a:r>
            <a:r>
              <a:rPr kumimoji="0" lang="ja-JP" altLang="en-US" sz="1200" dirty="0">
                <a:latin typeface="Meiryo UI" panose="020B0604030504040204" pitchFamily="50" charset="-128"/>
                <a:ea typeface="Meiryo UI" panose="020B0604030504040204" pitchFamily="50" charset="-128"/>
              </a:rPr>
              <a:t>」</a:t>
            </a:r>
            <a:endParaRPr kumimoji="0" lang="en-US" altLang="ja-JP" sz="1200" dirty="0">
              <a:latin typeface="Meiryo UI" panose="020B0604030504040204" pitchFamily="50" charset="-128"/>
              <a:ea typeface="Meiryo UI" panose="020B0604030504040204" pitchFamily="50" charset="-128"/>
            </a:endParaRPr>
          </a:p>
          <a:p>
            <a:endParaRPr kumimoji="0" lang="en-US" altLang="ja-JP" sz="1200" dirty="0">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東京</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　グローバル</a:t>
            </a:r>
            <a:r>
              <a:rPr kumimoji="0" lang="en-US" altLang="ja-JP" sz="1200" dirty="0">
                <a:latin typeface="Meiryo UI" panose="020B0604030504040204" pitchFamily="50" charset="-128"/>
                <a:ea typeface="Meiryo UI" panose="020B0604030504040204" pitchFamily="50" charset="-128"/>
              </a:rPr>
              <a:t>CVC</a:t>
            </a:r>
          </a:p>
          <a:p>
            <a:r>
              <a:rPr kumimoji="0" lang="ja-JP" altLang="en-US" sz="1200" dirty="0">
                <a:latin typeface="Meiryo UI" panose="020B0604030504040204" pitchFamily="50" charset="-128"/>
                <a:ea typeface="Meiryo UI" panose="020B0604030504040204" pitchFamily="50" charset="-128"/>
              </a:rPr>
              <a:t>　カンファレンス</a:t>
            </a:r>
            <a:endParaRPr kumimoji="0" lang="en-US" altLang="ja-JP" sz="1200" dirty="0">
              <a:latin typeface="Meiryo UI" panose="020B0604030504040204" pitchFamily="50" charset="-128"/>
              <a:ea typeface="Meiryo UI" panose="020B0604030504040204" pitchFamily="50" charset="-128"/>
            </a:endParaRPr>
          </a:p>
          <a:p>
            <a:endParaRPr kumimoji="0" lang="en-US" altLang="ja-JP" sz="1200" dirty="0">
              <a:solidFill>
                <a:srgbClr val="FF0000"/>
              </a:solidFill>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大阪</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　</a:t>
            </a:r>
            <a:r>
              <a:rPr kumimoji="0" lang="en-US" altLang="ja-JP" sz="1200" dirty="0" err="1">
                <a:latin typeface="Meiryo UI" panose="020B0604030504040204" pitchFamily="50" charset="-128"/>
                <a:ea typeface="Meiryo UI" panose="020B0604030504040204" pitchFamily="50" charset="-128"/>
              </a:rPr>
              <a:t>TechOsaka</a:t>
            </a:r>
            <a:endParaRPr kumimoji="0" lang="en-US" altLang="ja-JP" sz="1200" dirty="0">
              <a:latin typeface="Meiryo UI" panose="020B0604030504040204" pitchFamily="50" charset="-128"/>
              <a:ea typeface="Meiryo UI" panose="020B0604030504040204" pitchFamily="50" charset="-128"/>
            </a:endParaRPr>
          </a:p>
          <a:p>
            <a:r>
              <a:rPr kumimoji="0" lang="ja-JP" altLang="en-US" sz="1200" dirty="0">
                <a:latin typeface="Meiryo UI" panose="020B0604030504040204" pitchFamily="50" charset="-128"/>
                <a:ea typeface="Meiryo UI" panose="020B0604030504040204" pitchFamily="50" charset="-128"/>
              </a:rPr>
              <a:t>　</a:t>
            </a:r>
            <a:r>
              <a:rPr kumimoji="0" lang="en-US" altLang="ja-JP" sz="1200" dirty="0">
                <a:latin typeface="Meiryo UI" panose="020B0604030504040204" pitchFamily="50" charset="-128"/>
                <a:ea typeface="Meiryo UI" panose="020B0604030504040204" pitchFamily="50" charset="-128"/>
              </a:rPr>
              <a:t>Summit</a:t>
            </a:r>
          </a:p>
          <a:p>
            <a:endParaRPr kumimoji="0" lang="en-US" altLang="ja-JP" sz="1200" dirty="0">
              <a:latin typeface="Meiryo UI" panose="020B0604030504040204" pitchFamily="50" charset="-128"/>
              <a:ea typeface="Meiryo UI" panose="020B0604030504040204" pitchFamily="50" charset="-128"/>
            </a:endParaRPr>
          </a:p>
          <a:p>
            <a:r>
              <a:rPr kumimoji="0" lang="ja-JP" altLang="en-US" sz="1200" dirty="0">
                <a:latin typeface="Meiryo UI" panose="020B0604030504040204" pitchFamily="50" charset="-128"/>
                <a:ea typeface="Meiryo UI" panose="020B0604030504040204" pitchFamily="50" charset="-128"/>
              </a:rPr>
              <a:t>その他、愛知、福岡など全国の自治体と連携</a:t>
            </a:r>
            <a:endParaRPr kumimoji="0" lang="en-US" altLang="ja-JP" sz="1200" dirty="0">
              <a:latin typeface="Meiryo UI" panose="020B0604030504040204" pitchFamily="50" charset="-128"/>
              <a:ea typeface="Meiryo UI" panose="020B0604030504040204" pitchFamily="50" charset="-128"/>
            </a:endParaRPr>
          </a:p>
        </p:txBody>
      </p:sp>
      <p:sp>
        <p:nvSpPr>
          <p:cNvPr id="43" name="二等辺三角形 42">
            <a:extLst>
              <a:ext uri="{FF2B5EF4-FFF2-40B4-BE49-F238E27FC236}">
                <a16:creationId xmlns:a16="http://schemas.microsoft.com/office/drawing/2014/main" id="{BD9EFEDA-DD72-4761-AABE-F32DC13BEA88}"/>
              </a:ext>
            </a:extLst>
          </p:cNvPr>
          <p:cNvSpPr/>
          <p:nvPr/>
        </p:nvSpPr>
        <p:spPr bwMode="auto">
          <a:xfrm rot="5400000">
            <a:off x="1525383" y="3309719"/>
            <a:ext cx="1619480" cy="181128"/>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314032D7-CF27-4418-A597-682F25A04FB8}"/>
              </a:ext>
            </a:extLst>
          </p:cNvPr>
          <p:cNvSpPr/>
          <p:nvPr/>
        </p:nvSpPr>
        <p:spPr bwMode="auto">
          <a:xfrm>
            <a:off x="8451996" y="1840069"/>
            <a:ext cx="1409759" cy="3346348"/>
          </a:xfrm>
          <a:prstGeom prst="rect">
            <a:avLst/>
          </a:prstGeom>
          <a:noFill/>
          <a:ln w="19050">
            <a:solidFill>
              <a:srgbClr val="B2B2B2"/>
            </a:solidFill>
            <a:miter lim="800000"/>
            <a:headEnd/>
            <a:tailEnd/>
          </a:ln>
          <a:effectLst/>
        </p:spPr>
        <p:txBody>
          <a:bodyPr wrap="square" rtlCol="0" anchor="ctr"/>
          <a:lstStyle/>
          <a:p>
            <a:endParaRPr kumimoji="0" lang="en-US" altLang="ja-JP" sz="1100"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国内研究シーズと海外経営人材のマッチング、海外進出支援</a:t>
            </a:r>
            <a:endParaRPr kumimoji="0" lang="en-US" altLang="ja-JP" sz="1400" b="1" dirty="0">
              <a:latin typeface="Meiryo UI" panose="020B0604030504040204" pitchFamily="50" charset="-128"/>
              <a:ea typeface="Meiryo UI" panose="020B0604030504040204" pitchFamily="50" charset="-128"/>
            </a:endParaRPr>
          </a:p>
          <a:p>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ビジネスマッチング・視察を通じた海外</a:t>
            </a:r>
            <a:r>
              <a:rPr kumimoji="0" lang="en-US" altLang="ja-JP" sz="1400" b="1" dirty="0">
                <a:latin typeface="Meiryo UI" panose="020B0604030504040204" pitchFamily="50" charset="-128"/>
                <a:ea typeface="Meiryo UI" panose="020B0604030504040204" pitchFamily="50" charset="-128"/>
              </a:rPr>
              <a:t>SU</a:t>
            </a:r>
            <a:r>
              <a:rPr kumimoji="0" lang="ja-JP" altLang="en-US" sz="1400" b="1" dirty="0">
                <a:latin typeface="Meiryo UI" panose="020B0604030504040204" pitchFamily="50" charset="-128"/>
                <a:ea typeface="Meiryo UI" panose="020B0604030504040204" pitchFamily="50" charset="-128"/>
              </a:rPr>
              <a:t>・</a:t>
            </a:r>
            <a:r>
              <a:rPr kumimoji="0" lang="en-US" altLang="ja-JP" sz="1400" b="1" dirty="0">
                <a:latin typeface="Meiryo UI" panose="020B0604030504040204" pitchFamily="50" charset="-128"/>
                <a:ea typeface="Meiryo UI" panose="020B0604030504040204" pitchFamily="50" charset="-128"/>
              </a:rPr>
              <a:t>VC</a:t>
            </a:r>
            <a:r>
              <a:rPr kumimoji="0" lang="ja-JP" altLang="en-US" sz="1400" b="1" dirty="0">
                <a:latin typeface="Meiryo UI" panose="020B0604030504040204" pitchFamily="50" charset="-128"/>
                <a:ea typeface="Meiryo UI" panose="020B0604030504040204" pitchFamily="50" charset="-128"/>
              </a:rPr>
              <a:t>の活動定着</a:t>
            </a:r>
            <a:endParaRPr kumimoji="0" lang="en-US" altLang="ja-JP" sz="1400" dirty="0">
              <a:latin typeface="Meiryo UI" panose="020B0604030504040204" pitchFamily="50" charset="-128"/>
              <a:ea typeface="Meiryo UI" panose="020B0604030504040204" pitchFamily="50" charset="-128"/>
            </a:endParaRPr>
          </a:p>
          <a:p>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官民実証推進チーム等による社会実証の支援</a:t>
            </a:r>
            <a:endParaRPr kumimoji="0" lang="en-US" altLang="ja-JP" sz="1100" dirty="0">
              <a:latin typeface="Meiryo UI" panose="020B0604030504040204" pitchFamily="50" charset="-128"/>
              <a:ea typeface="Meiryo UI" panose="020B0604030504040204" pitchFamily="50" charset="-128"/>
            </a:endParaRPr>
          </a:p>
          <a:p>
            <a:pPr algn="r"/>
            <a:r>
              <a:rPr kumimoji="0" lang="en-US" altLang="ja-JP" sz="1100" dirty="0">
                <a:latin typeface="Meiryo UI" panose="020B0604030504040204" pitchFamily="50" charset="-128"/>
                <a:ea typeface="Meiryo UI" panose="020B0604030504040204" pitchFamily="50" charset="-128"/>
              </a:rPr>
              <a:t> </a:t>
            </a:r>
            <a:r>
              <a:rPr kumimoji="0" lang="en-US" altLang="ja-JP" sz="1100" u="sng" dirty="0">
                <a:latin typeface="Meiryo UI" panose="020B0604030504040204" pitchFamily="50" charset="-128"/>
                <a:ea typeface="Meiryo UI" panose="020B0604030504040204" pitchFamily="50" charset="-128"/>
              </a:rPr>
              <a:t>【P.8</a:t>
            </a:r>
            <a:r>
              <a:rPr kumimoji="0" lang="ja-JP" altLang="en-US" sz="1100" u="sng" dirty="0">
                <a:latin typeface="Meiryo UI" panose="020B0604030504040204" pitchFamily="50" charset="-128"/>
                <a:ea typeface="Meiryo UI" panose="020B0604030504040204" pitchFamily="50" charset="-128"/>
              </a:rPr>
              <a:t>参照</a:t>
            </a:r>
            <a:r>
              <a:rPr kumimoji="0" lang="en-US" altLang="ja-JP" sz="1100" u="sng" dirty="0">
                <a:latin typeface="Meiryo UI" panose="020B0604030504040204" pitchFamily="50" charset="-128"/>
                <a:ea typeface="Meiryo UI" panose="020B0604030504040204" pitchFamily="50" charset="-128"/>
              </a:rPr>
              <a:t>】</a:t>
            </a:r>
          </a:p>
        </p:txBody>
      </p:sp>
      <p:sp>
        <p:nvSpPr>
          <p:cNvPr id="67" name="二等辺三角形 66">
            <a:extLst>
              <a:ext uri="{FF2B5EF4-FFF2-40B4-BE49-F238E27FC236}">
                <a16:creationId xmlns:a16="http://schemas.microsoft.com/office/drawing/2014/main" id="{D0068084-3DE0-426B-9B80-C6BCD174641C}"/>
              </a:ext>
            </a:extLst>
          </p:cNvPr>
          <p:cNvSpPr/>
          <p:nvPr/>
        </p:nvSpPr>
        <p:spPr bwMode="auto">
          <a:xfrm rot="5400000">
            <a:off x="7537569" y="3338436"/>
            <a:ext cx="1619480" cy="181128"/>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C1B7BAE9-528C-4AA9-A070-87A88676B6B4}"/>
              </a:ext>
            </a:extLst>
          </p:cNvPr>
          <p:cNvSpPr txBox="1"/>
          <p:nvPr/>
        </p:nvSpPr>
        <p:spPr>
          <a:xfrm>
            <a:off x="8653890" y="1429669"/>
            <a:ext cx="2101677" cy="307777"/>
          </a:xfrm>
          <a:prstGeom prst="rect">
            <a:avLst/>
          </a:prstGeom>
          <a:noFill/>
        </p:spPr>
        <p:txBody>
          <a:bodyPr wrap="square" rtlCol="0">
            <a:spAutoFit/>
          </a:bodyPr>
          <a:lstStyle/>
          <a:p>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フォローアップ</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2" name="直線矢印コネクタ 71">
            <a:extLst>
              <a:ext uri="{FF2B5EF4-FFF2-40B4-BE49-F238E27FC236}">
                <a16:creationId xmlns:a16="http://schemas.microsoft.com/office/drawing/2014/main" id="{AD4C994F-CB2E-4DA0-9EA8-9574CE3C3D39}"/>
              </a:ext>
            </a:extLst>
          </p:cNvPr>
          <p:cNvCxnSpPr>
            <a:cxnSpLocks/>
          </p:cNvCxnSpPr>
          <p:nvPr/>
        </p:nvCxnSpPr>
        <p:spPr>
          <a:xfrm flipV="1">
            <a:off x="8278624" y="1602456"/>
            <a:ext cx="355886" cy="133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3EB3D6FF-4CA7-4456-83A5-546F769F4483}"/>
              </a:ext>
            </a:extLst>
          </p:cNvPr>
          <p:cNvSpPr/>
          <p:nvPr/>
        </p:nvSpPr>
        <p:spPr bwMode="auto">
          <a:xfrm>
            <a:off x="2563442" y="4721498"/>
            <a:ext cx="5470265" cy="199446"/>
          </a:xfrm>
          <a:prstGeom prst="rect">
            <a:avLst/>
          </a:prstGeom>
          <a:solidFill>
            <a:schemeClr val="accent6">
              <a:lumMod val="60000"/>
              <a:lumOff val="40000"/>
            </a:schemeClr>
          </a:solidFill>
          <a:ln w="28575">
            <a:solidFill>
              <a:schemeClr val="accent2"/>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合同ネットワーキング</a:t>
            </a:r>
          </a:p>
        </p:txBody>
      </p:sp>
      <p:sp>
        <p:nvSpPr>
          <p:cNvPr id="10" name="正方形/長方形 9">
            <a:extLst>
              <a:ext uri="{FF2B5EF4-FFF2-40B4-BE49-F238E27FC236}">
                <a16:creationId xmlns:a16="http://schemas.microsoft.com/office/drawing/2014/main" id="{2A1966EA-E887-4DCA-BA87-3F926B3B04B2}"/>
              </a:ext>
            </a:extLst>
          </p:cNvPr>
          <p:cNvSpPr/>
          <p:nvPr/>
        </p:nvSpPr>
        <p:spPr bwMode="auto">
          <a:xfrm>
            <a:off x="2544400" y="2281345"/>
            <a:ext cx="1894962" cy="1939969"/>
          </a:xfrm>
          <a:prstGeom prst="rect">
            <a:avLst/>
          </a:prstGeom>
          <a:solidFill>
            <a:schemeClr val="tx2"/>
          </a:solidFill>
          <a:ln w="19050">
            <a:solidFill>
              <a:srgbClr val="B2B2B2"/>
            </a:solidFill>
            <a:miter lim="800000"/>
            <a:headEnd/>
            <a:tailEnd/>
          </a:ln>
          <a:effectLst/>
        </p:spPr>
        <p:txBody>
          <a:bodyPr wrap="squar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バイオ</a:t>
            </a:r>
            <a:r>
              <a:rPr kumimoji="0" lang="en-US" altLang="ja-JP" sz="1600" b="1" dirty="0">
                <a:solidFill>
                  <a:schemeClr val="bg1"/>
                </a:solidFill>
                <a:latin typeface="Meiryo UI" panose="020B0604030504040204" pitchFamily="50" charset="-128"/>
                <a:ea typeface="Meiryo UI" panose="020B0604030504040204" pitchFamily="50" charset="-128"/>
              </a:rPr>
              <a:t>/</a:t>
            </a:r>
          </a:p>
          <a:p>
            <a:pPr algn="ctr"/>
            <a:r>
              <a:rPr kumimoji="0" lang="ja-JP" altLang="en-US" sz="1600" b="1" dirty="0">
                <a:solidFill>
                  <a:schemeClr val="bg1"/>
                </a:solidFill>
                <a:latin typeface="Meiryo UI" panose="020B0604030504040204" pitchFamily="50" charset="-128"/>
                <a:ea typeface="Meiryo UI" panose="020B0604030504040204" pitchFamily="50" charset="-128"/>
              </a:rPr>
              <a:t>ヘルスケア</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ctr"/>
            <a:endParaRPr kumimoji="0" lang="en-US" altLang="ja-JP" sz="1100" b="1" dirty="0">
              <a:solidFill>
                <a:schemeClr val="bg1"/>
              </a:solidFill>
              <a:latin typeface="Meiryo UI" panose="020B0604030504040204" pitchFamily="50" charset="-128"/>
              <a:ea typeface="Meiryo UI" panose="020B0604030504040204" pitchFamily="50" charset="-128"/>
            </a:endParaRPr>
          </a:p>
          <a:p>
            <a:pPr algn="ctr"/>
            <a:r>
              <a:rPr kumimoji="0" lang="en-US" altLang="ja-JP" sz="1100" b="1" dirty="0">
                <a:solidFill>
                  <a:schemeClr val="bg1"/>
                </a:solidFill>
                <a:latin typeface="Meiryo UI" panose="020B0604030504040204" pitchFamily="50" charset="-128"/>
                <a:ea typeface="Meiryo UI" panose="020B0604030504040204" pitchFamily="50" charset="-128"/>
              </a:rPr>
              <a:t>Treg</a:t>
            </a:r>
            <a:r>
              <a:rPr kumimoji="0" lang="ja-JP" altLang="en-US" sz="1100" b="1" dirty="0">
                <a:solidFill>
                  <a:schemeClr val="bg1"/>
                </a:solidFill>
                <a:latin typeface="Meiryo UI" panose="020B0604030504040204" pitchFamily="50" charset="-128"/>
                <a:ea typeface="Meiryo UI" panose="020B0604030504040204" pitchFamily="50" charset="-128"/>
              </a:rPr>
              <a:t>細胞の可能性と</a:t>
            </a:r>
            <a:endParaRPr kumimoji="0" lang="en-US" altLang="ja-JP" sz="1100" b="1" dirty="0">
              <a:solidFill>
                <a:schemeClr val="bg1"/>
              </a:solidFill>
              <a:latin typeface="Meiryo UI" panose="020B0604030504040204" pitchFamily="50" charset="-128"/>
              <a:ea typeface="Meiryo UI" panose="020B0604030504040204" pitchFamily="50" charset="-128"/>
            </a:endParaRPr>
          </a:p>
          <a:p>
            <a:pPr algn="ctr"/>
            <a:r>
              <a:rPr kumimoji="0" lang="ja-JP" altLang="en-US" sz="1100" b="1" dirty="0">
                <a:solidFill>
                  <a:schemeClr val="bg1"/>
                </a:solidFill>
                <a:latin typeface="Meiryo UI" panose="020B0604030504040204" pitchFamily="50" charset="-128"/>
                <a:ea typeface="Meiryo UI" panose="020B0604030504040204" pitchFamily="50" charset="-128"/>
              </a:rPr>
              <a:t>実用化の最前線</a:t>
            </a:r>
            <a:endParaRPr kumimoji="0" lang="en-US" altLang="ja-JP" sz="1100" b="1" dirty="0">
              <a:solidFill>
                <a:schemeClr val="bg1"/>
              </a:solidFill>
              <a:latin typeface="Meiryo UI" panose="020B0604030504040204" pitchFamily="50" charset="-128"/>
              <a:ea typeface="Meiryo UI" panose="020B0604030504040204" pitchFamily="50" charset="-128"/>
            </a:endParaRPr>
          </a:p>
          <a:p>
            <a:pPr algn="ctr"/>
            <a:endParaRPr kumimoji="0" lang="en-US" altLang="ja-JP" sz="1100" b="1" dirty="0">
              <a:solidFill>
                <a:schemeClr val="bg1"/>
              </a:solidFill>
              <a:latin typeface="Meiryo UI" panose="020B0604030504040204" pitchFamily="50" charset="-128"/>
              <a:ea typeface="Meiryo UI" panose="020B0604030504040204" pitchFamily="50" charset="-128"/>
            </a:endParaRPr>
          </a:p>
        </p:txBody>
      </p:sp>
      <p:sp>
        <p:nvSpPr>
          <p:cNvPr id="82" name="正方形/長方形 81">
            <a:extLst>
              <a:ext uri="{FF2B5EF4-FFF2-40B4-BE49-F238E27FC236}">
                <a16:creationId xmlns:a16="http://schemas.microsoft.com/office/drawing/2014/main" id="{FCA99B9C-AD2D-4488-8C9A-89C45023AAA7}"/>
              </a:ext>
            </a:extLst>
          </p:cNvPr>
          <p:cNvSpPr/>
          <p:nvPr/>
        </p:nvSpPr>
        <p:spPr bwMode="auto">
          <a:xfrm>
            <a:off x="4476005" y="2279390"/>
            <a:ext cx="1781622" cy="1939969"/>
          </a:xfrm>
          <a:prstGeom prst="rect">
            <a:avLst/>
          </a:prstGeom>
          <a:solidFill>
            <a:schemeClr val="tx2"/>
          </a:solidFill>
          <a:ln w="19050">
            <a:solidFill>
              <a:srgbClr val="B2B2B2"/>
            </a:solidFill>
            <a:miter lim="800000"/>
            <a:headEnd/>
            <a:tailEnd/>
          </a:ln>
          <a:effectLst/>
        </p:spPr>
        <p:txBody>
          <a:bodyPr wrap="squar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量子</a:t>
            </a:r>
            <a:r>
              <a:rPr kumimoji="0" lang="en-US" altLang="ja-JP" sz="1600" b="1" dirty="0">
                <a:solidFill>
                  <a:schemeClr val="bg1"/>
                </a:solidFill>
                <a:latin typeface="Meiryo UI" panose="020B0604030504040204" pitchFamily="50" charset="-128"/>
                <a:ea typeface="Meiryo UI" panose="020B0604030504040204" pitchFamily="50" charset="-128"/>
              </a:rPr>
              <a:t>/</a:t>
            </a:r>
            <a:r>
              <a:rPr kumimoji="0" lang="ja-JP" altLang="en-US" sz="1600" b="1" dirty="0">
                <a:solidFill>
                  <a:schemeClr val="bg1"/>
                </a:solidFill>
                <a:latin typeface="Meiryo UI" panose="020B0604030504040204" pitchFamily="50" charset="-128"/>
                <a:ea typeface="Meiryo UI" panose="020B0604030504040204" pitchFamily="50" charset="-128"/>
              </a:rPr>
              <a:t>宇宙</a:t>
            </a:r>
            <a:r>
              <a:rPr kumimoji="0" lang="en-US" altLang="ja-JP" sz="1600" b="1" dirty="0">
                <a:solidFill>
                  <a:schemeClr val="bg1"/>
                </a:solidFill>
                <a:latin typeface="Meiryo UI" panose="020B0604030504040204" pitchFamily="50" charset="-128"/>
                <a:ea typeface="Meiryo UI" panose="020B0604030504040204" pitchFamily="50" charset="-128"/>
              </a:rPr>
              <a:t>/</a:t>
            </a:r>
          </a:p>
          <a:p>
            <a:pPr algn="ctr"/>
            <a:r>
              <a:rPr kumimoji="0" lang="ja-JP" altLang="en-US" sz="1600" b="1" dirty="0">
                <a:solidFill>
                  <a:schemeClr val="bg1"/>
                </a:solidFill>
                <a:latin typeface="Meiryo UI" panose="020B0604030504040204" pitchFamily="50" charset="-128"/>
                <a:ea typeface="Meiryo UI" panose="020B0604030504040204" pitchFamily="50" charset="-128"/>
              </a:rPr>
              <a:t>フュージョン</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ctr"/>
            <a:endParaRPr kumimoji="0" lang="en-US" altLang="ja-JP" sz="1100" b="1" dirty="0">
              <a:solidFill>
                <a:schemeClr val="bg1"/>
              </a:solidFill>
              <a:latin typeface="Meiryo UI" panose="020B0604030504040204" pitchFamily="50" charset="-128"/>
              <a:ea typeface="Meiryo UI" panose="020B0604030504040204" pitchFamily="50" charset="-128"/>
            </a:endParaRPr>
          </a:p>
          <a:p>
            <a:r>
              <a:rPr kumimoji="0" lang="ja-JP" altLang="en-US" sz="1100" b="1" dirty="0">
                <a:solidFill>
                  <a:schemeClr val="bg1"/>
                </a:solidFill>
                <a:latin typeface="Meiryo UI" panose="020B0604030504040204" pitchFamily="50" charset="-128"/>
                <a:ea typeface="Meiryo UI" panose="020B0604030504040204" pitchFamily="50" charset="-128"/>
              </a:rPr>
              <a:t>・量子技術で加速する核融</a:t>
            </a:r>
            <a:endParaRPr kumimoji="0" lang="en-US" altLang="ja-JP" sz="1100" b="1" dirty="0">
              <a:solidFill>
                <a:schemeClr val="bg1"/>
              </a:solidFill>
              <a:latin typeface="Meiryo UI" panose="020B0604030504040204" pitchFamily="50" charset="-128"/>
              <a:ea typeface="Meiryo UI" panose="020B0604030504040204" pitchFamily="50" charset="-128"/>
            </a:endParaRPr>
          </a:p>
          <a:p>
            <a:r>
              <a:rPr kumimoji="0" lang="en-US" altLang="ja-JP" sz="1100" b="1" dirty="0">
                <a:solidFill>
                  <a:schemeClr val="bg1"/>
                </a:solidFill>
                <a:latin typeface="Meiryo UI" panose="020B0604030504040204" pitchFamily="50" charset="-128"/>
                <a:ea typeface="Meiryo UI" panose="020B0604030504040204" pitchFamily="50" charset="-128"/>
              </a:rPr>
              <a:t> </a:t>
            </a:r>
            <a:r>
              <a:rPr kumimoji="0" lang="ja-JP" altLang="en-US" sz="1100" b="1" dirty="0">
                <a:solidFill>
                  <a:schemeClr val="bg1"/>
                </a:solidFill>
                <a:latin typeface="Meiryo UI" panose="020B0604030504040204" pitchFamily="50" charset="-128"/>
                <a:ea typeface="Meiryo UI" panose="020B0604030504040204" pitchFamily="50" charset="-128"/>
              </a:rPr>
              <a:t>合エネルギーの実用化</a:t>
            </a:r>
            <a:endParaRPr kumimoji="0" lang="en-US" altLang="ja-JP" sz="1100" b="1" dirty="0">
              <a:solidFill>
                <a:schemeClr val="bg1"/>
              </a:solidFill>
              <a:latin typeface="Meiryo UI" panose="020B0604030504040204" pitchFamily="50" charset="-128"/>
              <a:ea typeface="Meiryo UI" panose="020B0604030504040204" pitchFamily="50" charset="-128"/>
            </a:endParaRPr>
          </a:p>
          <a:p>
            <a:r>
              <a:rPr kumimoji="0" lang="ja-JP" altLang="en-US" sz="1100" b="1" dirty="0">
                <a:solidFill>
                  <a:schemeClr val="bg1"/>
                </a:solidFill>
                <a:latin typeface="Meiryo UI" panose="020B0604030504040204" pitchFamily="50" charset="-128"/>
                <a:ea typeface="Meiryo UI" panose="020B0604030504040204" pitchFamily="50" charset="-128"/>
              </a:rPr>
              <a:t>・宇宙開発の未来</a:t>
            </a:r>
            <a:endParaRPr kumimoji="0" lang="en-US" altLang="ja-JP" sz="1100" b="1" dirty="0">
              <a:solidFill>
                <a:schemeClr val="bg1"/>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023AE568-F482-4A60-AC8B-4B5186C6E161}"/>
              </a:ext>
            </a:extLst>
          </p:cNvPr>
          <p:cNvSpPr/>
          <p:nvPr/>
        </p:nvSpPr>
        <p:spPr bwMode="auto">
          <a:xfrm>
            <a:off x="6271750" y="2279036"/>
            <a:ext cx="1800000" cy="1939969"/>
          </a:xfrm>
          <a:prstGeom prst="rect">
            <a:avLst/>
          </a:prstGeom>
          <a:solidFill>
            <a:schemeClr val="tx2"/>
          </a:solidFill>
          <a:ln w="19050">
            <a:solidFill>
              <a:srgbClr val="B2B2B2"/>
            </a:solidFill>
            <a:miter lim="800000"/>
            <a:headEnd/>
            <a:tailEnd/>
          </a:ln>
          <a:effectLst/>
        </p:spPr>
        <p:txBody>
          <a:bodyPr wrap="square" rtlCol="0" anchor="ctr"/>
          <a:lstStyle/>
          <a:p>
            <a:pPr algn="ctr"/>
            <a:r>
              <a:rPr kumimoji="0" lang="en-US" altLang="ja-JP" sz="1600" b="1" dirty="0">
                <a:solidFill>
                  <a:schemeClr val="bg1"/>
                </a:solidFill>
                <a:latin typeface="Meiryo UI" panose="020B0604030504040204" pitchFamily="50" charset="-128"/>
                <a:ea typeface="Meiryo UI" panose="020B0604030504040204" pitchFamily="50" charset="-128"/>
              </a:rPr>
              <a:t>AI/</a:t>
            </a:r>
            <a:r>
              <a:rPr kumimoji="0" lang="ja-JP" altLang="en-US" sz="1600" b="1" dirty="0">
                <a:solidFill>
                  <a:schemeClr val="bg1"/>
                </a:solidFill>
                <a:latin typeface="Meiryo UI" panose="020B0604030504040204" pitchFamily="50" charset="-128"/>
                <a:ea typeface="Meiryo UI" panose="020B0604030504040204" pitchFamily="50" charset="-128"/>
              </a:rPr>
              <a:t>ロボット</a:t>
            </a:r>
            <a:r>
              <a:rPr kumimoji="0" lang="en-US" altLang="ja-JP" sz="1600" b="1" dirty="0">
                <a:solidFill>
                  <a:schemeClr val="bg1"/>
                </a:solidFill>
                <a:latin typeface="Meiryo UI" panose="020B0604030504040204" pitchFamily="50" charset="-128"/>
                <a:ea typeface="Meiryo UI" panose="020B0604030504040204" pitchFamily="50" charset="-128"/>
              </a:rPr>
              <a:t>/</a:t>
            </a:r>
          </a:p>
          <a:p>
            <a:pPr algn="ctr"/>
            <a:r>
              <a:rPr kumimoji="0" lang="ja-JP" altLang="en-US" sz="1600" b="1" dirty="0">
                <a:solidFill>
                  <a:schemeClr val="bg1"/>
                </a:solidFill>
                <a:latin typeface="Meiryo UI" panose="020B0604030504040204" pitchFamily="50" charset="-128"/>
                <a:ea typeface="Meiryo UI" panose="020B0604030504040204" pitchFamily="50" charset="-128"/>
              </a:rPr>
              <a:t>半導体</a:t>
            </a:r>
            <a:endParaRPr kumimoji="0" lang="en-US" altLang="ja-JP" sz="1600" b="1" dirty="0">
              <a:solidFill>
                <a:schemeClr val="bg1"/>
              </a:solidFill>
              <a:latin typeface="Meiryo UI" panose="020B0604030504040204" pitchFamily="50" charset="-128"/>
              <a:ea typeface="Meiryo UI" panose="020B0604030504040204" pitchFamily="50" charset="-128"/>
            </a:endParaRPr>
          </a:p>
          <a:p>
            <a:r>
              <a:rPr kumimoji="0" lang="ja-JP" altLang="en-US" sz="1100" b="1" dirty="0">
                <a:solidFill>
                  <a:schemeClr val="bg1"/>
                </a:solidFill>
                <a:latin typeface="Meiryo UI" panose="020B0604030504040204" pitchFamily="50" charset="-128"/>
                <a:ea typeface="Meiryo UI" panose="020B0604030504040204" pitchFamily="50" charset="-128"/>
              </a:rPr>
              <a:t>・</a:t>
            </a:r>
            <a:r>
              <a:rPr kumimoji="0" lang="en-US" altLang="ja-JP" sz="1100" b="1" dirty="0">
                <a:solidFill>
                  <a:schemeClr val="bg1"/>
                </a:solidFill>
                <a:latin typeface="Meiryo UI" panose="020B0604030504040204" pitchFamily="50" charset="-128"/>
                <a:ea typeface="Meiryo UI" panose="020B0604030504040204" pitchFamily="50" charset="-128"/>
              </a:rPr>
              <a:t>AI</a:t>
            </a:r>
            <a:r>
              <a:rPr kumimoji="0" lang="ja-JP" altLang="en-US" sz="1100" b="1" dirty="0">
                <a:solidFill>
                  <a:schemeClr val="bg1"/>
                </a:solidFill>
                <a:latin typeface="Meiryo UI" panose="020B0604030504040204" pitchFamily="50" charset="-128"/>
                <a:ea typeface="Meiryo UI" panose="020B0604030504040204" pitchFamily="50" charset="-128"/>
              </a:rPr>
              <a:t>エージェントとフィジカル</a:t>
            </a:r>
            <a:endParaRPr kumimoji="0" lang="en-US" altLang="ja-JP" sz="1100" b="1" dirty="0">
              <a:solidFill>
                <a:schemeClr val="bg1"/>
              </a:solidFill>
              <a:latin typeface="Meiryo UI" panose="020B0604030504040204" pitchFamily="50" charset="-128"/>
              <a:ea typeface="Meiryo UI" panose="020B0604030504040204" pitchFamily="50" charset="-128"/>
            </a:endParaRPr>
          </a:p>
          <a:p>
            <a:r>
              <a:rPr kumimoji="0" lang="ja-JP" altLang="en-US" sz="1100" b="1" dirty="0">
                <a:solidFill>
                  <a:schemeClr val="bg1"/>
                </a:solidFill>
                <a:latin typeface="Meiryo UI" panose="020B0604030504040204" pitchFamily="50" charset="-128"/>
                <a:ea typeface="Meiryo UI" panose="020B0604030504040204" pitchFamily="50" charset="-128"/>
              </a:rPr>
              <a:t> </a:t>
            </a:r>
            <a:r>
              <a:rPr kumimoji="0" lang="en-US" altLang="ja-JP" sz="1100" b="1" dirty="0">
                <a:solidFill>
                  <a:schemeClr val="bg1"/>
                </a:solidFill>
                <a:latin typeface="Meiryo UI" panose="020B0604030504040204" pitchFamily="50" charset="-128"/>
                <a:ea typeface="Meiryo UI" panose="020B0604030504040204" pitchFamily="50" charset="-128"/>
              </a:rPr>
              <a:t>AI</a:t>
            </a:r>
            <a:r>
              <a:rPr kumimoji="0" lang="ja-JP" altLang="en-US" sz="1100" b="1" dirty="0">
                <a:solidFill>
                  <a:schemeClr val="bg1"/>
                </a:solidFill>
                <a:latin typeface="Meiryo UI" panose="020B0604030504040204" pitchFamily="50" charset="-128"/>
                <a:ea typeface="Meiryo UI" panose="020B0604030504040204" pitchFamily="50" charset="-128"/>
              </a:rPr>
              <a:t>がもたらすゲームチェンジ</a:t>
            </a:r>
            <a:endParaRPr kumimoji="0" lang="en-US" altLang="ja-JP" sz="1100" b="1" dirty="0">
              <a:solidFill>
                <a:schemeClr val="bg1"/>
              </a:solidFill>
              <a:latin typeface="Meiryo UI" panose="020B0604030504040204" pitchFamily="50" charset="-128"/>
              <a:ea typeface="Meiryo UI" panose="020B0604030504040204" pitchFamily="50" charset="-128"/>
            </a:endParaRPr>
          </a:p>
          <a:p>
            <a:r>
              <a:rPr kumimoji="0" lang="ja-JP" altLang="en-US" sz="1100" b="1" dirty="0">
                <a:solidFill>
                  <a:schemeClr val="bg1"/>
                </a:solidFill>
                <a:latin typeface="Meiryo UI" panose="020B0604030504040204" pitchFamily="50" charset="-128"/>
                <a:ea typeface="Meiryo UI" panose="020B0604030504040204" pitchFamily="50" charset="-128"/>
              </a:rPr>
              <a:t>・半導体の微細化限界と</a:t>
            </a:r>
            <a:endParaRPr kumimoji="0" lang="en-US" altLang="ja-JP" sz="1100" b="1" dirty="0">
              <a:solidFill>
                <a:schemeClr val="bg1"/>
              </a:solidFill>
              <a:latin typeface="Meiryo UI" panose="020B0604030504040204" pitchFamily="50" charset="-128"/>
              <a:ea typeface="Meiryo UI" panose="020B0604030504040204" pitchFamily="50" charset="-128"/>
            </a:endParaRPr>
          </a:p>
          <a:p>
            <a:r>
              <a:rPr kumimoji="0" lang="ja-JP" altLang="en-US" sz="1100" b="1" dirty="0">
                <a:solidFill>
                  <a:schemeClr val="bg1"/>
                </a:solidFill>
                <a:latin typeface="Meiryo UI" panose="020B0604030504040204" pitchFamily="50" charset="-128"/>
                <a:ea typeface="Meiryo UI" panose="020B0604030504040204" pitchFamily="50" charset="-128"/>
              </a:rPr>
              <a:t>　新技術</a:t>
            </a:r>
            <a:endParaRPr kumimoji="0" lang="en-US" altLang="ja-JP" sz="1100" b="1" dirty="0">
              <a:solidFill>
                <a:schemeClr val="bg1"/>
              </a:solidFill>
              <a:latin typeface="Meiryo UI" panose="020B0604030504040204" pitchFamily="50" charset="-128"/>
              <a:ea typeface="Meiryo UI" panose="020B0604030504040204" pitchFamily="50" charset="-128"/>
            </a:endParaRPr>
          </a:p>
        </p:txBody>
      </p:sp>
      <p:sp>
        <p:nvSpPr>
          <p:cNvPr id="85" name="正方形/長方形 84">
            <a:extLst>
              <a:ext uri="{FF2B5EF4-FFF2-40B4-BE49-F238E27FC236}">
                <a16:creationId xmlns:a16="http://schemas.microsoft.com/office/drawing/2014/main" id="{506B9568-1109-48EE-9606-A2445E5F0931}"/>
              </a:ext>
            </a:extLst>
          </p:cNvPr>
          <p:cNvSpPr/>
          <p:nvPr/>
        </p:nvSpPr>
        <p:spPr bwMode="auto">
          <a:xfrm>
            <a:off x="2556902" y="4244018"/>
            <a:ext cx="5496469" cy="460804"/>
          </a:xfrm>
          <a:prstGeom prst="rect">
            <a:avLst/>
          </a:prstGeom>
          <a:solidFill>
            <a:schemeClr val="tx2"/>
          </a:solidFill>
          <a:ln w="19050">
            <a:solidFill>
              <a:srgbClr val="B2B2B2"/>
            </a:solidFill>
            <a:miter lim="800000"/>
            <a:headEnd/>
            <a:tailEnd/>
          </a:ln>
          <a:effectLst/>
        </p:spPr>
        <p:txBody>
          <a:bodyPr wrap="squar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全国拠点都市のディープテック</a:t>
            </a:r>
            <a:r>
              <a:rPr kumimoji="0" lang="en-US" altLang="ja-JP" sz="1600" b="1" dirty="0">
                <a:solidFill>
                  <a:schemeClr val="bg1"/>
                </a:solidFill>
                <a:latin typeface="Meiryo UI" panose="020B0604030504040204" pitchFamily="50" charset="-128"/>
                <a:ea typeface="Meiryo UI" panose="020B0604030504040204" pitchFamily="50" charset="-128"/>
              </a:rPr>
              <a:t>SU</a:t>
            </a:r>
            <a:r>
              <a:rPr kumimoji="0" lang="ja-JP" altLang="en-US" sz="1600" b="1" dirty="0">
                <a:solidFill>
                  <a:schemeClr val="bg1"/>
                </a:solidFill>
                <a:latin typeface="Meiryo UI" panose="020B0604030504040204" pitchFamily="50" charset="-128"/>
                <a:ea typeface="Meiryo UI" panose="020B0604030504040204" pitchFamily="50" charset="-128"/>
              </a:rPr>
              <a:t>・支援機関と協働</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ctr"/>
            <a:r>
              <a:rPr kumimoji="0" lang="en-US" altLang="ja-JP" sz="1050" b="1" dirty="0">
                <a:solidFill>
                  <a:schemeClr val="bg1"/>
                </a:solidFill>
                <a:latin typeface="Meiryo UI" panose="020B0604030504040204" pitchFamily="50" charset="-128"/>
                <a:ea typeface="Meiryo UI" panose="020B0604030504040204" pitchFamily="50" charset="-128"/>
              </a:rPr>
              <a:t>AI</a:t>
            </a:r>
            <a:r>
              <a:rPr kumimoji="0" lang="ja-JP" altLang="en-US" sz="1050" b="1" dirty="0">
                <a:solidFill>
                  <a:schemeClr val="bg1"/>
                </a:solidFill>
                <a:latin typeface="Meiryo UI" panose="020B0604030504040204" pitchFamily="50" charset="-128"/>
                <a:ea typeface="Meiryo UI" panose="020B0604030504040204" pitchFamily="50" charset="-128"/>
              </a:rPr>
              <a:t>（東京）</a:t>
            </a:r>
            <a:r>
              <a:rPr kumimoji="0" lang="en-US" altLang="ja-JP" sz="1050" b="1" dirty="0">
                <a:solidFill>
                  <a:schemeClr val="bg1"/>
                </a:solidFill>
                <a:latin typeface="Meiryo UI" panose="020B0604030504040204" pitchFamily="50" charset="-128"/>
                <a:ea typeface="Meiryo UI" panose="020B0604030504040204" pitchFamily="50" charset="-128"/>
              </a:rPr>
              <a:t>/</a:t>
            </a:r>
            <a:r>
              <a:rPr kumimoji="0" lang="ja-JP" altLang="en-US" sz="1050" b="1" dirty="0">
                <a:solidFill>
                  <a:schemeClr val="bg1"/>
                </a:solidFill>
                <a:latin typeface="Meiryo UI" panose="020B0604030504040204" pitchFamily="50" charset="-128"/>
                <a:ea typeface="Meiryo UI" panose="020B0604030504040204" pitchFamily="50" charset="-128"/>
              </a:rPr>
              <a:t>ロボット（つくば）</a:t>
            </a:r>
            <a:r>
              <a:rPr kumimoji="0" lang="en-US" altLang="ja-JP" sz="1050" b="1" dirty="0">
                <a:solidFill>
                  <a:schemeClr val="bg1"/>
                </a:solidFill>
                <a:latin typeface="Meiryo UI" panose="020B0604030504040204" pitchFamily="50" charset="-128"/>
                <a:ea typeface="Meiryo UI" panose="020B0604030504040204" pitchFamily="50" charset="-128"/>
              </a:rPr>
              <a:t>/</a:t>
            </a:r>
            <a:r>
              <a:rPr kumimoji="0" lang="ja-JP" altLang="en-US" sz="1050" b="1" dirty="0">
                <a:solidFill>
                  <a:schemeClr val="bg1"/>
                </a:solidFill>
                <a:latin typeface="Meiryo UI" panose="020B0604030504040204" pitchFamily="50" charset="-128"/>
                <a:ea typeface="Meiryo UI" panose="020B0604030504040204" pitchFamily="50" charset="-128"/>
              </a:rPr>
              <a:t>宇宙（愛知）</a:t>
            </a:r>
            <a:r>
              <a:rPr kumimoji="0" lang="en-US" altLang="ja-JP" sz="1050" b="1" dirty="0">
                <a:solidFill>
                  <a:schemeClr val="bg1"/>
                </a:solidFill>
                <a:latin typeface="Meiryo UI" panose="020B0604030504040204" pitchFamily="50" charset="-128"/>
                <a:ea typeface="Meiryo UI" panose="020B0604030504040204" pitchFamily="50" charset="-128"/>
              </a:rPr>
              <a:t> /</a:t>
            </a:r>
            <a:r>
              <a:rPr kumimoji="0" lang="ja-JP" altLang="en-US" sz="1050" b="1" dirty="0">
                <a:solidFill>
                  <a:schemeClr val="bg1"/>
                </a:solidFill>
                <a:latin typeface="Meiryo UI" panose="020B0604030504040204" pitchFamily="50" charset="-128"/>
                <a:ea typeface="Meiryo UI" panose="020B0604030504040204" pitchFamily="50" charset="-128"/>
              </a:rPr>
              <a:t>半導体（九州）など</a:t>
            </a:r>
            <a:endParaRPr kumimoji="0" lang="en-US" altLang="ja-JP" sz="1050" b="1" dirty="0">
              <a:solidFill>
                <a:schemeClr val="bg1"/>
              </a:solidFill>
              <a:latin typeface="Meiryo UI" panose="020B0604030504040204" pitchFamily="50" charset="-128"/>
              <a:ea typeface="Meiryo UI" panose="020B0604030504040204" pitchFamily="50" charset="-128"/>
            </a:endParaRPr>
          </a:p>
        </p:txBody>
      </p:sp>
      <p:sp>
        <p:nvSpPr>
          <p:cNvPr id="50" name="スライド番号プレースホルダー 2">
            <a:extLst>
              <a:ext uri="{FF2B5EF4-FFF2-40B4-BE49-F238E27FC236}">
                <a16:creationId xmlns:a16="http://schemas.microsoft.com/office/drawing/2014/main" id="{C00E23F3-EEBD-4803-9FD7-EA612437C01E}"/>
              </a:ext>
            </a:extLst>
          </p:cNvPr>
          <p:cNvSpPr txBox="1">
            <a:spLocks/>
          </p:cNvSpPr>
          <p:nvPr/>
        </p:nvSpPr>
        <p:spPr>
          <a:xfrm>
            <a:off x="7450387" y="6575901"/>
            <a:ext cx="2311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a:t>
            </a:r>
            <a:endParaRPr lang="ja-JP" altLang="en-US"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2" name="正方形/長方形 51">
            <a:extLst>
              <a:ext uri="{FF2B5EF4-FFF2-40B4-BE49-F238E27FC236}">
                <a16:creationId xmlns:a16="http://schemas.microsoft.com/office/drawing/2014/main" id="{31B588ED-161B-422F-873C-8B41E5221C94}"/>
              </a:ext>
            </a:extLst>
          </p:cNvPr>
          <p:cNvSpPr/>
          <p:nvPr/>
        </p:nvSpPr>
        <p:spPr bwMode="auto">
          <a:xfrm>
            <a:off x="99719" y="5292630"/>
            <a:ext cx="9668364" cy="223500"/>
          </a:xfrm>
          <a:prstGeom prst="rect">
            <a:avLst/>
          </a:prstGeom>
          <a:solidFill>
            <a:schemeClr val="accent6">
              <a:lumMod val="20000"/>
              <a:lumOff val="80000"/>
            </a:schemeClr>
          </a:solidFill>
          <a:ln w="38100">
            <a:solidFill>
              <a:srgbClr val="B2B2B2"/>
            </a:solidFill>
            <a:miter lim="800000"/>
            <a:headEnd/>
            <a:tailEnd/>
          </a:ln>
          <a:effectLst/>
        </p:spPr>
        <p:txBody>
          <a:bodyPr wrap="none" rtlCol="0" anchor="ctr"/>
          <a:lstStyle/>
          <a:p>
            <a:pPr algn="ctr"/>
            <a:r>
              <a:rPr kumimoji="0" lang="ja-JP" altLang="en-US" sz="1200" b="1" dirty="0">
                <a:solidFill>
                  <a:prstClr val="black"/>
                </a:solidFill>
                <a:latin typeface="Meiryo UI" panose="020B0604030504040204" pitchFamily="50" charset="-128"/>
                <a:ea typeface="Meiryo UI" panose="020B0604030504040204" pitchFamily="50" charset="-128"/>
              </a:rPr>
              <a:t>サイドイベント</a:t>
            </a:r>
            <a:r>
              <a:rPr kumimoji="0" lang="ja-JP" altLang="en-US" sz="1100" dirty="0">
                <a:latin typeface="Meiryo UI" panose="020B0604030504040204" pitchFamily="50" charset="-128"/>
                <a:ea typeface="Meiryo UI" panose="020B0604030504040204" pitchFamily="50" charset="-128"/>
              </a:rPr>
              <a:t>　</a:t>
            </a:r>
            <a:r>
              <a:rPr kumimoji="0" lang="en-US" altLang="ja-JP" sz="1100" u="sng" dirty="0">
                <a:latin typeface="Meiryo UI" panose="020B0604030504040204" pitchFamily="50" charset="-128"/>
                <a:ea typeface="Meiryo UI" panose="020B0604030504040204" pitchFamily="50" charset="-128"/>
              </a:rPr>
              <a:t>【P.5</a:t>
            </a:r>
            <a:r>
              <a:rPr kumimoji="0" lang="ja-JP" altLang="en-US" sz="1100" u="sng" dirty="0">
                <a:latin typeface="Meiryo UI" panose="020B0604030504040204" pitchFamily="50" charset="-128"/>
                <a:ea typeface="Meiryo UI" panose="020B0604030504040204" pitchFamily="50" charset="-128"/>
              </a:rPr>
              <a:t>参照</a:t>
            </a:r>
            <a:r>
              <a:rPr kumimoji="0" lang="en-US" altLang="ja-JP" sz="1100" u="sng" dirty="0">
                <a:latin typeface="Meiryo UI" panose="020B0604030504040204" pitchFamily="50" charset="-128"/>
                <a:ea typeface="Meiryo UI" panose="020B0604030504040204" pitchFamily="50" charset="-128"/>
              </a:rPr>
              <a:t>】</a:t>
            </a:r>
            <a:endParaRPr kumimoji="0" lang="en-US" altLang="ja-JP" sz="1100" dirty="0">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FBEC2CD5-932F-4E1B-9CAD-ABAF9703A2F6}"/>
              </a:ext>
            </a:extLst>
          </p:cNvPr>
          <p:cNvSpPr/>
          <p:nvPr/>
        </p:nvSpPr>
        <p:spPr bwMode="auto">
          <a:xfrm>
            <a:off x="113403" y="6322449"/>
            <a:ext cx="9668364" cy="223500"/>
          </a:xfrm>
          <a:prstGeom prst="rect">
            <a:avLst/>
          </a:prstGeom>
          <a:solidFill>
            <a:schemeClr val="accent6">
              <a:lumMod val="20000"/>
              <a:lumOff val="80000"/>
            </a:schemeClr>
          </a:solidFill>
          <a:ln w="38100">
            <a:solidFill>
              <a:srgbClr val="B2B2B2"/>
            </a:solidFill>
            <a:miter lim="800000"/>
            <a:headEnd/>
            <a:tailEnd/>
          </a:ln>
          <a:effectLst/>
        </p:spPr>
        <p:txBody>
          <a:bodyPr wrap="none" rtlCol="0" anchor="ctr"/>
          <a:lstStyle/>
          <a:p>
            <a:pPr algn="ctr"/>
            <a:r>
              <a:rPr kumimoji="0" lang="ja-JP" altLang="en-US" sz="1200" b="1" dirty="0">
                <a:solidFill>
                  <a:prstClr val="black"/>
                </a:solidFill>
                <a:latin typeface="Meiryo UI" panose="020B0604030504040204" pitchFamily="50" charset="-128"/>
                <a:ea typeface="Meiryo UI" panose="020B0604030504040204" pitchFamily="50" charset="-128"/>
              </a:rPr>
              <a:t>オンサイトツアー</a:t>
            </a:r>
            <a:r>
              <a:rPr kumimoji="0" lang="ja-JP" altLang="en-US" sz="1100" dirty="0">
                <a:latin typeface="Meiryo UI" panose="020B0604030504040204" pitchFamily="50" charset="-128"/>
                <a:ea typeface="Meiryo UI" panose="020B0604030504040204" pitchFamily="50" charset="-128"/>
              </a:rPr>
              <a:t>　</a:t>
            </a:r>
            <a:r>
              <a:rPr kumimoji="0" lang="en-US" altLang="ja-JP" sz="1100" u="sng" dirty="0">
                <a:latin typeface="Meiryo UI" panose="020B0604030504040204" pitchFamily="50" charset="-128"/>
                <a:ea typeface="Meiryo UI" panose="020B0604030504040204" pitchFamily="50" charset="-128"/>
              </a:rPr>
              <a:t>【P.6</a:t>
            </a:r>
            <a:r>
              <a:rPr kumimoji="0" lang="ja-JP" altLang="en-US" sz="1100" u="sng" dirty="0">
                <a:latin typeface="Meiryo UI" panose="020B0604030504040204" pitchFamily="50" charset="-128"/>
                <a:ea typeface="Meiryo UI" panose="020B0604030504040204" pitchFamily="50" charset="-128"/>
              </a:rPr>
              <a:t>参照</a:t>
            </a:r>
            <a:r>
              <a:rPr kumimoji="0" lang="en-US" altLang="ja-JP" sz="1100" u="sng" dirty="0">
                <a:latin typeface="Meiryo UI" panose="020B0604030504040204" pitchFamily="50" charset="-128"/>
                <a:ea typeface="Meiryo UI" panose="020B0604030504040204" pitchFamily="50" charset="-128"/>
              </a:rPr>
              <a:t>】</a:t>
            </a:r>
            <a:endParaRPr kumimoji="0" lang="en-US" altLang="ja-JP" sz="1100" dirty="0">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9E0E26FD-4C46-449F-8CDB-488284F5C2B3}"/>
              </a:ext>
            </a:extLst>
          </p:cNvPr>
          <p:cNvSpPr/>
          <p:nvPr/>
        </p:nvSpPr>
        <p:spPr bwMode="auto">
          <a:xfrm>
            <a:off x="102603" y="5548700"/>
            <a:ext cx="9668364" cy="700571"/>
          </a:xfrm>
          <a:prstGeom prst="rect">
            <a:avLst/>
          </a:prstGeom>
          <a:noFill/>
          <a:ln w="19050">
            <a:solidFill>
              <a:srgbClr val="B2B2B2"/>
            </a:solidFill>
            <a:miter lim="800000"/>
            <a:headEnd/>
            <a:tailEnd/>
          </a:ln>
          <a:effectLst/>
        </p:spPr>
        <p:txBody>
          <a:bodyPr wrap="square" rtlCol="0" anchor="t"/>
          <a:lstStyle/>
          <a:p>
            <a:r>
              <a:rPr kumimoji="0" lang="ja-JP" altLang="en-US" sz="1100" dirty="0">
                <a:latin typeface="Meiryo UI" panose="020B0604030504040204" pitchFamily="50" charset="-128"/>
                <a:ea typeface="Meiryo UI" panose="020B0604030504040204" pitchFamily="50" charset="-128"/>
              </a:rPr>
              <a:t>中之島クロス</a:t>
            </a:r>
            <a:r>
              <a:rPr kumimoji="0" lang="en-US" altLang="ja-JP" sz="1100" dirty="0">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京大</a:t>
            </a:r>
            <a:r>
              <a:rPr kumimoji="0" lang="en-US" altLang="ja-JP" sz="1100" dirty="0" err="1">
                <a:latin typeface="Meiryo UI" panose="020B0604030504040204" pitchFamily="50" charset="-128"/>
                <a:ea typeface="Meiryo UI" panose="020B0604030504040204" pitchFamily="50" charset="-128"/>
              </a:rPr>
              <a:t>iPS</a:t>
            </a:r>
            <a:r>
              <a:rPr kumimoji="0" lang="ja-JP" altLang="en-US" sz="1100" dirty="0">
                <a:latin typeface="Meiryo UI" panose="020B0604030504040204" pitchFamily="50" charset="-128"/>
                <a:ea typeface="Meiryo UI" panose="020B0604030504040204" pitchFamily="50" charset="-128"/>
              </a:rPr>
              <a:t>細胞研究所による</a:t>
            </a:r>
            <a:r>
              <a:rPr kumimoji="0" lang="en-US" altLang="ja-JP" sz="1100" dirty="0" err="1">
                <a:latin typeface="Meiryo UI" panose="020B0604030504040204" pitchFamily="50" charset="-128"/>
                <a:ea typeface="Meiryo UI" panose="020B0604030504040204" pitchFamily="50" charset="-128"/>
              </a:rPr>
              <a:t>iPS</a:t>
            </a:r>
            <a:r>
              <a:rPr kumimoji="0" lang="ja-JP" altLang="en-US" sz="1100" dirty="0">
                <a:latin typeface="Meiryo UI" panose="020B0604030504040204" pitchFamily="50" charset="-128"/>
                <a:ea typeface="Meiryo UI" panose="020B0604030504040204" pitchFamily="50" charset="-128"/>
              </a:rPr>
              <a:t>細胞技術、大阪大学量子情報・量子生命研究センターによる量子技術の</a:t>
            </a:r>
            <a:endParaRPr kumimoji="0" lang="en-US" altLang="ja-JP" sz="1100" dirty="0">
              <a:latin typeface="Meiryo UI" panose="020B0604030504040204" pitchFamily="50" charset="-128"/>
              <a:ea typeface="Meiryo UI" panose="020B0604030504040204" pitchFamily="50" charset="-128"/>
            </a:endParaRPr>
          </a:p>
          <a:p>
            <a:r>
              <a:rPr kumimoji="0" lang="ja-JP" altLang="en-US" sz="1100" dirty="0">
                <a:latin typeface="Meiryo UI" panose="020B0604030504040204" pitchFamily="50" charset="-128"/>
                <a:ea typeface="Meiryo UI" panose="020B0604030504040204" pitchFamily="50" charset="-128"/>
              </a:rPr>
              <a:t>最前線等をテーマに、専門的なサイドイベントを多数開催</a:t>
            </a:r>
            <a:endParaRPr kumimoji="0" lang="en-US" altLang="ja-JP" sz="1100" dirty="0">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67D34417-0F83-44C8-950D-2E177245409E}"/>
              </a:ext>
            </a:extLst>
          </p:cNvPr>
          <p:cNvSpPr/>
          <p:nvPr/>
        </p:nvSpPr>
        <p:spPr bwMode="auto">
          <a:xfrm>
            <a:off x="111466" y="6563913"/>
            <a:ext cx="9668364" cy="263500"/>
          </a:xfrm>
          <a:prstGeom prst="rect">
            <a:avLst/>
          </a:prstGeom>
          <a:noFill/>
          <a:ln w="19050">
            <a:solidFill>
              <a:srgbClr val="B2B2B2"/>
            </a:solidFill>
            <a:miter lim="800000"/>
            <a:headEnd/>
            <a:tailEnd/>
          </a:ln>
          <a:effectLst/>
        </p:spPr>
        <p:txBody>
          <a:bodyPr wrap="square" rtlCol="0" anchor="t"/>
          <a:lstStyle/>
          <a:p>
            <a:r>
              <a:rPr kumimoji="0" lang="ja-JP" altLang="en-US" sz="1100" dirty="0">
                <a:latin typeface="Meiryo UI" panose="020B0604030504040204" pitchFamily="50" charset="-128"/>
                <a:ea typeface="Meiryo UI" panose="020B0604030504040204" pitchFamily="50" charset="-128"/>
              </a:rPr>
              <a:t>　ノーベル賞を生み出した拠点等、海外でも注目される</a:t>
            </a:r>
            <a:r>
              <a:rPr kumimoji="0" lang="zh-TW" altLang="en-US" sz="1100" dirty="0">
                <a:latin typeface="Meiryo UI" panose="020B0604030504040204" pitchFamily="50" charset="-128"/>
                <a:ea typeface="Meiryo UI" panose="020B0604030504040204" pitchFamily="50" charset="-128"/>
              </a:rPr>
              <a:t>「国家戦略技術領域」</a:t>
            </a:r>
            <a:r>
              <a:rPr kumimoji="0" lang="ja-JP" altLang="en-US" sz="1100" dirty="0">
                <a:latin typeface="Meiryo UI" panose="020B0604030504040204" pitchFamily="50" charset="-128"/>
                <a:ea typeface="Meiryo UI" panose="020B0604030504040204" pitchFamily="50" charset="-128"/>
              </a:rPr>
              <a:t>に関わる研究施設を視察（関西の特色である観光や食の要素も加える）</a:t>
            </a:r>
          </a:p>
        </p:txBody>
      </p:sp>
      <p:sp>
        <p:nvSpPr>
          <p:cNvPr id="57" name="正方形/長方形 56">
            <a:extLst>
              <a:ext uri="{FF2B5EF4-FFF2-40B4-BE49-F238E27FC236}">
                <a16:creationId xmlns:a16="http://schemas.microsoft.com/office/drawing/2014/main" id="{6D68FB8F-C0D0-49EA-B0E2-C09836AB1DF0}"/>
              </a:ext>
            </a:extLst>
          </p:cNvPr>
          <p:cNvSpPr/>
          <p:nvPr/>
        </p:nvSpPr>
        <p:spPr bwMode="auto">
          <a:xfrm>
            <a:off x="5929885" y="5830251"/>
            <a:ext cx="3749870" cy="349322"/>
          </a:xfrm>
          <a:prstGeom prst="rect">
            <a:avLst/>
          </a:prstGeom>
          <a:solidFill>
            <a:schemeClr val="accent6">
              <a:lumMod val="60000"/>
              <a:lumOff val="40000"/>
            </a:schemeClr>
          </a:solidFill>
          <a:ln w="28575">
            <a:solidFill>
              <a:schemeClr val="accent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専門的なネットワーキング</a:t>
            </a:r>
          </a:p>
        </p:txBody>
      </p:sp>
      <p:sp>
        <p:nvSpPr>
          <p:cNvPr id="58" name="正方形/長方形 57">
            <a:extLst>
              <a:ext uri="{FF2B5EF4-FFF2-40B4-BE49-F238E27FC236}">
                <a16:creationId xmlns:a16="http://schemas.microsoft.com/office/drawing/2014/main" id="{49308B8C-468E-4634-BD81-E5AF628A144B}"/>
              </a:ext>
            </a:extLst>
          </p:cNvPr>
          <p:cNvSpPr/>
          <p:nvPr/>
        </p:nvSpPr>
        <p:spPr bwMode="auto">
          <a:xfrm>
            <a:off x="226245" y="5995841"/>
            <a:ext cx="1343498" cy="164498"/>
          </a:xfrm>
          <a:prstGeom prst="rect">
            <a:avLst/>
          </a:prstGeom>
          <a:solidFill>
            <a:schemeClr val="bg2"/>
          </a:solidFill>
          <a:ln w="38100">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パネルディスカッション</a:t>
            </a:r>
          </a:p>
        </p:txBody>
      </p:sp>
      <p:sp>
        <p:nvSpPr>
          <p:cNvPr id="59" name="正方形/長方形 58">
            <a:extLst>
              <a:ext uri="{FF2B5EF4-FFF2-40B4-BE49-F238E27FC236}">
                <a16:creationId xmlns:a16="http://schemas.microsoft.com/office/drawing/2014/main" id="{E93B583C-5062-4698-AC84-E1E3C3925659}"/>
              </a:ext>
            </a:extLst>
          </p:cNvPr>
          <p:cNvSpPr/>
          <p:nvPr/>
        </p:nvSpPr>
        <p:spPr bwMode="auto">
          <a:xfrm>
            <a:off x="1640772" y="5996287"/>
            <a:ext cx="1343498" cy="164498"/>
          </a:xfrm>
          <a:prstGeom prst="rect">
            <a:avLst/>
          </a:prstGeom>
          <a:solidFill>
            <a:schemeClr val="bg2"/>
          </a:solidFill>
          <a:ln w="38100">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マッチング</a:t>
            </a:r>
          </a:p>
        </p:txBody>
      </p:sp>
      <p:sp>
        <p:nvSpPr>
          <p:cNvPr id="61" name="正方形/長方形 60">
            <a:extLst>
              <a:ext uri="{FF2B5EF4-FFF2-40B4-BE49-F238E27FC236}">
                <a16:creationId xmlns:a16="http://schemas.microsoft.com/office/drawing/2014/main" id="{8F4B8022-2719-4465-A4B1-8F4B3A3C2780}"/>
              </a:ext>
            </a:extLst>
          </p:cNvPr>
          <p:cNvSpPr/>
          <p:nvPr/>
        </p:nvSpPr>
        <p:spPr bwMode="auto">
          <a:xfrm>
            <a:off x="3058700" y="6000569"/>
            <a:ext cx="1343498" cy="164498"/>
          </a:xfrm>
          <a:prstGeom prst="rect">
            <a:avLst/>
          </a:prstGeom>
          <a:solidFill>
            <a:schemeClr val="bg2"/>
          </a:solidFill>
          <a:ln w="38100">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ピッチイベント</a:t>
            </a:r>
          </a:p>
        </p:txBody>
      </p:sp>
      <p:sp>
        <p:nvSpPr>
          <p:cNvPr id="62" name="正方形/長方形 61">
            <a:extLst>
              <a:ext uri="{FF2B5EF4-FFF2-40B4-BE49-F238E27FC236}">
                <a16:creationId xmlns:a16="http://schemas.microsoft.com/office/drawing/2014/main" id="{40F78697-72C9-41F2-8DA5-AE41AAD5F6EB}"/>
              </a:ext>
            </a:extLst>
          </p:cNvPr>
          <p:cNvSpPr/>
          <p:nvPr/>
        </p:nvSpPr>
        <p:spPr bwMode="auto">
          <a:xfrm>
            <a:off x="4468645" y="6000848"/>
            <a:ext cx="1195093" cy="164498"/>
          </a:xfrm>
          <a:prstGeom prst="rect">
            <a:avLst/>
          </a:prstGeom>
          <a:solidFill>
            <a:schemeClr val="bg2"/>
          </a:solidFill>
          <a:ln w="38100">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dirty="0">
                <a:solidFill>
                  <a:prstClr val="black"/>
                </a:solidFill>
                <a:latin typeface="Meiryo UI" panose="020B0604030504040204" pitchFamily="50" charset="-128"/>
                <a:ea typeface="Meiryo UI" panose="020B0604030504040204" pitchFamily="50" charset="-128"/>
              </a:rPr>
              <a:t>セミナー</a:t>
            </a:r>
            <a:endParaRPr kumimoji="0"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テキスト ボックス 62">
            <a:extLst>
              <a:ext uri="{FF2B5EF4-FFF2-40B4-BE49-F238E27FC236}">
                <a16:creationId xmlns:a16="http://schemas.microsoft.com/office/drawing/2014/main" id="{70D42C4A-ECD6-4CDC-9286-FC879E85D284}"/>
              </a:ext>
            </a:extLst>
          </p:cNvPr>
          <p:cNvSpPr txBox="1"/>
          <p:nvPr/>
        </p:nvSpPr>
        <p:spPr>
          <a:xfrm>
            <a:off x="5404643" y="5984821"/>
            <a:ext cx="72700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等</a:t>
            </a:r>
            <a:endParaRPr kumimoji="1" lang="ja-JP" altLang="en-US" sz="110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正方形/長方形 50">
            <a:extLst>
              <a:ext uri="{FF2B5EF4-FFF2-40B4-BE49-F238E27FC236}">
                <a16:creationId xmlns:a16="http://schemas.microsoft.com/office/drawing/2014/main" id="{42849014-7D98-4884-92D4-E41217A64B43}"/>
              </a:ext>
            </a:extLst>
          </p:cNvPr>
          <p:cNvSpPr/>
          <p:nvPr/>
        </p:nvSpPr>
        <p:spPr bwMode="auto">
          <a:xfrm>
            <a:off x="108158" y="339480"/>
            <a:ext cx="9698123" cy="952976"/>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　</a:t>
            </a:r>
            <a:r>
              <a:rPr kumimoji="0" lang="en-US" altLang="ja-JP" sz="1200" b="1" dirty="0">
                <a:latin typeface="Meiryo UI" panose="020B0604030504040204" pitchFamily="50" charset="-128"/>
                <a:ea typeface="Meiryo UI" panose="020B0604030504040204" pitchFamily="50" charset="-128"/>
              </a:rPr>
              <a:t>GSE2026</a:t>
            </a:r>
            <a:r>
              <a:rPr kumimoji="0" lang="ja-JP" altLang="en-US" sz="1200" b="1" dirty="0">
                <a:latin typeface="Meiryo UI" panose="020B0604030504040204" pitchFamily="50" charset="-128"/>
                <a:ea typeface="Meiryo UI" panose="020B0604030504040204" pitchFamily="50" charset="-128"/>
              </a:rPr>
              <a:t>を「ナショナルイベント」に位置付け、その名のもとで、世界に対して我が国のディープテックシーズの実力・層の厚さを発信します！　　</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　▶バイオ・ヘルスケア・フュージョン・量子などの</a:t>
            </a:r>
            <a:r>
              <a:rPr kumimoji="0" lang="zh-TW" altLang="en-US" sz="1200" b="1" dirty="0">
                <a:latin typeface="Meiryo UI" panose="020B0604030504040204" pitchFamily="50" charset="-128"/>
                <a:ea typeface="Meiryo UI" panose="020B0604030504040204" pitchFamily="50" charset="-128"/>
              </a:rPr>
              <a:t>「国家戦略技術領域」</a:t>
            </a:r>
            <a:r>
              <a:rPr kumimoji="0" lang="ja-JP" altLang="en-US" sz="1200" b="1" dirty="0">
                <a:latin typeface="Meiryo UI" panose="020B0604030504040204" pitchFamily="50" charset="-128"/>
                <a:ea typeface="Meiryo UI" panose="020B0604030504040204" pitchFamily="50" charset="-128"/>
              </a:rPr>
              <a:t>において、世界に通用する強みをもつ関西のディープテックを基盤に置きながら、</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　　 国内の他都市が強みとする領域については、当該都市との連携を通じて総力を結集します</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　▶大阪・関西万博を通じて構築した国内外との関係性・ネットワークを活用し、イベント前後も含めたプロモーションやフォローアップなども展開することで、</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　　グローバルなエコシステムの構築を図ります　　　　　　　　　　　　　　　　　　　　　　　　　　　　　　　　　</a:t>
            </a:r>
            <a:r>
              <a:rPr kumimoji="0" lang="en-US" altLang="ja-JP" sz="1200" b="1" dirty="0">
                <a:latin typeface="Meiryo UI" panose="020B0604030504040204" pitchFamily="50" charset="-128"/>
                <a:ea typeface="Meiryo UI" panose="020B0604030504040204" pitchFamily="50" charset="-128"/>
              </a:rPr>
              <a:t>【</a:t>
            </a:r>
            <a:r>
              <a:rPr kumimoji="0" lang="ja-JP" altLang="en-US" sz="1200" b="1" dirty="0">
                <a:latin typeface="Meiryo UI" panose="020B0604030504040204" pitchFamily="50" charset="-128"/>
                <a:ea typeface="Meiryo UI" panose="020B0604030504040204" pitchFamily="50" charset="-128"/>
              </a:rPr>
              <a:t>来場者：</a:t>
            </a:r>
            <a:r>
              <a:rPr kumimoji="0" lang="en-US" altLang="ja-JP" sz="1200" b="1" dirty="0">
                <a:latin typeface="Meiryo UI" panose="020B0604030504040204" pitchFamily="50" charset="-128"/>
                <a:ea typeface="Meiryo UI" panose="020B0604030504040204" pitchFamily="50" charset="-128"/>
              </a:rPr>
              <a:t>5,000</a:t>
            </a:r>
            <a:r>
              <a:rPr kumimoji="0" lang="ja-JP" altLang="en-US" sz="1200" b="1" dirty="0">
                <a:latin typeface="Meiryo UI" panose="020B0604030504040204" pitchFamily="50" charset="-128"/>
                <a:ea typeface="Meiryo UI" panose="020B0604030504040204" pitchFamily="50" charset="-128"/>
              </a:rPr>
              <a:t>人以上（うち海外２０％以上）</a:t>
            </a:r>
            <a:r>
              <a:rPr kumimoji="0" lang="en-US" altLang="ja-JP" sz="1200" b="1" dirty="0">
                <a:latin typeface="Meiryo UI" panose="020B0604030504040204" pitchFamily="50" charset="-128"/>
                <a:ea typeface="Meiryo UI" panose="020B0604030504040204" pitchFamily="50" charset="-128"/>
              </a:rPr>
              <a:t>】</a:t>
            </a:r>
          </a:p>
        </p:txBody>
      </p:sp>
      <p:pic>
        <p:nvPicPr>
          <p:cNvPr id="53" name="図 52">
            <a:extLst>
              <a:ext uri="{FF2B5EF4-FFF2-40B4-BE49-F238E27FC236}">
                <a16:creationId xmlns:a16="http://schemas.microsoft.com/office/drawing/2014/main" id="{B89924CA-B5D3-45A0-AC84-CC1AB15212F5}"/>
              </a:ext>
            </a:extLst>
          </p:cNvPr>
          <p:cNvPicPr>
            <a:picLocks noChangeAspect="1"/>
          </p:cNvPicPr>
          <p:nvPr/>
        </p:nvPicPr>
        <p:blipFill>
          <a:blip r:embed="rId3"/>
          <a:stretch>
            <a:fillRect/>
          </a:stretch>
        </p:blipFill>
        <p:spPr>
          <a:xfrm>
            <a:off x="1258068" y="4025567"/>
            <a:ext cx="781456" cy="406005"/>
          </a:xfrm>
          <a:prstGeom prst="rect">
            <a:avLst/>
          </a:prstGeom>
        </p:spPr>
      </p:pic>
      <p:pic>
        <p:nvPicPr>
          <p:cNvPr id="4" name="図 3">
            <a:extLst>
              <a:ext uri="{FF2B5EF4-FFF2-40B4-BE49-F238E27FC236}">
                <a16:creationId xmlns:a16="http://schemas.microsoft.com/office/drawing/2014/main" id="{50647D79-C617-48D3-8D34-FFB6CB37EB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5931" y="3419183"/>
            <a:ext cx="854222" cy="291743"/>
          </a:xfrm>
          <a:prstGeom prst="rect">
            <a:avLst/>
          </a:prstGeom>
        </p:spPr>
      </p:pic>
      <p:sp>
        <p:nvSpPr>
          <p:cNvPr id="46" name="正方形/長方形 45">
            <a:extLst>
              <a:ext uri="{FF2B5EF4-FFF2-40B4-BE49-F238E27FC236}">
                <a16:creationId xmlns:a16="http://schemas.microsoft.com/office/drawing/2014/main" id="{B5EBA819-9EF1-4253-8FD4-B1ABD21D2BE8}"/>
              </a:ext>
            </a:extLst>
          </p:cNvPr>
          <p:cNvSpPr/>
          <p:nvPr/>
        </p:nvSpPr>
        <p:spPr bwMode="auto">
          <a:xfrm>
            <a:off x="2564064" y="4982975"/>
            <a:ext cx="5470265" cy="18957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大阪市イベント</a:t>
            </a:r>
          </a:p>
        </p:txBody>
      </p:sp>
      <p:grpSp>
        <p:nvGrpSpPr>
          <p:cNvPr id="3" name="グループ化 2">
            <a:extLst>
              <a:ext uri="{FF2B5EF4-FFF2-40B4-BE49-F238E27FC236}">
                <a16:creationId xmlns:a16="http://schemas.microsoft.com/office/drawing/2014/main" id="{079B99ED-79E4-4067-85CB-62FFEFCC6434}"/>
              </a:ext>
            </a:extLst>
          </p:cNvPr>
          <p:cNvGrpSpPr/>
          <p:nvPr/>
        </p:nvGrpSpPr>
        <p:grpSpPr>
          <a:xfrm>
            <a:off x="7159125" y="4737392"/>
            <a:ext cx="579998" cy="1169921"/>
            <a:chOff x="7374883" y="4990119"/>
            <a:chExt cx="579998" cy="892279"/>
          </a:xfrm>
        </p:grpSpPr>
        <p:sp>
          <p:nvSpPr>
            <p:cNvPr id="64" name="矢印: 上下 63">
              <a:extLst>
                <a:ext uri="{FF2B5EF4-FFF2-40B4-BE49-F238E27FC236}">
                  <a16:creationId xmlns:a16="http://schemas.microsoft.com/office/drawing/2014/main" id="{0EC60FFB-7407-4EBC-904D-DFCF3F2B020E}"/>
                </a:ext>
              </a:extLst>
            </p:cNvPr>
            <p:cNvSpPr/>
            <p:nvPr/>
          </p:nvSpPr>
          <p:spPr bwMode="auto">
            <a:xfrm>
              <a:off x="7374883" y="4998059"/>
              <a:ext cx="579998" cy="832191"/>
            </a:xfrm>
            <a:prstGeom prst="upDownArrow">
              <a:avLst>
                <a:gd name="adj1" fmla="val 53391"/>
                <a:gd name="adj2" fmla="val 50000"/>
              </a:avLst>
            </a:prstGeom>
            <a:solidFill>
              <a:srgbClr val="DDDDDD"/>
            </a:solidFill>
            <a:ln w="2857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b="1" dirty="0">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72128AD5-F35F-4559-A69C-4BA8724EDC06}"/>
                </a:ext>
              </a:extLst>
            </p:cNvPr>
            <p:cNvSpPr txBox="1"/>
            <p:nvPr/>
          </p:nvSpPr>
          <p:spPr>
            <a:xfrm>
              <a:off x="7480216" y="4990119"/>
              <a:ext cx="369332" cy="892279"/>
            </a:xfrm>
            <a:prstGeom prst="rect">
              <a:avLst/>
            </a:prstGeom>
            <a:noFill/>
          </p:spPr>
          <p:txBody>
            <a:bodyPr vert="eaVert" wrap="square" rtlCol="0">
              <a:spAutoFit/>
            </a:bodyPr>
            <a:lstStyle/>
            <a:p>
              <a:pPr algn="ct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参加者</a:t>
              </a:r>
            </a:p>
          </p:txBody>
        </p:sp>
      </p:grpSp>
      <p:pic>
        <p:nvPicPr>
          <p:cNvPr id="6" name="図 5">
            <a:extLst>
              <a:ext uri="{FF2B5EF4-FFF2-40B4-BE49-F238E27FC236}">
                <a16:creationId xmlns:a16="http://schemas.microsoft.com/office/drawing/2014/main" id="{275351A7-7711-45A5-9BEF-3FD2BCC519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8969" y="2500188"/>
            <a:ext cx="918557" cy="484750"/>
          </a:xfrm>
          <a:prstGeom prst="rect">
            <a:avLst/>
          </a:prstGeom>
        </p:spPr>
      </p:pic>
    </p:spTree>
    <p:extLst>
      <p:ext uri="{BB962C8B-B14F-4D97-AF65-F5344CB8AC3E}">
        <p14:creationId xmlns:p14="http://schemas.microsoft.com/office/powerpoint/2010/main" val="520024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9D99B-93D7-EE6B-B2A7-B1B0E6A2122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CFDFD9F-D0DE-C1A6-48CA-660E80F37AF9}"/>
              </a:ext>
            </a:extLst>
          </p:cNvPr>
          <p:cNvSpPr>
            <a:spLocks noGrp="1"/>
          </p:cNvSpPr>
          <p:nvPr>
            <p:ph type="title"/>
          </p:nvPr>
        </p:nvSpPr>
        <p:spPr>
          <a:xfrm>
            <a:off x="181744" y="160143"/>
            <a:ext cx="9505503" cy="307777"/>
          </a:xfrm>
        </p:spPr>
        <p:txBody>
          <a:bodyPr/>
          <a:lstStyle/>
          <a:p>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2. </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イベント概要・</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GSE2026</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　テーマ・基調講演・セッション）</a:t>
            </a:r>
            <a:endParaRPr kumimoji="1" lang="ja-JP" altLang="en-US" sz="1400"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スライド番号プレースホルダー 2">
            <a:extLst>
              <a:ext uri="{FF2B5EF4-FFF2-40B4-BE49-F238E27FC236}">
                <a16:creationId xmlns:a16="http://schemas.microsoft.com/office/drawing/2014/main" id="{6F3061B0-B7DC-12DF-5C22-E2F74D141CE1}"/>
              </a:ext>
            </a:extLst>
          </p:cNvPr>
          <p:cNvSpPr>
            <a:spLocks noGrp="1"/>
          </p:cNvSpPr>
          <p:nvPr>
            <p:ph type="sldNum" sz="quarter" idx="12"/>
          </p:nvPr>
        </p:nvSpPr>
        <p:spPr/>
        <p:txBody>
          <a:bodyPr/>
          <a:lstStyle/>
          <a:p>
            <a: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4" name="正方形/長方形 33">
            <a:extLst>
              <a:ext uri="{FF2B5EF4-FFF2-40B4-BE49-F238E27FC236}">
                <a16:creationId xmlns:a16="http://schemas.microsoft.com/office/drawing/2014/main" id="{35F0FF91-55C0-40D8-9113-693249FCC7D6}"/>
              </a:ext>
            </a:extLst>
          </p:cNvPr>
          <p:cNvSpPr/>
          <p:nvPr/>
        </p:nvSpPr>
        <p:spPr bwMode="auto">
          <a:xfrm>
            <a:off x="36484" y="426930"/>
            <a:ext cx="9824010" cy="504694"/>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全体構成の基本コンセプト（</a:t>
            </a:r>
            <a:r>
              <a:rPr kumimoji="0" lang="en-US" altLang="ja-JP" sz="1200" b="1" dirty="0">
                <a:latin typeface="Meiryo UI" panose="020B0604030504040204" pitchFamily="50" charset="-128"/>
                <a:ea typeface="Meiryo UI" panose="020B0604030504040204" pitchFamily="50" charset="-128"/>
              </a:rPr>
              <a:t>P3</a:t>
            </a:r>
            <a:r>
              <a:rPr kumimoji="0" lang="ja-JP" altLang="en-US" sz="1200" b="1" dirty="0">
                <a:latin typeface="Meiryo UI" panose="020B0604030504040204" pitchFamily="50" charset="-128"/>
                <a:ea typeface="Meiryo UI" panose="020B0604030504040204" pitchFamily="50" charset="-128"/>
              </a:rPr>
              <a:t>：「関西のディープテックを基盤」「他都市との連携」「大阪・関西万博を通じて構築した関係性・ネットワークの活用」）を</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軸にした基調講演やセッションを展開し、各分野でのこれまでの取組み、今後の可能性のほか、必要な政策（フュージョン）などもお示しします！</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　　　　　　　　　　　　　　　　　　　　　　　　　　　　　　　　　　　　　　　　　　　　　　　　　　　　　　　　　　　　　　　　　　　　　　　　　　　　　　　　 </a:t>
            </a:r>
            <a:r>
              <a:rPr kumimoji="0" lang="en-US" altLang="ja-JP" sz="1200" b="1" dirty="0">
                <a:latin typeface="Meiryo UI" panose="020B0604030504040204" pitchFamily="50" charset="-128"/>
                <a:ea typeface="Meiryo UI" panose="020B0604030504040204" pitchFamily="50" charset="-128"/>
              </a:rPr>
              <a:t>【</a:t>
            </a:r>
            <a:r>
              <a:rPr kumimoji="0" lang="ja-JP" altLang="en-US" sz="1200" b="1" dirty="0">
                <a:latin typeface="Meiryo UI" panose="020B0604030504040204" pitchFamily="50" charset="-128"/>
                <a:ea typeface="Meiryo UI" panose="020B0604030504040204" pitchFamily="50" charset="-128"/>
              </a:rPr>
              <a:t>登壇者</a:t>
            </a:r>
            <a:r>
              <a:rPr kumimoji="0" lang="en-US" altLang="ja-JP" sz="1200" b="1" dirty="0">
                <a:latin typeface="Meiryo UI" panose="020B0604030504040204" pitchFamily="50" charset="-128"/>
                <a:ea typeface="Meiryo UI" panose="020B0604030504040204" pitchFamily="50" charset="-128"/>
              </a:rPr>
              <a:t>100</a:t>
            </a:r>
            <a:r>
              <a:rPr kumimoji="0" lang="ja-JP" altLang="en-US" sz="1200" b="1" dirty="0">
                <a:latin typeface="Meiryo UI" panose="020B0604030504040204" pitchFamily="50" charset="-128"/>
                <a:ea typeface="Meiryo UI" panose="020B0604030504040204" pitchFamily="50" charset="-128"/>
              </a:rPr>
              <a:t>名以上</a:t>
            </a:r>
            <a:r>
              <a:rPr kumimoji="0" lang="en-US" altLang="ja-JP" sz="1200" b="1" dirty="0">
                <a:latin typeface="Meiryo UI" panose="020B0604030504040204" pitchFamily="50" charset="-128"/>
                <a:ea typeface="Meiryo UI" panose="020B0604030504040204" pitchFamily="50" charset="-128"/>
              </a:rPr>
              <a:t>】</a:t>
            </a:r>
            <a:endParaRPr kumimoji="0" lang="ja-JP" altLang="en-US" sz="1200" b="1" dirty="0">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C5D3433B-A57C-4CEA-B60D-B88AC4298410}"/>
              </a:ext>
            </a:extLst>
          </p:cNvPr>
          <p:cNvSpPr/>
          <p:nvPr/>
        </p:nvSpPr>
        <p:spPr bwMode="auto">
          <a:xfrm>
            <a:off x="5008485" y="1305058"/>
            <a:ext cx="4807086" cy="872590"/>
          </a:xfrm>
          <a:prstGeom prst="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5C7C7840-D0FB-4C1E-95D7-5E5394611BCD}"/>
              </a:ext>
            </a:extLst>
          </p:cNvPr>
          <p:cNvSpPr txBox="1"/>
          <p:nvPr/>
        </p:nvSpPr>
        <p:spPr>
          <a:xfrm>
            <a:off x="5020386" y="1515402"/>
            <a:ext cx="4736341" cy="600164"/>
          </a:xfrm>
          <a:prstGeom prst="rect">
            <a:avLst/>
          </a:prstGeom>
          <a:noFill/>
        </p:spPr>
        <p:txBody>
          <a:bodyPr wrap="square">
            <a:spAutoFit/>
          </a:bodyPr>
          <a:lstStyle/>
          <a:p>
            <a:r>
              <a:rPr lang="ja-JP" altLang="en-US" sz="1100" dirty="0"/>
              <a:t>大阪に在籍するトップクラスの研究者や海外</a:t>
            </a:r>
            <a:r>
              <a:rPr lang="en-US" altLang="ja-JP" sz="1100" dirty="0"/>
              <a:t>CVC</a:t>
            </a:r>
            <a:r>
              <a:rPr lang="ja-JP" altLang="en-US" sz="1100" dirty="0"/>
              <a:t>コミュニティ等の海外トップティアの先端情報・ネットワーク及び、グローバル市場でも高い存在感を誇る我が国の先端ロボットの強みをもとに企画、招聘。</a:t>
            </a:r>
            <a:endParaRPr lang="en-US" altLang="ja-JP" sz="1100" dirty="0"/>
          </a:p>
        </p:txBody>
      </p:sp>
      <p:sp>
        <p:nvSpPr>
          <p:cNvPr id="8" name="テキスト ボックス 7">
            <a:extLst>
              <a:ext uri="{FF2B5EF4-FFF2-40B4-BE49-F238E27FC236}">
                <a16:creationId xmlns:a16="http://schemas.microsoft.com/office/drawing/2014/main" id="{275BCCF3-E7AD-4A63-AE9A-138E8EEAE965}"/>
              </a:ext>
            </a:extLst>
          </p:cNvPr>
          <p:cNvSpPr txBox="1"/>
          <p:nvPr/>
        </p:nvSpPr>
        <p:spPr>
          <a:xfrm>
            <a:off x="4970494" y="1280828"/>
            <a:ext cx="3628140" cy="261610"/>
          </a:xfrm>
          <a:prstGeom prst="rect">
            <a:avLst/>
          </a:prstGeom>
          <a:noFill/>
        </p:spPr>
        <p:txBody>
          <a:bodyPr wrap="square" rtlCol="0">
            <a:spAutoFit/>
          </a:bodyPr>
          <a:lstStyle/>
          <a:p>
            <a:r>
              <a:rPr kumimoji="1" lang="en-US" altLang="ja-JP" sz="1100" b="1" dirty="0">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1100" b="1" dirty="0">
                <a:latin typeface="Meiryo UI" panose="020B0604030504040204" pitchFamily="50" charset="-128"/>
                <a:ea typeface="Meiryo UI" panose="020B0604030504040204" pitchFamily="50" charset="-128"/>
                <a:cs typeface="Meiryo UI" panose="020B0604030504040204" pitchFamily="50" charset="-128"/>
              </a:rPr>
              <a:t>・先端ロボット</a:t>
            </a:r>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デジタル・サイバーセキュリティー</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a:extLst>
              <a:ext uri="{FF2B5EF4-FFF2-40B4-BE49-F238E27FC236}">
                <a16:creationId xmlns:a16="http://schemas.microsoft.com/office/drawing/2014/main" id="{599DF5BD-E12B-4710-A285-54BC53A9C949}"/>
              </a:ext>
            </a:extLst>
          </p:cNvPr>
          <p:cNvSpPr/>
          <p:nvPr/>
        </p:nvSpPr>
        <p:spPr bwMode="auto">
          <a:xfrm>
            <a:off x="70019" y="1296785"/>
            <a:ext cx="4807086" cy="850135"/>
          </a:xfrm>
          <a:prstGeom prst="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AD2DE9DC-D9C7-4015-87D0-B8DEBC05B46C}"/>
              </a:ext>
            </a:extLst>
          </p:cNvPr>
          <p:cNvSpPr txBox="1"/>
          <p:nvPr/>
        </p:nvSpPr>
        <p:spPr>
          <a:xfrm>
            <a:off x="36484" y="1253412"/>
            <a:ext cx="3063918" cy="430887"/>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バイオ・ヘルスケア</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合成生物学、創薬・先端医療、</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cs typeface="Meiryo UI" panose="020B0604030504040204" pitchFamily="50" charset="-128"/>
              </a:rPr>
              <a:t>フードテック</a:t>
            </a:r>
            <a:r>
              <a:rPr kumimoji="1"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テキスト ボックス 66">
            <a:extLst>
              <a:ext uri="{FF2B5EF4-FFF2-40B4-BE49-F238E27FC236}">
                <a16:creationId xmlns:a16="http://schemas.microsoft.com/office/drawing/2014/main" id="{4823E39D-F6D3-4BBD-80C1-96753DB121CD}"/>
              </a:ext>
            </a:extLst>
          </p:cNvPr>
          <p:cNvSpPr txBox="1"/>
          <p:nvPr/>
        </p:nvSpPr>
        <p:spPr>
          <a:xfrm>
            <a:off x="81921" y="1596386"/>
            <a:ext cx="4718679" cy="600164"/>
          </a:xfrm>
          <a:prstGeom prst="rect">
            <a:avLst/>
          </a:prstGeom>
          <a:noFill/>
        </p:spPr>
        <p:txBody>
          <a:bodyPr wrap="square">
            <a:spAutoFit/>
          </a:bodyPr>
          <a:lstStyle/>
          <a:p>
            <a:r>
              <a:rPr lang="ja-JP" altLang="en-US" sz="1100" dirty="0"/>
              <a:t>万博のテーマを引継ぎ、再生医療をはじめとする世界屈指の研究・医療機関と製薬等大企業の産業基盤、産学官医の有機的なネットワークをもとに世界トップクラスの講演を企画、招聘。</a:t>
            </a:r>
            <a:endParaRPr lang="en-US" altLang="ja-JP" sz="1100" dirty="0"/>
          </a:p>
        </p:txBody>
      </p:sp>
      <p:sp>
        <p:nvSpPr>
          <p:cNvPr id="101" name="AutoShape 2" descr="本庶 佑">
            <a:extLst>
              <a:ext uri="{FF2B5EF4-FFF2-40B4-BE49-F238E27FC236}">
                <a16:creationId xmlns:a16="http://schemas.microsoft.com/office/drawing/2014/main" id="{40159F2B-8FC6-4A0B-B123-8175B61B6B70}"/>
              </a:ext>
            </a:extLst>
          </p:cNvPr>
          <p:cNvSpPr>
            <a:spLocks noChangeAspect="1" noChangeArrowheads="1"/>
          </p:cNvSpPr>
          <p:nvPr/>
        </p:nvSpPr>
        <p:spPr bwMode="auto">
          <a:xfrm>
            <a:off x="4800600" y="407147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sz="1100"/>
          </a:p>
        </p:txBody>
      </p:sp>
      <p:sp>
        <p:nvSpPr>
          <p:cNvPr id="96" name="正方形/長方形 95">
            <a:extLst>
              <a:ext uri="{FF2B5EF4-FFF2-40B4-BE49-F238E27FC236}">
                <a16:creationId xmlns:a16="http://schemas.microsoft.com/office/drawing/2014/main" id="{D7A33378-CCA9-4E94-B713-FB2368E63821}"/>
              </a:ext>
            </a:extLst>
          </p:cNvPr>
          <p:cNvSpPr/>
          <p:nvPr/>
        </p:nvSpPr>
        <p:spPr bwMode="auto">
          <a:xfrm>
            <a:off x="58519" y="2277724"/>
            <a:ext cx="4807086" cy="986986"/>
          </a:xfrm>
          <a:prstGeom prst="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97" name="テキスト ボックス 96">
            <a:extLst>
              <a:ext uri="{FF2B5EF4-FFF2-40B4-BE49-F238E27FC236}">
                <a16:creationId xmlns:a16="http://schemas.microsoft.com/office/drawing/2014/main" id="{126FBA2C-2A78-4F72-9B54-C3119BC4A9F7}"/>
              </a:ext>
            </a:extLst>
          </p:cNvPr>
          <p:cNvSpPr txBox="1"/>
          <p:nvPr/>
        </p:nvSpPr>
        <p:spPr>
          <a:xfrm>
            <a:off x="70420" y="2488068"/>
            <a:ext cx="4795185" cy="769441"/>
          </a:xfrm>
          <a:prstGeom prst="rect">
            <a:avLst/>
          </a:prstGeom>
          <a:noFill/>
        </p:spPr>
        <p:txBody>
          <a:bodyPr wrap="square">
            <a:spAutoFit/>
          </a:bodyPr>
          <a:lstStyle/>
          <a:p>
            <a:r>
              <a:rPr lang="ja-JP" altLang="en-US" sz="1100" dirty="0"/>
              <a:t>量子ソフトウェア研究拠点、光量子センシング教育研究センター、関西光量子科学研究所等の先端情報・ネットワークを活用するとともに、ソフトウェア研究の強みも活かし、国内外の量子スタートアップを集めたその活用、実用化を議論。</a:t>
            </a:r>
            <a:endParaRPr lang="en-US" altLang="ja-JP" sz="1100" dirty="0"/>
          </a:p>
        </p:txBody>
      </p:sp>
      <p:sp>
        <p:nvSpPr>
          <p:cNvPr id="100" name="テキスト ボックス 99">
            <a:extLst>
              <a:ext uri="{FF2B5EF4-FFF2-40B4-BE49-F238E27FC236}">
                <a16:creationId xmlns:a16="http://schemas.microsoft.com/office/drawing/2014/main" id="{82BB4200-4D3E-454D-AA44-BE4D2F083AD2}"/>
              </a:ext>
            </a:extLst>
          </p:cNvPr>
          <p:cNvSpPr txBox="1"/>
          <p:nvPr/>
        </p:nvSpPr>
        <p:spPr>
          <a:xfrm>
            <a:off x="72249" y="2253207"/>
            <a:ext cx="1509311" cy="261610"/>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量子</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AutoShape 2" descr="本庶 佑">
            <a:extLst>
              <a:ext uri="{FF2B5EF4-FFF2-40B4-BE49-F238E27FC236}">
                <a16:creationId xmlns:a16="http://schemas.microsoft.com/office/drawing/2014/main" id="{09E82331-5CB9-466E-858E-2061EC19CB56}"/>
              </a:ext>
            </a:extLst>
          </p:cNvPr>
          <p:cNvSpPr>
            <a:spLocks noChangeAspect="1" noChangeArrowheads="1"/>
          </p:cNvSpPr>
          <p:nvPr/>
        </p:nvSpPr>
        <p:spPr bwMode="auto">
          <a:xfrm>
            <a:off x="4800600" y="409516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sz="1100"/>
          </a:p>
        </p:txBody>
      </p:sp>
      <p:sp>
        <p:nvSpPr>
          <p:cNvPr id="77" name="正方形/長方形 76">
            <a:extLst>
              <a:ext uri="{FF2B5EF4-FFF2-40B4-BE49-F238E27FC236}">
                <a16:creationId xmlns:a16="http://schemas.microsoft.com/office/drawing/2014/main" id="{9F221B88-8ED9-499B-BDFB-7143C65BA20E}"/>
              </a:ext>
            </a:extLst>
          </p:cNvPr>
          <p:cNvSpPr/>
          <p:nvPr/>
        </p:nvSpPr>
        <p:spPr bwMode="auto">
          <a:xfrm>
            <a:off x="58519" y="3412474"/>
            <a:ext cx="4807086" cy="904647"/>
          </a:xfrm>
          <a:prstGeom prst="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82" name="テキスト ボックス 81">
            <a:extLst>
              <a:ext uri="{FF2B5EF4-FFF2-40B4-BE49-F238E27FC236}">
                <a16:creationId xmlns:a16="http://schemas.microsoft.com/office/drawing/2014/main" id="{DA98B025-35DD-4944-AD99-B6D2BD964421}"/>
              </a:ext>
            </a:extLst>
          </p:cNvPr>
          <p:cNvSpPr txBox="1"/>
          <p:nvPr/>
        </p:nvSpPr>
        <p:spPr>
          <a:xfrm>
            <a:off x="70421" y="3622819"/>
            <a:ext cx="4704431" cy="769441"/>
          </a:xfrm>
          <a:prstGeom prst="rect">
            <a:avLst/>
          </a:prstGeom>
          <a:noFill/>
        </p:spPr>
        <p:txBody>
          <a:bodyPr wrap="square">
            <a:spAutoFit/>
          </a:bodyPr>
          <a:lstStyle/>
          <a:p>
            <a:r>
              <a:rPr lang="ja-JP" altLang="en-US" sz="1100" dirty="0"/>
              <a:t>半導体関連企業が多数所在し、同人材育成の強みを持つ関西のマーケット魅力をもとに、他都市と連携して国内外のトップ企業を招き、半導体・通信</a:t>
            </a:r>
            <a:r>
              <a:rPr lang="en-US" altLang="ja-JP" sz="1100" dirty="0"/>
              <a:t>×</a:t>
            </a:r>
            <a:r>
              <a:rPr lang="ja-JP" altLang="en-US" sz="1100" dirty="0"/>
              <a:t>他分野をテーマに企画、招聘。万博でも活用された</a:t>
            </a:r>
            <a:r>
              <a:rPr lang="en-US" altLang="ja-JP" sz="1100" dirty="0"/>
              <a:t>IWON</a:t>
            </a:r>
            <a:r>
              <a:rPr lang="ja-JP" altLang="en-US" sz="1100" dirty="0"/>
              <a:t>に日本のコンテンツを組合せたデモンストレーションを実施。</a:t>
            </a:r>
            <a:endParaRPr lang="en-US" altLang="ja-JP" sz="1100" dirty="0"/>
          </a:p>
        </p:txBody>
      </p:sp>
      <p:sp>
        <p:nvSpPr>
          <p:cNvPr id="85" name="テキスト ボックス 84">
            <a:extLst>
              <a:ext uri="{FF2B5EF4-FFF2-40B4-BE49-F238E27FC236}">
                <a16:creationId xmlns:a16="http://schemas.microsoft.com/office/drawing/2014/main" id="{4B6E2205-7F04-4ECC-BB92-D255F3EBBA7D}"/>
              </a:ext>
            </a:extLst>
          </p:cNvPr>
          <p:cNvSpPr txBox="1"/>
          <p:nvPr/>
        </p:nvSpPr>
        <p:spPr>
          <a:xfrm>
            <a:off x="72249" y="3387958"/>
            <a:ext cx="1940701" cy="261610"/>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半導体・通信</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コンテンツ</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AutoShape 2" descr="本庶 佑">
            <a:extLst>
              <a:ext uri="{FF2B5EF4-FFF2-40B4-BE49-F238E27FC236}">
                <a16:creationId xmlns:a16="http://schemas.microsoft.com/office/drawing/2014/main" id="{8D8E0339-0983-47CA-97FF-528346935723}"/>
              </a:ext>
            </a:extLst>
          </p:cNvPr>
          <p:cNvSpPr>
            <a:spLocks noChangeAspect="1" noChangeArrowheads="1"/>
          </p:cNvSpPr>
          <p:nvPr/>
        </p:nvSpPr>
        <p:spPr bwMode="auto">
          <a:xfrm>
            <a:off x="9739794" y="408661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sz="1100"/>
          </a:p>
        </p:txBody>
      </p:sp>
      <p:sp>
        <p:nvSpPr>
          <p:cNvPr id="87" name="正方形/長方形 86">
            <a:extLst>
              <a:ext uri="{FF2B5EF4-FFF2-40B4-BE49-F238E27FC236}">
                <a16:creationId xmlns:a16="http://schemas.microsoft.com/office/drawing/2014/main" id="{DE8BA0D5-CA47-4D1D-A2D5-37A68E4B8DDF}"/>
              </a:ext>
            </a:extLst>
          </p:cNvPr>
          <p:cNvSpPr/>
          <p:nvPr/>
        </p:nvSpPr>
        <p:spPr bwMode="auto">
          <a:xfrm>
            <a:off x="4997713" y="3403923"/>
            <a:ext cx="4807086" cy="913197"/>
          </a:xfrm>
          <a:prstGeom prst="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92" name="テキスト ボックス 91">
            <a:extLst>
              <a:ext uri="{FF2B5EF4-FFF2-40B4-BE49-F238E27FC236}">
                <a16:creationId xmlns:a16="http://schemas.microsoft.com/office/drawing/2014/main" id="{CD9B8603-D255-4A17-ADF8-B07042A31CF6}"/>
              </a:ext>
            </a:extLst>
          </p:cNvPr>
          <p:cNvSpPr txBox="1"/>
          <p:nvPr/>
        </p:nvSpPr>
        <p:spPr>
          <a:xfrm>
            <a:off x="5009613" y="3614268"/>
            <a:ext cx="4730179" cy="769441"/>
          </a:xfrm>
          <a:prstGeom prst="rect">
            <a:avLst/>
          </a:prstGeom>
          <a:noFill/>
        </p:spPr>
        <p:txBody>
          <a:bodyPr wrap="square">
            <a:spAutoFit/>
          </a:bodyPr>
          <a:lstStyle/>
          <a:p>
            <a:r>
              <a:rPr lang="ja-JP" altLang="en-US" sz="1100" dirty="0"/>
              <a:t>大阪に在籍する宇宙の第一人者の知見、関西の宇宙機、ロケットを支える重工・素材・計測に関する企業や大学研究の活動に加え、大阪・愛知連携協定のもと同分野の愛知県の強みを組合せ、国内外の関連企業を集積。</a:t>
            </a:r>
            <a:endParaRPr lang="en-US" altLang="ja-JP" sz="1100" dirty="0"/>
          </a:p>
        </p:txBody>
      </p:sp>
      <p:sp>
        <p:nvSpPr>
          <p:cNvPr id="95" name="テキスト ボックス 94">
            <a:extLst>
              <a:ext uri="{FF2B5EF4-FFF2-40B4-BE49-F238E27FC236}">
                <a16:creationId xmlns:a16="http://schemas.microsoft.com/office/drawing/2014/main" id="{8B828BB6-F225-424C-89F6-A8E83E019511}"/>
              </a:ext>
            </a:extLst>
          </p:cNvPr>
          <p:cNvSpPr txBox="1"/>
          <p:nvPr/>
        </p:nvSpPr>
        <p:spPr>
          <a:xfrm>
            <a:off x="5011443" y="3379407"/>
            <a:ext cx="1509311" cy="261610"/>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宇宙</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航空</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8" name="テキスト ボックス 127">
            <a:extLst>
              <a:ext uri="{FF2B5EF4-FFF2-40B4-BE49-F238E27FC236}">
                <a16:creationId xmlns:a16="http://schemas.microsoft.com/office/drawing/2014/main" id="{167A0820-9F49-4A85-817E-0584275DBB8C}"/>
              </a:ext>
            </a:extLst>
          </p:cNvPr>
          <p:cNvSpPr txBox="1"/>
          <p:nvPr/>
        </p:nvSpPr>
        <p:spPr>
          <a:xfrm>
            <a:off x="22256" y="928124"/>
            <a:ext cx="9915381" cy="307777"/>
          </a:xfrm>
          <a:prstGeom prst="rect">
            <a:avLst/>
          </a:prstGeom>
          <a:noFill/>
        </p:spPr>
        <p:txBody>
          <a:bodyPr wrap="square">
            <a:spAutoFit/>
          </a:bodyPr>
          <a:lstStyle/>
          <a:p>
            <a:r>
              <a:rPr lang="en-US" altLang="ja-JP" sz="700" dirty="0"/>
              <a:t>※</a:t>
            </a:r>
            <a:r>
              <a:rPr lang="ja-JP" altLang="en-US" sz="700" dirty="0"/>
              <a:t>掲載する連携自治体は予定先を記載</a:t>
            </a:r>
            <a:endParaRPr lang="en-US" altLang="ja-JP" sz="700" dirty="0"/>
          </a:p>
          <a:p>
            <a:r>
              <a:rPr lang="en-US" altLang="ja-JP" sz="700" dirty="0"/>
              <a:t>※</a:t>
            </a:r>
            <a:r>
              <a:rPr lang="ja-JP" altLang="en-US" sz="700" dirty="0"/>
              <a:t>造船、防災・国土強靱化、湾岸ロジスティクス、</a:t>
            </a:r>
            <a:r>
              <a:rPr lang="en-US" altLang="ja-JP" sz="700" dirty="0"/>
              <a:t>海</a:t>
            </a:r>
            <a:r>
              <a:rPr lang="ja-JP" altLang="en-US" sz="700" dirty="0"/>
              <a:t>洋、防衛産業についても、関西・全国の強みを取り入れ企画を立案</a:t>
            </a:r>
          </a:p>
        </p:txBody>
      </p:sp>
      <p:sp>
        <p:nvSpPr>
          <p:cNvPr id="102" name="AutoShape 2" descr="本庶 佑">
            <a:extLst>
              <a:ext uri="{FF2B5EF4-FFF2-40B4-BE49-F238E27FC236}">
                <a16:creationId xmlns:a16="http://schemas.microsoft.com/office/drawing/2014/main" id="{3CC33E16-751A-415B-84C1-7F1E9E1FC173}"/>
              </a:ext>
            </a:extLst>
          </p:cNvPr>
          <p:cNvSpPr>
            <a:spLocks noChangeAspect="1" noChangeArrowheads="1"/>
          </p:cNvSpPr>
          <p:nvPr/>
        </p:nvSpPr>
        <p:spPr bwMode="auto">
          <a:xfrm>
            <a:off x="9739792" y="298140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sz="1100"/>
          </a:p>
        </p:txBody>
      </p:sp>
      <p:sp>
        <p:nvSpPr>
          <p:cNvPr id="103" name="正方形/長方形 102">
            <a:extLst>
              <a:ext uri="{FF2B5EF4-FFF2-40B4-BE49-F238E27FC236}">
                <a16:creationId xmlns:a16="http://schemas.microsoft.com/office/drawing/2014/main" id="{BA38B4AF-2830-47AF-8901-4DCFD4798A6D}"/>
              </a:ext>
            </a:extLst>
          </p:cNvPr>
          <p:cNvSpPr/>
          <p:nvPr/>
        </p:nvSpPr>
        <p:spPr bwMode="auto">
          <a:xfrm>
            <a:off x="5018156" y="2287991"/>
            <a:ext cx="4807086" cy="969517"/>
          </a:xfrm>
          <a:prstGeom prst="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108" name="テキスト ボックス 107">
            <a:extLst>
              <a:ext uri="{FF2B5EF4-FFF2-40B4-BE49-F238E27FC236}">
                <a16:creationId xmlns:a16="http://schemas.microsoft.com/office/drawing/2014/main" id="{E34A691C-D6DB-4006-8902-247E6CBBC36C}"/>
              </a:ext>
            </a:extLst>
          </p:cNvPr>
          <p:cNvSpPr txBox="1"/>
          <p:nvPr/>
        </p:nvSpPr>
        <p:spPr>
          <a:xfrm>
            <a:off x="5009613" y="2509058"/>
            <a:ext cx="4795184" cy="600164"/>
          </a:xfrm>
          <a:prstGeom prst="rect">
            <a:avLst/>
          </a:prstGeom>
          <a:noFill/>
        </p:spPr>
        <p:txBody>
          <a:bodyPr wrap="square">
            <a:spAutoFit/>
          </a:bodyPr>
          <a:lstStyle/>
          <a:p>
            <a:r>
              <a:rPr lang="ja-JP" altLang="en-US" sz="1100" dirty="0"/>
              <a:t>日本のフュージョンの第一人者および関西のスタートアップが参画する</a:t>
            </a:r>
            <a:r>
              <a:rPr lang="en-US" altLang="ja-JP" sz="1100" dirty="0"/>
              <a:t>J-Fusion</a:t>
            </a:r>
            <a:r>
              <a:rPr lang="ja-JP" altLang="en-US" sz="1100" dirty="0"/>
              <a:t>のネットワーク等を用いてフュージョンの政策、方向性を議論。また万博で扱われた</a:t>
            </a:r>
            <a:r>
              <a:rPr lang="en-US" altLang="ja-JP" sz="1100" dirty="0"/>
              <a:t>GX</a:t>
            </a:r>
            <a:r>
              <a:rPr lang="ja-JP" altLang="en-US" sz="1100" dirty="0"/>
              <a:t>技術の推進に向けた企画、招聘。　　　</a:t>
            </a:r>
            <a:endParaRPr lang="en-US" altLang="ja-JP" sz="1100" dirty="0"/>
          </a:p>
        </p:txBody>
      </p:sp>
      <p:sp>
        <p:nvSpPr>
          <p:cNvPr id="111" name="テキスト ボックス 110">
            <a:extLst>
              <a:ext uri="{FF2B5EF4-FFF2-40B4-BE49-F238E27FC236}">
                <a16:creationId xmlns:a16="http://schemas.microsoft.com/office/drawing/2014/main" id="{ABF29AB6-51CB-44F6-9423-580C9DA1DF1E}"/>
              </a:ext>
            </a:extLst>
          </p:cNvPr>
          <p:cNvSpPr txBox="1"/>
          <p:nvPr/>
        </p:nvSpPr>
        <p:spPr>
          <a:xfrm>
            <a:off x="5011441" y="2274197"/>
            <a:ext cx="4109955" cy="261610"/>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ﾌｭｰｼﾞｮﾝｴﾈﾙｷﾞｰ</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資源・ｴﾈﾙｷﾞｰ安全保障・</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GX</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ﾏﾃﾘｱﾙ</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3" name="正方形/長方形 132">
            <a:extLst>
              <a:ext uri="{FF2B5EF4-FFF2-40B4-BE49-F238E27FC236}">
                <a16:creationId xmlns:a16="http://schemas.microsoft.com/office/drawing/2014/main" id="{0DA6453E-9076-4451-9469-6579BBB78FA9}"/>
              </a:ext>
            </a:extLst>
          </p:cNvPr>
          <p:cNvSpPr/>
          <p:nvPr/>
        </p:nvSpPr>
        <p:spPr bwMode="auto">
          <a:xfrm>
            <a:off x="27318" y="4597846"/>
            <a:ext cx="4825519" cy="808038"/>
          </a:xfrm>
          <a:prstGeom prst="rect">
            <a:avLst/>
          </a:prstGeom>
          <a:no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DF359CF8-2ABE-4F4A-BE82-DBF4C9F042CC}"/>
              </a:ext>
            </a:extLst>
          </p:cNvPr>
          <p:cNvSpPr txBox="1"/>
          <p:nvPr/>
        </p:nvSpPr>
        <p:spPr>
          <a:xfrm>
            <a:off x="-54087" y="4390009"/>
            <a:ext cx="1509311" cy="261610"/>
          </a:xfrm>
          <a:prstGeom prst="rect">
            <a:avLst/>
          </a:prstGeom>
          <a:noFill/>
        </p:spPr>
        <p:txBody>
          <a:bodyPr wrap="square" rtlCol="0">
            <a:spAutoFit/>
          </a:bodyPr>
          <a:lstStyle/>
          <a:p>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latin typeface="Meiryo UI" panose="020B0604030504040204" pitchFamily="50" charset="-128"/>
                <a:ea typeface="Meiryo UI" panose="020B0604030504040204" pitchFamily="50" charset="-128"/>
                <a:cs typeface="Meiryo UI" panose="020B0604030504040204" pitchFamily="50" charset="-128"/>
              </a:rPr>
              <a:t>上記以外のテーマ</a:t>
            </a:r>
            <a:r>
              <a:rPr lang="en-US" altLang="ja-JP" sz="110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5" name="テキスト ボックス 134">
            <a:extLst>
              <a:ext uri="{FF2B5EF4-FFF2-40B4-BE49-F238E27FC236}">
                <a16:creationId xmlns:a16="http://schemas.microsoft.com/office/drawing/2014/main" id="{3573883C-2EC5-44D7-8BBB-75EFDB470BE2}"/>
              </a:ext>
            </a:extLst>
          </p:cNvPr>
          <p:cNvSpPr txBox="1"/>
          <p:nvPr/>
        </p:nvSpPr>
        <p:spPr>
          <a:xfrm>
            <a:off x="-6454" y="4613921"/>
            <a:ext cx="3205694" cy="261610"/>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オープンイノベーション／アントレプレナーマインド</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6" name="テキスト ボックス 135">
            <a:extLst>
              <a:ext uri="{FF2B5EF4-FFF2-40B4-BE49-F238E27FC236}">
                <a16:creationId xmlns:a16="http://schemas.microsoft.com/office/drawing/2014/main" id="{D9061F8E-D999-4901-9051-09C2DE1A2FB1}"/>
              </a:ext>
            </a:extLst>
          </p:cNvPr>
          <p:cNvSpPr txBox="1"/>
          <p:nvPr/>
        </p:nvSpPr>
        <p:spPr>
          <a:xfrm>
            <a:off x="27318" y="4851749"/>
            <a:ext cx="4902665" cy="430887"/>
          </a:xfrm>
          <a:prstGeom prst="rect">
            <a:avLst/>
          </a:prstGeom>
          <a:noFill/>
        </p:spPr>
        <p:txBody>
          <a:bodyPr wrap="square">
            <a:spAutoFit/>
          </a:bodyPr>
          <a:lstStyle/>
          <a:p>
            <a:r>
              <a:rPr lang="ja-JP" altLang="en-US" sz="1100" dirty="0"/>
              <a:t>海外トップティアの</a:t>
            </a:r>
            <a:r>
              <a:rPr lang="en-US" altLang="ja-JP" sz="1100" dirty="0"/>
              <a:t>VC</a:t>
            </a:r>
            <a:r>
              <a:rPr lang="ja-JP" altLang="en-US" sz="1100" dirty="0"/>
              <a:t>、</a:t>
            </a:r>
            <a:r>
              <a:rPr lang="en-US" altLang="ja-JP" sz="1100" dirty="0"/>
              <a:t>CVC</a:t>
            </a:r>
            <a:r>
              <a:rPr lang="ja-JP" altLang="en-US" sz="1100" dirty="0"/>
              <a:t>のスタートアップ投資、オープンイノベーションの取組みをテーマに扱い、国内の</a:t>
            </a:r>
            <a:r>
              <a:rPr lang="en-US" altLang="ja-JP" sz="1100" dirty="0"/>
              <a:t>VC</a:t>
            </a:r>
            <a:r>
              <a:rPr lang="ja-JP" altLang="en-US" sz="1100" dirty="0"/>
              <a:t>、大企業の参加を促進</a:t>
            </a:r>
            <a:endParaRPr lang="en-US" altLang="ja-JP" sz="1100" dirty="0"/>
          </a:p>
        </p:txBody>
      </p:sp>
      <p:sp>
        <p:nvSpPr>
          <p:cNvPr id="138" name="正方形/長方形 137">
            <a:extLst>
              <a:ext uri="{FF2B5EF4-FFF2-40B4-BE49-F238E27FC236}">
                <a16:creationId xmlns:a16="http://schemas.microsoft.com/office/drawing/2014/main" id="{BDF7847C-DD15-4671-961C-B59A541F874B}"/>
              </a:ext>
            </a:extLst>
          </p:cNvPr>
          <p:cNvSpPr/>
          <p:nvPr/>
        </p:nvSpPr>
        <p:spPr bwMode="auto">
          <a:xfrm>
            <a:off x="4980905" y="4608537"/>
            <a:ext cx="4825519" cy="808038"/>
          </a:xfrm>
          <a:prstGeom prst="rect">
            <a:avLst/>
          </a:prstGeom>
          <a:noFill/>
          <a:ln w="9525">
            <a:solidFill>
              <a:srgbClr val="B2B2B2"/>
            </a:solidFill>
            <a:miter lim="800000"/>
            <a:headEnd/>
            <a:tailEnd/>
          </a:ln>
          <a:effectLst/>
        </p:spPr>
        <p:txBody>
          <a:bodyPr wrap="none" rtlCol="0" anchor="ctr"/>
          <a:lstStyle/>
          <a:p>
            <a:pPr algn="l"/>
            <a:endParaRPr kumimoji="0" lang="ja-JP" altLang="en-US" sz="1100" dirty="0">
              <a:latin typeface="Meiryo UI" panose="020B0604030504040204" pitchFamily="50" charset="-128"/>
              <a:ea typeface="Meiryo UI" panose="020B0604030504040204" pitchFamily="50" charset="-128"/>
            </a:endParaRPr>
          </a:p>
        </p:txBody>
      </p:sp>
      <p:sp>
        <p:nvSpPr>
          <p:cNvPr id="139" name="テキスト ボックス 138">
            <a:extLst>
              <a:ext uri="{FF2B5EF4-FFF2-40B4-BE49-F238E27FC236}">
                <a16:creationId xmlns:a16="http://schemas.microsoft.com/office/drawing/2014/main" id="{D239D897-4A9E-42DE-BC76-7C09F7908B9F}"/>
              </a:ext>
            </a:extLst>
          </p:cNvPr>
          <p:cNvSpPr txBox="1"/>
          <p:nvPr/>
        </p:nvSpPr>
        <p:spPr>
          <a:xfrm>
            <a:off x="4947133" y="4624612"/>
            <a:ext cx="3205694" cy="261610"/>
          </a:xfrm>
          <a:prstGeom prst="rect">
            <a:avLst/>
          </a:prstGeom>
          <a:noFill/>
        </p:spPr>
        <p:txBody>
          <a:bodyPr wrap="square" rtlCol="0">
            <a:spAutoFit/>
          </a:bodyPr>
          <a:lstStyle/>
          <a:p>
            <a:r>
              <a:rPr lang="en-US" altLang="ja-JP" sz="1100" b="1" dirty="0">
                <a:latin typeface="Meiryo UI" panose="020B0604030504040204" pitchFamily="50" charset="-128"/>
                <a:ea typeface="Meiryo UI" panose="020B0604030504040204" pitchFamily="50" charset="-128"/>
                <a:cs typeface="Meiryo UI" panose="020B0604030504040204" pitchFamily="50" charset="-128"/>
              </a:rPr>
              <a:t>【Web3.0</a:t>
            </a:r>
            <a:r>
              <a:rPr lang="ja-JP" altLang="en-US" sz="1100" b="1" dirty="0">
                <a:latin typeface="Meiryo UI" panose="020B0604030504040204" pitchFamily="50" charset="-128"/>
                <a:ea typeface="Meiryo UI" panose="020B0604030504040204" pitchFamily="50" charset="-128"/>
                <a:cs typeface="Meiryo UI" panose="020B0604030504040204" pitchFamily="50" charset="-128"/>
              </a:rPr>
              <a:t>／ブロックチェーン</a:t>
            </a:r>
            <a:r>
              <a:rPr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40" name="テキスト ボックス 139">
            <a:extLst>
              <a:ext uri="{FF2B5EF4-FFF2-40B4-BE49-F238E27FC236}">
                <a16:creationId xmlns:a16="http://schemas.microsoft.com/office/drawing/2014/main" id="{D7950085-C372-43F3-9BE0-2E04ABA829C3}"/>
              </a:ext>
            </a:extLst>
          </p:cNvPr>
          <p:cNvSpPr txBox="1"/>
          <p:nvPr/>
        </p:nvSpPr>
        <p:spPr>
          <a:xfrm>
            <a:off x="4972438" y="4862440"/>
            <a:ext cx="4902665" cy="430887"/>
          </a:xfrm>
          <a:prstGeom prst="rect">
            <a:avLst/>
          </a:prstGeom>
          <a:noFill/>
        </p:spPr>
        <p:txBody>
          <a:bodyPr wrap="square">
            <a:spAutoFit/>
          </a:bodyPr>
          <a:lstStyle/>
          <a:p>
            <a:r>
              <a:rPr lang="ja-JP" altLang="en-US" sz="1100" dirty="0"/>
              <a:t>日本の国際金融都市の活動推進の視野に、次世代のプラットフォーム</a:t>
            </a:r>
            <a:r>
              <a:rPr lang="en-US" altLang="ja-JP" sz="1100" dirty="0"/>
              <a:t>Web3.0</a:t>
            </a:r>
            <a:r>
              <a:rPr lang="ja-JP" altLang="en-US" sz="1100" dirty="0"/>
              <a:t>のビジネスチャンスを共有する。</a:t>
            </a:r>
            <a:endParaRPr lang="en-US" altLang="ja-JP" sz="1100" dirty="0"/>
          </a:p>
        </p:txBody>
      </p:sp>
      <p:sp>
        <p:nvSpPr>
          <p:cNvPr id="115" name="テキスト ボックス 114">
            <a:extLst>
              <a:ext uri="{FF2B5EF4-FFF2-40B4-BE49-F238E27FC236}">
                <a16:creationId xmlns:a16="http://schemas.microsoft.com/office/drawing/2014/main" id="{DCF65EC0-AB67-4F47-816C-5F30B39FA0CE}"/>
              </a:ext>
            </a:extLst>
          </p:cNvPr>
          <p:cNvSpPr txBox="1"/>
          <p:nvPr/>
        </p:nvSpPr>
        <p:spPr>
          <a:xfrm>
            <a:off x="58519" y="5642304"/>
            <a:ext cx="9766723" cy="430887"/>
          </a:xfrm>
          <a:prstGeom prst="rect">
            <a:avLst/>
          </a:prstGeom>
          <a:noFill/>
          <a:ln>
            <a:solidFill>
              <a:schemeClr val="tx1"/>
            </a:solidFill>
            <a:prstDash val="dash"/>
          </a:ln>
        </p:spPr>
        <p:txBody>
          <a:bodyPr wrap="square">
            <a:spAutoFit/>
          </a:bodyPr>
          <a:lstStyle/>
          <a:p>
            <a:r>
              <a:rPr lang="en-US" altLang="ja-JP" sz="1100" dirty="0"/>
              <a:t>※</a:t>
            </a:r>
            <a:r>
              <a:rPr lang="ja-JP" altLang="en-US" sz="1100" dirty="0"/>
              <a:t>本提案においては、ノーベル賞受賞者をはじめとする各分野における代表的な研究者、起業家等のネットワークを活用し、基調講演、セッション登壇者を確保すること。また、上記分野で関西に数多くの関連企業（大企業、スタートアップ）があることを国に説明。</a:t>
            </a:r>
            <a:endParaRPr lang="en-US" altLang="ja-JP" sz="1100" dirty="0"/>
          </a:p>
        </p:txBody>
      </p:sp>
      <p:sp>
        <p:nvSpPr>
          <p:cNvPr id="39" name="楕円 38">
            <a:extLst>
              <a:ext uri="{FF2B5EF4-FFF2-40B4-BE49-F238E27FC236}">
                <a16:creationId xmlns:a16="http://schemas.microsoft.com/office/drawing/2014/main" id="{800D2825-7652-4688-8F27-1D628F61E8FF}"/>
              </a:ext>
            </a:extLst>
          </p:cNvPr>
          <p:cNvSpPr/>
          <p:nvPr/>
        </p:nvSpPr>
        <p:spPr bwMode="auto">
          <a:xfrm>
            <a:off x="4390456" y="2007469"/>
            <a:ext cx="513349" cy="132623"/>
          </a:xfrm>
          <a:prstGeom prst="ellipse">
            <a:avLst/>
          </a:prstGeom>
          <a:solidFill>
            <a:schemeClr val="accent5">
              <a:lumMod val="20000"/>
              <a:lumOff val="80000"/>
            </a:schemeClr>
          </a:solidFill>
          <a:ln w="6350">
            <a:solidFill>
              <a:schemeClr val="tx2"/>
            </a:solidFill>
            <a:miter lim="800000"/>
            <a:headEnd/>
            <a:tailEnd/>
          </a:ln>
          <a:effectLst/>
        </p:spPr>
        <p:txBody>
          <a:bodyPr wrap="none" rtlCol="0" anchor="ctr"/>
          <a:lstStyle/>
          <a:p>
            <a:pPr algn="ctr"/>
            <a:r>
              <a:rPr kumimoji="0" lang="ja-JP" altLang="en-US" sz="500" dirty="0">
                <a:latin typeface="Meiryo UI" panose="020B0604030504040204" pitchFamily="50" charset="-128"/>
                <a:ea typeface="Meiryo UI" panose="020B0604030504040204" pitchFamily="50" charset="-128"/>
              </a:rPr>
              <a:t>神奈川等と連携</a:t>
            </a:r>
          </a:p>
        </p:txBody>
      </p:sp>
      <p:sp>
        <p:nvSpPr>
          <p:cNvPr id="41" name="楕円 40">
            <a:extLst>
              <a:ext uri="{FF2B5EF4-FFF2-40B4-BE49-F238E27FC236}">
                <a16:creationId xmlns:a16="http://schemas.microsoft.com/office/drawing/2014/main" id="{BA1DA254-F2DF-467D-A945-A78DC343EBEC}"/>
              </a:ext>
            </a:extLst>
          </p:cNvPr>
          <p:cNvSpPr/>
          <p:nvPr/>
        </p:nvSpPr>
        <p:spPr bwMode="auto">
          <a:xfrm>
            <a:off x="4342254" y="3089863"/>
            <a:ext cx="513349" cy="132623"/>
          </a:xfrm>
          <a:prstGeom prst="ellipse">
            <a:avLst/>
          </a:prstGeom>
          <a:solidFill>
            <a:schemeClr val="accent5">
              <a:lumMod val="20000"/>
              <a:lumOff val="80000"/>
            </a:schemeClr>
          </a:solidFill>
          <a:ln w="6350">
            <a:solidFill>
              <a:schemeClr val="tx2"/>
            </a:solidFill>
            <a:miter lim="800000"/>
            <a:headEnd/>
            <a:tailEnd/>
          </a:ln>
          <a:effectLst/>
        </p:spPr>
        <p:txBody>
          <a:bodyPr wrap="none" rtlCol="0" anchor="ctr"/>
          <a:lstStyle/>
          <a:p>
            <a:pPr algn="ctr"/>
            <a:r>
              <a:rPr kumimoji="0" lang="ja-JP" altLang="en-US" sz="500" dirty="0">
                <a:latin typeface="Meiryo UI" panose="020B0604030504040204" pitchFamily="50" charset="-128"/>
                <a:ea typeface="Meiryo UI" panose="020B0604030504040204" pitchFamily="50" charset="-128"/>
              </a:rPr>
              <a:t>東京等と連携</a:t>
            </a:r>
          </a:p>
        </p:txBody>
      </p:sp>
      <p:sp>
        <p:nvSpPr>
          <p:cNvPr id="42" name="楕円 41">
            <a:extLst>
              <a:ext uri="{FF2B5EF4-FFF2-40B4-BE49-F238E27FC236}">
                <a16:creationId xmlns:a16="http://schemas.microsoft.com/office/drawing/2014/main" id="{DDDE6A9C-A8E2-409A-9908-EA7D20F00DF0}"/>
              </a:ext>
            </a:extLst>
          </p:cNvPr>
          <p:cNvSpPr/>
          <p:nvPr/>
        </p:nvSpPr>
        <p:spPr bwMode="auto">
          <a:xfrm>
            <a:off x="4073388" y="4161524"/>
            <a:ext cx="851039" cy="138776"/>
          </a:xfrm>
          <a:prstGeom prst="ellipse">
            <a:avLst/>
          </a:prstGeom>
          <a:solidFill>
            <a:schemeClr val="accent5">
              <a:lumMod val="20000"/>
              <a:lumOff val="80000"/>
            </a:schemeClr>
          </a:solidFill>
          <a:ln w="6350">
            <a:solidFill>
              <a:schemeClr val="tx2"/>
            </a:solidFill>
            <a:miter lim="800000"/>
            <a:headEnd/>
            <a:tailEnd/>
          </a:ln>
          <a:effectLst/>
        </p:spPr>
        <p:txBody>
          <a:bodyPr wrap="none" rtlCol="0" anchor="ctr"/>
          <a:lstStyle/>
          <a:p>
            <a:pPr algn="ctr"/>
            <a:r>
              <a:rPr kumimoji="0" lang="ja-JP" altLang="en-US" sz="500" dirty="0">
                <a:latin typeface="Meiryo UI" panose="020B0604030504040204" pitchFamily="50" charset="-128"/>
                <a:ea typeface="Meiryo UI" panose="020B0604030504040204" pitchFamily="50" charset="-128"/>
              </a:rPr>
              <a:t>北海道、広島、熊本等と連携</a:t>
            </a:r>
          </a:p>
        </p:txBody>
      </p:sp>
      <p:sp>
        <p:nvSpPr>
          <p:cNvPr id="43" name="楕円 42">
            <a:extLst>
              <a:ext uri="{FF2B5EF4-FFF2-40B4-BE49-F238E27FC236}">
                <a16:creationId xmlns:a16="http://schemas.microsoft.com/office/drawing/2014/main" id="{5B13B13E-371A-416E-B110-1C1D88E4D432}"/>
              </a:ext>
            </a:extLst>
          </p:cNvPr>
          <p:cNvSpPr/>
          <p:nvPr/>
        </p:nvSpPr>
        <p:spPr bwMode="auto">
          <a:xfrm>
            <a:off x="9276112" y="2007469"/>
            <a:ext cx="513349" cy="132623"/>
          </a:xfrm>
          <a:prstGeom prst="ellipse">
            <a:avLst/>
          </a:prstGeom>
          <a:solidFill>
            <a:schemeClr val="accent5">
              <a:lumMod val="20000"/>
              <a:lumOff val="80000"/>
            </a:schemeClr>
          </a:solidFill>
          <a:ln w="6350">
            <a:solidFill>
              <a:schemeClr val="tx2"/>
            </a:solidFill>
            <a:miter lim="800000"/>
            <a:headEnd/>
            <a:tailEnd/>
          </a:ln>
          <a:effectLst/>
        </p:spPr>
        <p:txBody>
          <a:bodyPr wrap="none" rtlCol="0" anchor="ctr"/>
          <a:lstStyle/>
          <a:p>
            <a:pPr algn="ctr"/>
            <a:r>
              <a:rPr kumimoji="0" lang="ja-JP" altLang="en-US" sz="500" dirty="0">
                <a:latin typeface="Meiryo UI" panose="020B0604030504040204" pitchFamily="50" charset="-128"/>
                <a:ea typeface="Meiryo UI" panose="020B0604030504040204" pitchFamily="50" charset="-128"/>
              </a:rPr>
              <a:t>茨城等と連携</a:t>
            </a:r>
          </a:p>
        </p:txBody>
      </p:sp>
      <p:sp>
        <p:nvSpPr>
          <p:cNvPr id="44" name="楕円 43">
            <a:extLst>
              <a:ext uri="{FF2B5EF4-FFF2-40B4-BE49-F238E27FC236}">
                <a16:creationId xmlns:a16="http://schemas.microsoft.com/office/drawing/2014/main" id="{EB219B2C-285B-416F-BF2C-211CE3D11755}"/>
              </a:ext>
            </a:extLst>
          </p:cNvPr>
          <p:cNvSpPr/>
          <p:nvPr/>
        </p:nvSpPr>
        <p:spPr bwMode="auto">
          <a:xfrm>
            <a:off x="9276112" y="3089863"/>
            <a:ext cx="513349" cy="132623"/>
          </a:xfrm>
          <a:prstGeom prst="ellipse">
            <a:avLst/>
          </a:prstGeom>
          <a:solidFill>
            <a:schemeClr val="accent5">
              <a:lumMod val="20000"/>
              <a:lumOff val="80000"/>
            </a:schemeClr>
          </a:solidFill>
          <a:ln w="6350">
            <a:solidFill>
              <a:schemeClr val="tx2"/>
            </a:solidFill>
            <a:miter lim="800000"/>
            <a:headEnd/>
            <a:tailEnd/>
          </a:ln>
          <a:effectLst/>
        </p:spPr>
        <p:txBody>
          <a:bodyPr wrap="none" rtlCol="0" anchor="ctr"/>
          <a:lstStyle/>
          <a:p>
            <a:pPr algn="ctr"/>
            <a:r>
              <a:rPr kumimoji="0" lang="ja-JP" altLang="en-US" sz="500" dirty="0">
                <a:latin typeface="Meiryo UI" panose="020B0604030504040204" pitchFamily="50" charset="-128"/>
                <a:ea typeface="Meiryo UI" panose="020B0604030504040204" pitchFamily="50" charset="-128"/>
              </a:rPr>
              <a:t>東京等と連携</a:t>
            </a:r>
          </a:p>
        </p:txBody>
      </p:sp>
      <p:sp>
        <p:nvSpPr>
          <p:cNvPr id="45" name="楕円 44">
            <a:extLst>
              <a:ext uri="{FF2B5EF4-FFF2-40B4-BE49-F238E27FC236}">
                <a16:creationId xmlns:a16="http://schemas.microsoft.com/office/drawing/2014/main" id="{4A16AAB2-66BE-4E60-ADB5-DED7BFC97A2A}"/>
              </a:ext>
            </a:extLst>
          </p:cNvPr>
          <p:cNvSpPr/>
          <p:nvPr/>
        </p:nvSpPr>
        <p:spPr bwMode="auto">
          <a:xfrm>
            <a:off x="9075435" y="4164601"/>
            <a:ext cx="772686" cy="132623"/>
          </a:xfrm>
          <a:prstGeom prst="ellipse">
            <a:avLst/>
          </a:prstGeom>
          <a:solidFill>
            <a:schemeClr val="accent5">
              <a:lumMod val="20000"/>
              <a:lumOff val="80000"/>
            </a:schemeClr>
          </a:solidFill>
          <a:ln w="6350">
            <a:solidFill>
              <a:schemeClr val="tx2"/>
            </a:solidFill>
            <a:miter lim="800000"/>
            <a:headEnd/>
            <a:tailEnd/>
          </a:ln>
          <a:effectLst/>
        </p:spPr>
        <p:txBody>
          <a:bodyPr wrap="none" rtlCol="0" anchor="ctr"/>
          <a:lstStyle/>
          <a:p>
            <a:pPr algn="ctr"/>
            <a:r>
              <a:rPr kumimoji="0" lang="ja-JP" altLang="en-US" sz="500" dirty="0">
                <a:latin typeface="Meiryo UI" panose="020B0604030504040204" pitchFamily="50" charset="-128"/>
                <a:ea typeface="Meiryo UI" panose="020B0604030504040204" pitchFamily="50" charset="-128"/>
              </a:rPr>
              <a:t>愛知、東京、茨城等と連携</a:t>
            </a:r>
          </a:p>
        </p:txBody>
      </p:sp>
    </p:spTree>
    <p:extLst>
      <p:ext uri="{BB962C8B-B14F-4D97-AF65-F5344CB8AC3E}">
        <p14:creationId xmlns:p14="http://schemas.microsoft.com/office/powerpoint/2010/main" val="1376912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9D99B-93D7-EE6B-B2A7-B1B0E6A21226}"/>
            </a:ext>
          </a:extLst>
        </p:cNvPr>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BFC3A5BD-9DD9-8CFD-0206-9AC4C319C11D}"/>
              </a:ext>
            </a:extLst>
          </p:cNvPr>
          <p:cNvSpPr/>
          <p:nvPr/>
        </p:nvSpPr>
        <p:spPr bwMode="auto">
          <a:xfrm>
            <a:off x="5209030" y="1492479"/>
            <a:ext cx="4591341" cy="2885994"/>
          </a:xfrm>
          <a:prstGeom prst="roundRect">
            <a:avLst>
              <a:gd name="adj" fmla="val 4241"/>
            </a:avLst>
          </a:prstGeom>
          <a:solidFill>
            <a:schemeClr val="accent1">
              <a:lumMod val="20000"/>
              <a:lumOff val="80000"/>
            </a:schemeClr>
          </a:solidFill>
          <a:ln w="9525">
            <a:noFill/>
            <a:miter lim="800000"/>
            <a:headEnd/>
            <a:tailEnd/>
          </a:ln>
          <a:effectLst/>
        </p:spPr>
        <p:txBody>
          <a:bodyPr wrap="square" lIns="0" tIns="0" rIns="36000" bIns="0" rtlCol="0" anchor="ctr" anchorCtr="0"/>
          <a:lstStyle/>
          <a:p>
            <a:pPr marL="92075" indent="-92075">
              <a:spcAft>
                <a:spcPts val="600"/>
              </a:spcAft>
              <a:buClr>
                <a:schemeClr val="tx1"/>
              </a:buClr>
              <a:buFont typeface="Wingdings" panose="05000000000000000000" pitchFamily="2" charset="2"/>
              <a:buChar char="n"/>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600"/>
              </a:spcAft>
              <a:buClr>
                <a:schemeClr val="tx1"/>
              </a:buClr>
              <a:buFont typeface="Wingdings" panose="05000000000000000000" pitchFamily="2" charset="2"/>
              <a:buChar char="n"/>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万博・グローバル拠点都市</a:t>
            </a:r>
            <a:br>
              <a:rPr lang="en-US" altLang="ja-JP" sz="900" b="1" dirty="0">
                <a:latin typeface="Meiryo UI" panose="020B0604030504040204" pitchFamily="50" charset="-128"/>
                <a:ea typeface="Meiryo UI" panose="020B0604030504040204" pitchFamily="50" charset="-128"/>
                <a:cs typeface="Meiryo UI" panose="020B0604030504040204" pitchFamily="50" charset="-128"/>
              </a:rPr>
            </a:br>
            <a:r>
              <a:rPr lang="ja-JP" altLang="en-US" sz="800" dirty="0">
                <a:latin typeface="Meiryo UI" panose="020B0604030504040204" pitchFamily="50" charset="-128"/>
                <a:ea typeface="Meiryo UI" panose="020B0604030504040204" pitchFamily="50" charset="-128"/>
                <a:cs typeface="Meiryo UI" panose="020B0604030504040204" pitchFamily="50" charset="-128"/>
              </a:rPr>
              <a:t>万博やグローバル拠点都市の活動等で培った海外機関とのネットワークを用いた海外スタートアップの参加</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600"/>
              </a:spcAft>
              <a:buClr>
                <a:schemeClr val="tx1"/>
              </a:buClr>
              <a:buFont typeface="Wingdings" panose="05000000000000000000" pitchFamily="2" charset="2"/>
              <a:buChar char="n"/>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海外</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CVC</a:t>
            </a: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コミュニティ</a:t>
            </a:r>
            <a:br>
              <a:rPr lang="en-US" altLang="ja-JP" sz="1000" b="1" dirty="0">
                <a:latin typeface="Meiryo UI" panose="020B0604030504040204" pitchFamily="50" charset="-128"/>
                <a:ea typeface="Meiryo UI" panose="020B0604030504040204" pitchFamily="50" charset="-128"/>
                <a:cs typeface="Meiryo UI" panose="020B0604030504040204" pitchFamily="50" charset="-128"/>
              </a:rPr>
            </a:br>
            <a:r>
              <a:rPr lang="ja-JP" altLang="en-US" sz="800" dirty="0">
                <a:latin typeface="Meiryo UI" panose="020B0604030504040204" pitchFamily="50" charset="-128"/>
                <a:ea typeface="Meiryo UI" panose="020B0604030504040204" pitchFamily="50" charset="-128"/>
                <a:cs typeface="Meiryo UI" panose="020B0604030504040204" pitchFamily="50" charset="-128"/>
              </a:rPr>
              <a:t>世界最大級の</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CVC</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コミュニティと連携し、海外</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CVC</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の参加を促進</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600"/>
              </a:spcAft>
              <a:buClr>
                <a:schemeClr val="tx1"/>
              </a:buClr>
              <a:buFont typeface="Wingdings" panose="05000000000000000000" pitchFamily="2" charset="2"/>
              <a:buChar char="n"/>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海外インパクトのあるアンバサダー</a:t>
            </a:r>
            <a:br>
              <a:rPr lang="en-US" altLang="ja-JP" sz="900" b="1" dirty="0">
                <a:latin typeface="Meiryo UI" panose="020B0604030504040204" pitchFamily="50" charset="-128"/>
                <a:ea typeface="Meiryo UI" panose="020B0604030504040204" pitchFamily="50" charset="-128"/>
                <a:cs typeface="Meiryo UI" panose="020B0604030504040204" pitchFamily="50" charset="-128"/>
              </a:rPr>
            </a:br>
            <a:r>
              <a:rPr lang="ja-JP" altLang="en-US" sz="800" dirty="0">
                <a:latin typeface="Meiryo UI" panose="020B0604030504040204" pitchFamily="50" charset="-128"/>
                <a:ea typeface="Meiryo UI" panose="020B0604030504040204" pitchFamily="50" charset="-128"/>
                <a:cs typeface="Meiryo UI" panose="020B0604030504040204" pitchFamily="50" charset="-128"/>
              </a:rPr>
              <a:t>ノーベル賞受賞者等世界的なネットワークを持つ各界の第一人者をアンバサダーとして起用し、そのグローバルサイエンスネットワークを通じて海外の参加を促進</a:t>
            </a:r>
          </a:p>
          <a:p>
            <a:pPr marL="92075" indent="-92075">
              <a:spcAft>
                <a:spcPts val="600"/>
              </a:spcAft>
              <a:buClr>
                <a:schemeClr val="tx1"/>
              </a:buClr>
              <a:buFont typeface="Wingdings" panose="05000000000000000000" pitchFamily="2" charset="2"/>
              <a:buChar char="n"/>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外国人起業家等の呼び込み</a:t>
            </a:r>
            <a:endParaRPr lang="en-US" altLang="ja-JP" sz="900" b="1" dirty="0">
              <a:latin typeface="Meiryo UI" panose="020B0604030504040204" pitchFamily="50" charset="-128"/>
              <a:ea typeface="Meiryo UI" panose="020B0604030504040204" pitchFamily="50" charset="-128"/>
              <a:cs typeface="Meiryo UI" panose="020B0604030504040204" pitchFamily="50" charset="-128"/>
            </a:endParaRPr>
          </a:p>
          <a:p>
            <a:pPr>
              <a:lnSpc>
                <a:spcPts val="600"/>
              </a:lnSpc>
              <a:spcAft>
                <a:spcPts val="600"/>
              </a:spcAft>
              <a:buClr>
                <a:schemeClr val="tx1"/>
              </a:buClr>
            </a:pPr>
            <a:r>
              <a:rPr lang="en-US" altLang="ja-JP" sz="900" b="1" dirty="0">
                <a:latin typeface="Meiryo UI" panose="020B0604030504040204" pitchFamily="50" charset="-128"/>
                <a:ea typeface="Meiryo UI" panose="020B0604030504040204" pitchFamily="50" charset="-128"/>
                <a:cs typeface="Meiryo UI" panose="020B0604030504040204" pitchFamily="50" charset="-128"/>
              </a:rPr>
              <a:t>  </a:t>
            </a:r>
            <a:r>
              <a:rPr lang="ja-JP" altLang="en-US" sz="8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ノマドワーカー等海外のイノベーション関係者の参加を促進</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600"/>
              </a:lnSpc>
              <a:spcAft>
                <a:spcPts val="600"/>
              </a:spcAft>
              <a:buClr>
                <a:schemeClr val="tx1"/>
              </a:buCl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　・日本で起業をめざす外国人起業家を支援するプログラムへの参加者等の取り込み</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600"/>
              </a:spcAft>
              <a:buClr>
                <a:schemeClr val="tx1"/>
              </a:buClr>
              <a:buFont typeface="Wingdings" panose="05000000000000000000" pitchFamily="2" charset="2"/>
              <a:buChar char="n"/>
            </a:pPr>
            <a:r>
              <a:rPr lang="ja-JP" altLang="en-US" sz="900" b="1" dirty="0">
                <a:latin typeface="Meiryo UI" panose="020B0604030504040204" pitchFamily="50" charset="-128"/>
                <a:ea typeface="Meiryo UI" panose="020B0604030504040204" pitchFamily="50" charset="-128"/>
                <a:cs typeface="Meiryo UI" panose="020B0604030504040204" pitchFamily="50" charset="-128"/>
              </a:rPr>
              <a:t>多数のサイドイベントの実施</a:t>
            </a:r>
            <a:endParaRPr lang="en-US" altLang="ja-JP" sz="900" b="1" dirty="0">
              <a:latin typeface="Meiryo UI" panose="020B0604030504040204" pitchFamily="50" charset="-128"/>
              <a:ea typeface="Meiryo UI" panose="020B0604030504040204" pitchFamily="50" charset="-128"/>
              <a:cs typeface="Meiryo UI" panose="020B0604030504040204" pitchFamily="50" charset="-128"/>
            </a:endParaRPr>
          </a:p>
          <a:p>
            <a:pPr>
              <a:lnSpc>
                <a:spcPts val="600"/>
              </a:lnSpc>
              <a:spcAft>
                <a:spcPts val="600"/>
              </a:spcAft>
              <a:buClr>
                <a:schemeClr val="tx1"/>
              </a:buCl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　・京阪神を中心とした多数のサイドイベントにより</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GSE2026</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の活動機運を高めるとともに国内外の参加を促進。　　　</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600"/>
              </a:lnSpc>
              <a:spcAft>
                <a:spcPts val="600"/>
              </a:spcAft>
              <a:buClr>
                <a:schemeClr val="tx1"/>
              </a:buCl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　　相乗効果を高めるため実行委員会、連絡会を通じて関係者間で調整。</a:t>
            </a:r>
          </a:p>
          <a:p>
            <a:pPr>
              <a:lnSpc>
                <a:spcPts val="600"/>
              </a:lnSpc>
              <a:spcAft>
                <a:spcPts val="600"/>
              </a:spcAft>
              <a:buClr>
                <a:schemeClr val="tx1"/>
              </a:buClr>
            </a:pP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FCFDFD9F-D0DE-C1A6-48CA-660E80F37AF9}"/>
              </a:ext>
            </a:extLst>
          </p:cNvPr>
          <p:cNvSpPr>
            <a:spLocks noGrp="1"/>
          </p:cNvSpPr>
          <p:nvPr>
            <p:ph type="title"/>
          </p:nvPr>
        </p:nvSpPr>
        <p:spPr>
          <a:xfrm>
            <a:off x="181744" y="160143"/>
            <a:ext cx="9505503" cy="307777"/>
          </a:xfrm>
        </p:spPr>
        <p:txBody>
          <a:bodyPr/>
          <a:lstStyle/>
          <a:p>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2. </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イベント概要・</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GSE2026</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　フロアレイアウト、コンテンツ）</a:t>
            </a:r>
            <a:endParaRPr kumimoji="1" lang="ja-JP" altLang="en-US" sz="1400"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スライド番号プレースホルダー 2">
            <a:extLst>
              <a:ext uri="{FF2B5EF4-FFF2-40B4-BE49-F238E27FC236}">
                <a16:creationId xmlns:a16="http://schemas.microsoft.com/office/drawing/2014/main" id="{6F3061B0-B7DC-12DF-5C22-E2F74D141CE1}"/>
              </a:ext>
            </a:extLst>
          </p:cNvPr>
          <p:cNvSpPr>
            <a:spLocks noGrp="1"/>
          </p:cNvSpPr>
          <p:nvPr>
            <p:ph type="sldNum" sz="quarter" idx="12"/>
          </p:nvPr>
        </p:nvSpPr>
        <p:spPr/>
        <p:txBody>
          <a:bodyPr/>
          <a:lstStyle/>
          <a:p>
            <a: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53" name="グループ化 52">
            <a:extLst>
              <a:ext uri="{FF2B5EF4-FFF2-40B4-BE49-F238E27FC236}">
                <a16:creationId xmlns:a16="http://schemas.microsoft.com/office/drawing/2014/main" id="{6A8BFF9F-FFEB-F855-E3DB-8367BCFD0F25}"/>
              </a:ext>
            </a:extLst>
          </p:cNvPr>
          <p:cNvGrpSpPr/>
          <p:nvPr/>
        </p:nvGrpSpPr>
        <p:grpSpPr>
          <a:xfrm>
            <a:off x="-61351" y="4236210"/>
            <a:ext cx="4053919" cy="2771127"/>
            <a:chOff x="463575" y="4195254"/>
            <a:chExt cx="3685381" cy="2290187"/>
          </a:xfrm>
        </p:grpSpPr>
        <p:sp>
          <p:nvSpPr>
            <p:cNvPr id="11" name="テキスト ボックス 10">
              <a:extLst>
                <a:ext uri="{FF2B5EF4-FFF2-40B4-BE49-F238E27FC236}">
                  <a16:creationId xmlns:a16="http://schemas.microsoft.com/office/drawing/2014/main" id="{A8C265E8-6D30-450D-B34E-312A260ADB65}"/>
                </a:ext>
              </a:extLst>
            </p:cNvPr>
            <p:cNvSpPr txBox="1"/>
            <p:nvPr/>
          </p:nvSpPr>
          <p:spPr>
            <a:xfrm>
              <a:off x="463575" y="4299076"/>
              <a:ext cx="3685381" cy="261610"/>
            </a:xfrm>
            <a:prstGeom prst="rect">
              <a:avLst/>
            </a:prstGeom>
            <a:noFill/>
          </p:spPr>
          <p:txBody>
            <a:bodyPr wrap="square" rtlCol="0">
              <a:spAutoFit/>
            </a:bodyPr>
            <a:lstStyle/>
            <a:p>
              <a:pPr algn="ctr"/>
              <a:r>
                <a:rPr kumimoji="1"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b="1" dirty="0">
                  <a:latin typeface="Meiryo UI" panose="020B0604030504040204" pitchFamily="50" charset="-128"/>
                  <a:ea typeface="Meiryo UI" panose="020B0604030504040204" pitchFamily="50" charset="-128"/>
                  <a:cs typeface="Meiryo UI" panose="020B0604030504040204" pitchFamily="50" charset="-128"/>
                </a:rPr>
                <a:t>コアイベント／主要連携イベント　会場イメージ</a:t>
              </a:r>
              <a:r>
                <a:rPr kumimoji="1"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16" name="図 15">
              <a:extLst>
                <a:ext uri="{FF2B5EF4-FFF2-40B4-BE49-F238E27FC236}">
                  <a16:creationId xmlns:a16="http://schemas.microsoft.com/office/drawing/2014/main" id="{467C0720-781B-4322-8187-A855D72C9565}"/>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795" b="89901" l="2244" r="97382">
                          <a14:foregroundMark x1="48379" y1="36093" x2="48379" y2="36093"/>
                          <a14:foregroundMark x1="52743" y1="39404" x2="52743" y2="39404"/>
                          <a14:foregroundMark x1="44888" y1="40894" x2="44888" y2="40894"/>
                          <a14:foregroundMark x1="44389" y1="41556" x2="45137" y2="42053"/>
                          <a14:foregroundMark x1="32793" y1="42881" x2="32793" y2="42881"/>
                          <a14:foregroundMark x1="40274" y1="75166" x2="40274" y2="75166"/>
                          <a14:foregroundMark x1="62594" y1="30960" x2="62594" y2="30960"/>
                          <a14:foregroundMark x1="83292" y1="31457" x2="83292" y2="31457"/>
                          <a14:foregroundMark x1="77556" y1="20033" x2="77556" y2="20033"/>
                          <a14:foregroundMark x1="75810" y1="10430" x2="75810" y2="10430"/>
                          <a14:foregroundMark x1="74190" y1="5960" x2="74190" y2="5960"/>
                          <a14:foregroundMark x1="90025" y1="44040" x2="90025" y2="44040"/>
                          <a14:foregroundMark x1="94015" y1="44040" x2="94015" y2="44040"/>
                          <a14:foregroundMark x1="97506" y1="47020" x2="97506" y2="47020"/>
                          <a14:foregroundMark x1="93641" y1="60265" x2="93641" y2="60265"/>
                          <a14:foregroundMark x1="84414" y1="64570" x2="84414" y2="64570"/>
                          <a14:foregroundMark x1="45511" y1="89404" x2="45511" y2="89404"/>
                          <a14:foregroundMark x1="11845" y1="71854" x2="11845" y2="71854"/>
                          <a14:foregroundMark x1="5985" y1="52980" x2="5985" y2="52980"/>
                          <a14:foregroundMark x1="20449" y1="46689" x2="20449" y2="46689"/>
                          <a14:foregroundMark x1="21945" y1="53311" x2="21945" y2="53311"/>
                          <a14:foregroundMark x1="15586" y1="32947" x2="15586" y2="32947"/>
                          <a14:foregroundMark x1="16584" y1="31954" x2="16584" y2="31954"/>
                          <a14:foregroundMark x1="15212" y1="30132" x2="15212" y2="30132"/>
                          <a14:foregroundMark x1="17082" y1="29967" x2="17082" y2="29967"/>
                          <a14:foregroundMark x1="2244" y1="41060" x2="2244" y2="41060"/>
                        </a14:backgroundRemoval>
                      </a14:imgEffect>
                    </a14:imgLayer>
                  </a14:imgProps>
                </a:ext>
              </a:extLst>
            </a:blip>
            <a:stretch>
              <a:fillRect/>
            </a:stretch>
          </p:blipFill>
          <p:spPr>
            <a:xfrm rot="1029170">
              <a:off x="792006" y="4195254"/>
              <a:ext cx="3184620" cy="2290187"/>
            </a:xfrm>
            <a:prstGeom prst="rect">
              <a:avLst/>
            </a:prstGeom>
          </p:spPr>
        </p:pic>
        <p:sp>
          <p:nvSpPr>
            <p:cNvPr id="8" name="正方形/長方形 7">
              <a:extLst>
                <a:ext uri="{FF2B5EF4-FFF2-40B4-BE49-F238E27FC236}">
                  <a16:creationId xmlns:a16="http://schemas.microsoft.com/office/drawing/2014/main" id="{BEF555AE-C0BD-4419-A3A6-1E95A2A8BCE6}"/>
                </a:ext>
              </a:extLst>
            </p:cNvPr>
            <p:cNvSpPr/>
            <p:nvPr/>
          </p:nvSpPr>
          <p:spPr bwMode="auto">
            <a:xfrm>
              <a:off x="1557925" y="5156329"/>
              <a:ext cx="728277" cy="14040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ブース展示会場</a:t>
              </a:r>
            </a:p>
          </p:txBody>
        </p:sp>
        <p:sp>
          <p:nvSpPr>
            <p:cNvPr id="13" name="正方形/長方形 12">
              <a:extLst>
                <a:ext uri="{FF2B5EF4-FFF2-40B4-BE49-F238E27FC236}">
                  <a16:creationId xmlns:a16="http://schemas.microsoft.com/office/drawing/2014/main" id="{AAB25A03-219A-468F-926B-8C643E2DBD01}"/>
                </a:ext>
              </a:extLst>
            </p:cNvPr>
            <p:cNvSpPr/>
            <p:nvPr/>
          </p:nvSpPr>
          <p:spPr bwMode="auto">
            <a:xfrm>
              <a:off x="2435169" y="4747899"/>
              <a:ext cx="603651"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ステージ①</a:t>
              </a:r>
            </a:p>
          </p:txBody>
        </p:sp>
        <p:sp>
          <p:nvSpPr>
            <p:cNvPr id="19" name="正方形/長方形 18">
              <a:extLst>
                <a:ext uri="{FF2B5EF4-FFF2-40B4-BE49-F238E27FC236}">
                  <a16:creationId xmlns:a16="http://schemas.microsoft.com/office/drawing/2014/main" id="{CA86066C-11F4-4306-B384-69C97A981C27}"/>
                </a:ext>
              </a:extLst>
            </p:cNvPr>
            <p:cNvSpPr/>
            <p:nvPr/>
          </p:nvSpPr>
          <p:spPr bwMode="auto">
            <a:xfrm>
              <a:off x="3205897" y="4817048"/>
              <a:ext cx="603651"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ステージ②</a:t>
              </a:r>
            </a:p>
          </p:txBody>
        </p:sp>
        <p:sp>
          <p:nvSpPr>
            <p:cNvPr id="20" name="正方形/長方形 19">
              <a:extLst>
                <a:ext uri="{FF2B5EF4-FFF2-40B4-BE49-F238E27FC236}">
                  <a16:creationId xmlns:a16="http://schemas.microsoft.com/office/drawing/2014/main" id="{954DD33C-7384-4BA5-BB69-17D846747DBB}"/>
                </a:ext>
              </a:extLst>
            </p:cNvPr>
            <p:cNvSpPr/>
            <p:nvPr/>
          </p:nvSpPr>
          <p:spPr bwMode="auto">
            <a:xfrm>
              <a:off x="627974" y="4737381"/>
              <a:ext cx="453532"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ステージ③</a:t>
              </a:r>
            </a:p>
          </p:txBody>
        </p:sp>
        <p:sp>
          <p:nvSpPr>
            <p:cNvPr id="21" name="正方形/長方形 20">
              <a:extLst>
                <a:ext uri="{FF2B5EF4-FFF2-40B4-BE49-F238E27FC236}">
                  <a16:creationId xmlns:a16="http://schemas.microsoft.com/office/drawing/2014/main" id="{453D8923-FF01-4F6E-9ABD-DB0DB37C8980}"/>
                </a:ext>
              </a:extLst>
            </p:cNvPr>
            <p:cNvSpPr/>
            <p:nvPr/>
          </p:nvSpPr>
          <p:spPr bwMode="auto">
            <a:xfrm>
              <a:off x="627974" y="4978555"/>
              <a:ext cx="453532"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ステージ④</a:t>
              </a:r>
            </a:p>
          </p:txBody>
        </p:sp>
        <p:sp>
          <p:nvSpPr>
            <p:cNvPr id="22" name="正方形/長方形 21">
              <a:extLst>
                <a:ext uri="{FF2B5EF4-FFF2-40B4-BE49-F238E27FC236}">
                  <a16:creationId xmlns:a16="http://schemas.microsoft.com/office/drawing/2014/main" id="{6BB4CEDD-3880-47BC-A719-C4894C814DF2}"/>
                </a:ext>
              </a:extLst>
            </p:cNvPr>
            <p:cNvSpPr/>
            <p:nvPr/>
          </p:nvSpPr>
          <p:spPr bwMode="auto">
            <a:xfrm>
              <a:off x="627974" y="5277229"/>
              <a:ext cx="453532"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ピッチ会場</a:t>
              </a:r>
            </a:p>
          </p:txBody>
        </p:sp>
        <p:sp>
          <p:nvSpPr>
            <p:cNvPr id="23" name="正方形/長方形 22">
              <a:extLst>
                <a:ext uri="{FF2B5EF4-FFF2-40B4-BE49-F238E27FC236}">
                  <a16:creationId xmlns:a16="http://schemas.microsoft.com/office/drawing/2014/main" id="{BDD1968F-84D7-428F-8485-29FCB8070931}"/>
                </a:ext>
              </a:extLst>
            </p:cNvPr>
            <p:cNvSpPr/>
            <p:nvPr/>
          </p:nvSpPr>
          <p:spPr bwMode="auto">
            <a:xfrm>
              <a:off x="3153218" y="4569515"/>
              <a:ext cx="277982"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控</a:t>
              </a:r>
            </a:p>
          </p:txBody>
        </p:sp>
        <p:sp>
          <p:nvSpPr>
            <p:cNvPr id="24" name="正方形/長方形 23">
              <a:extLst>
                <a:ext uri="{FF2B5EF4-FFF2-40B4-BE49-F238E27FC236}">
                  <a16:creationId xmlns:a16="http://schemas.microsoft.com/office/drawing/2014/main" id="{E1D8CAE1-9350-4054-94C3-D26771ECD9DB}"/>
                </a:ext>
              </a:extLst>
            </p:cNvPr>
            <p:cNvSpPr/>
            <p:nvPr/>
          </p:nvSpPr>
          <p:spPr bwMode="auto">
            <a:xfrm>
              <a:off x="3216118" y="5866462"/>
              <a:ext cx="277982"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控</a:t>
              </a:r>
            </a:p>
          </p:txBody>
        </p:sp>
        <p:sp>
          <p:nvSpPr>
            <p:cNvPr id="25" name="正方形/長方形 24">
              <a:extLst>
                <a:ext uri="{FF2B5EF4-FFF2-40B4-BE49-F238E27FC236}">
                  <a16:creationId xmlns:a16="http://schemas.microsoft.com/office/drawing/2014/main" id="{2CC76E9C-6A30-44C9-817F-2E73BC9BDF1B}"/>
                </a:ext>
              </a:extLst>
            </p:cNvPr>
            <p:cNvSpPr/>
            <p:nvPr/>
          </p:nvSpPr>
          <p:spPr bwMode="auto">
            <a:xfrm>
              <a:off x="1860153" y="5975792"/>
              <a:ext cx="277982" cy="142446"/>
            </a:xfrm>
            <a:prstGeom prst="rect">
              <a:avLst/>
            </a:prstGeom>
            <a:solidFill>
              <a:schemeClr val="bg1"/>
            </a:solidFill>
            <a:ln w="9525">
              <a:solidFill>
                <a:srgbClr val="FFC000"/>
              </a:solidFill>
              <a:miter lim="800000"/>
              <a:headEnd/>
              <a:tailEnd/>
            </a:ln>
            <a:effectLst/>
          </p:spPr>
          <p:txBody>
            <a:bodyPr wrap="none" rtlCol="0" anchor="ctr"/>
            <a:lstStyle/>
            <a:p>
              <a:pPr algn="ctr"/>
              <a:r>
                <a:rPr kumimoji="0" lang="ja-JP" altLang="en-US" sz="800" dirty="0">
                  <a:solidFill>
                    <a:sysClr val="windowText" lastClr="000000"/>
                  </a:solidFill>
                  <a:latin typeface="Meiryo UI" panose="020B0604030504040204" pitchFamily="50" charset="-128"/>
                  <a:ea typeface="Meiryo UI" panose="020B0604030504040204" pitchFamily="50" charset="-128"/>
                </a:rPr>
                <a:t>控</a:t>
              </a:r>
            </a:p>
          </p:txBody>
        </p:sp>
      </p:grpSp>
      <p:sp>
        <p:nvSpPr>
          <p:cNvPr id="26" name="テキスト ボックス 25">
            <a:extLst>
              <a:ext uri="{FF2B5EF4-FFF2-40B4-BE49-F238E27FC236}">
                <a16:creationId xmlns:a16="http://schemas.microsoft.com/office/drawing/2014/main" id="{51A3A820-826F-4A1B-8F0E-2478AE065C1B}"/>
              </a:ext>
            </a:extLst>
          </p:cNvPr>
          <p:cNvSpPr txBox="1"/>
          <p:nvPr/>
        </p:nvSpPr>
        <p:spPr>
          <a:xfrm>
            <a:off x="3709791" y="4554477"/>
            <a:ext cx="1242012" cy="2031325"/>
          </a:xfrm>
          <a:prstGeom prst="rect">
            <a:avLst/>
          </a:prstGeom>
          <a:noFill/>
        </p:spPr>
        <p:txBody>
          <a:bodyPr wrap="square" rtlCol="0">
            <a:spAutoFit/>
          </a:bodyPr>
          <a:lstStyle/>
          <a:p>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収容数</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ステージ①：</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50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名、ステージ②：</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60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名、ステージ③：</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2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名</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ステージ④：</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2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名、</a:t>
            </a: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ピッチ会場：</a:t>
            </a:r>
            <a: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t>120</a:t>
            </a: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名　</a:t>
            </a:r>
            <a:endParaRPr kumimoji="1" lang="en-US" altLang="ja-JP" sz="900" dirty="0">
              <a:latin typeface="Meiryo UI" panose="020B0604030504040204" pitchFamily="50" charset="-128"/>
              <a:ea typeface="Meiryo UI" panose="020B0604030504040204" pitchFamily="50" charset="-128"/>
              <a:cs typeface="Meiryo UI" panose="020B0604030504040204" pitchFamily="50" charset="-128"/>
            </a:endParaRPr>
          </a:p>
          <a:p>
            <a:b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ブース展示：</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合計</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75</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社＋</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6</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団体）／日　（割合）関西</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25</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全国</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25</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海外</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25</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日</a:t>
            </a:r>
            <a:endParaRPr kumimoji="1" lang="en-US" altLang="ja-JP" sz="900" dirty="0">
              <a:latin typeface="Meiryo UI" panose="020B0604030504040204" pitchFamily="50" charset="-128"/>
              <a:ea typeface="Meiryo UI" panose="020B0604030504040204" pitchFamily="50" charset="-128"/>
              <a:cs typeface="Meiryo UI" panose="020B0604030504040204" pitchFamily="50" charset="-128"/>
            </a:endParaRPr>
          </a:p>
          <a:p>
            <a:b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分野別の大型ブース・交流スペース</a:t>
            </a:r>
            <a: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t>6</a:t>
            </a:r>
          </a:p>
        </p:txBody>
      </p:sp>
      <p:pic>
        <p:nvPicPr>
          <p:cNvPr id="28" name="図 27">
            <a:extLst>
              <a:ext uri="{FF2B5EF4-FFF2-40B4-BE49-F238E27FC236}">
                <a16:creationId xmlns:a16="http://schemas.microsoft.com/office/drawing/2014/main" id="{4C201E2A-DCFD-4DB0-ADE0-8C25A8AF8E3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47288" y="5651086"/>
            <a:ext cx="1198510" cy="791396"/>
          </a:xfrm>
          <a:prstGeom prst="rect">
            <a:avLst/>
          </a:prstGeom>
        </p:spPr>
      </p:pic>
      <p:sp>
        <p:nvSpPr>
          <p:cNvPr id="35" name="テキスト ボックス 34">
            <a:extLst>
              <a:ext uri="{FF2B5EF4-FFF2-40B4-BE49-F238E27FC236}">
                <a16:creationId xmlns:a16="http://schemas.microsoft.com/office/drawing/2014/main" id="{345A2C23-4E31-42E5-87F0-CC2EA83E341A}"/>
              </a:ext>
            </a:extLst>
          </p:cNvPr>
          <p:cNvSpPr txBox="1"/>
          <p:nvPr/>
        </p:nvSpPr>
        <p:spPr>
          <a:xfrm>
            <a:off x="7401409" y="4422599"/>
            <a:ext cx="3045771" cy="261610"/>
          </a:xfrm>
          <a:prstGeom prst="rect">
            <a:avLst/>
          </a:prstGeom>
          <a:noFill/>
        </p:spPr>
        <p:txBody>
          <a:bodyPr wrap="square" rtlCol="0">
            <a:spAutoFit/>
          </a:bodyPr>
          <a:lstStyle/>
          <a:p>
            <a:r>
              <a:rPr kumimoji="1" lang="en-US" altLang="ja-JP" sz="1100" b="1"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b="1" dirty="0">
                <a:latin typeface="Meiryo UI" panose="020B0604030504040204" pitchFamily="50" charset="-128"/>
                <a:ea typeface="Meiryo UI" panose="020B0604030504040204" pitchFamily="50" charset="-128"/>
                <a:cs typeface="Meiryo UI" panose="020B0604030504040204" pitchFamily="50" charset="-128"/>
              </a:rPr>
              <a:t>合同ネットワーキング　イメージ</a:t>
            </a:r>
            <a:r>
              <a:rPr kumimoji="1" lang="en-US" altLang="ja-JP" sz="11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1026" name="Picture 2">
            <a:extLst>
              <a:ext uri="{FF2B5EF4-FFF2-40B4-BE49-F238E27FC236}">
                <a16:creationId xmlns:a16="http://schemas.microsoft.com/office/drawing/2014/main" id="{354C5AC1-F7FE-4427-BCE5-230C65059D9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658" r="5472" b="17193"/>
          <a:stretch/>
        </p:blipFill>
        <p:spPr bwMode="auto">
          <a:xfrm>
            <a:off x="7364597" y="5656483"/>
            <a:ext cx="1162293" cy="745855"/>
          </a:xfrm>
          <a:prstGeom prst="rect">
            <a:avLst/>
          </a:prstGeom>
          <a:noFill/>
          <a:extLst>
            <a:ext uri="{909E8E84-426E-40DD-AFC4-6F175D3DCCD1}">
              <a14:hiddenFill xmlns:a14="http://schemas.microsoft.com/office/drawing/2010/main">
                <a:solidFill>
                  <a:srgbClr val="FFFFFF"/>
                </a:solidFill>
              </a14:hiddenFill>
            </a:ext>
          </a:extLst>
        </p:spPr>
      </p:pic>
      <p:sp>
        <p:nvSpPr>
          <p:cNvPr id="37" name="テキスト ボックス 36">
            <a:extLst>
              <a:ext uri="{FF2B5EF4-FFF2-40B4-BE49-F238E27FC236}">
                <a16:creationId xmlns:a16="http://schemas.microsoft.com/office/drawing/2014/main" id="{70609811-9E07-47EB-A013-CE848FC94DBF}"/>
              </a:ext>
            </a:extLst>
          </p:cNvPr>
          <p:cNvSpPr txBox="1"/>
          <p:nvPr/>
        </p:nvSpPr>
        <p:spPr>
          <a:xfrm>
            <a:off x="7329452" y="4730349"/>
            <a:ext cx="2562737" cy="830997"/>
          </a:xfrm>
          <a:prstGeom prst="rect">
            <a:avLst/>
          </a:prstGeom>
          <a:noFill/>
        </p:spPr>
        <p:txBody>
          <a:bodyPr wrap="square" rtlCol="0">
            <a:spAutoFit/>
          </a:bodyPr>
          <a:lstStyle/>
          <a:p>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年度</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Global Startup Crossroads-Osaka</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GSCO</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で分野を跨ぐ合同ネットワーキングを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t>GSE</a:t>
            </a: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t>GSCO</a:t>
            </a: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から</a:t>
            </a:r>
            <a:r>
              <a:rPr kumimoji="1" lang="en-US" altLang="ja-JP" sz="900" dirty="0">
                <a:latin typeface="Meiryo UI" panose="020B0604030504040204" pitchFamily="50" charset="-128"/>
                <a:ea typeface="Meiryo UI" panose="020B0604030504040204" pitchFamily="50" charset="-128"/>
                <a:cs typeface="Meiryo UI" panose="020B0604030504040204" pitchFamily="50" charset="-128"/>
              </a:rPr>
              <a:t>500</a:t>
            </a:r>
            <a:r>
              <a:rPr kumimoji="1" lang="ja-JP" altLang="en-US" sz="900" dirty="0">
                <a:latin typeface="Meiryo UI" panose="020B0604030504040204" pitchFamily="50" charset="-128"/>
                <a:ea typeface="Meiryo UI" panose="020B0604030504040204" pitchFamily="50" charset="-128"/>
                <a:cs typeface="Meiryo UI" panose="020B0604030504040204" pitchFamily="50" charset="-128"/>
              </a:rPr>
              <a:t>名の国内外スタートアップ関係者が参加）</a:t>
            </a:r>
          </a:p>
        </p:txBody>
      </p:sp>
      <p:sp>
        <p:nvSpPr>
          <p:cNvPr id="27" name="正方形/長方形 26">
            <a:extLst>
              <a:ext uri="{FF2B5EF4-FFF2-40B4-BE49-F238E27FC236}">
                <a16:creationId xmlns:a16="http://schemas.microsoft.com/office/drawing/2014/main" id="{8D2F487F-71A4-4F4B-B024-C5539CE8BC82}"/>
              </a:ext>
            </a:extLst>
          </p:cNvPr>
          <p:cNvSpPr/>
          <p:nvPr/>
        </p:nvSpPr>
        <p:spPr bwMode="auto">
          <a:xfrm>
            <a:off x="36484" y="426929"/>
            <a:ext cx="9824010" cy="725073"/>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大阪の都心・イノベーションの中心地の「うめきた」を舞台に、我が国のディープテックの魅力を国内外の方々に訴えることで、国内外から多くの</a:t>
            </a:r>
          </a:p>
          <a:p>
            <a:pPr algn="l"/>
            <a:r>
              <a:rPr kumimoji="0" lang="ja-JP" altLang="en-US" sz="1200" b="1" dirty="0">
                <a:latin typeface="Meiryo UI" panose="020B0604030504040204" pitchFamily="50" charset="-128"/>
                <a:ea typeface="Meiryo UI" panose="020B0604030504040204" pitchFamily="50" charset="-128"/>
              </a:rPr>
              <a:t>　方々の参加を促し、より多くのビジネス機会を創出します！　</a:t>
            </a:r>
            <a:endParaRPr kumimoji="0" lang="en-US" altLang="ja-JP" sz="1200" b="1" dirty="0">
              <a:latin typeface="Meiryo UI" panose="020B0604030504040204" pitchFamily="50" charset="-128"/>
              <a:ea typeface="Meiryo UI" panose="020B0604030504040204" pitchFamily="50" charset="-128"/>
            </a:endParaRPr>
          </a:p>
          <a:p>
            <a:pPr algn="l"/>
            <a:r>
              <a:rPr kumimoji="0" lang="ja-JP" altLang="en-US" sz="1200" b="1" dirty="0">
                <a:latin typeface="Meiryo UI" panose="020B0604030504040204" pitchFamily="50" charset="-128"/>
                <a:ea typeface="Meiryo UI" panose="020B0604030504040204" pitchFamily="50" charset="-128"/>
              </a:rPr>
              <a:t>　                    </a:t>
            </a:r>
            <a:r>
              <a:rPr kumimoji="0" lang="en-US" altLang="ja-JP" sz="1200" b="1" dirty="0">
                <a:latin typeface="Meiryo UI" panose="020B0604030504040204" pitchFamily="50" charset="-128"/>
                <a:ea typeface="Meiryo UI" panose="020B0604030504040204" pitchFamily="50" charset="-128"/>
              </a:rPr>
              <a:t>【</a:t>
            </a:r>
            <a:r>
              <a:rPr kumimoji="0" lang="ja-JP" altLang="en-US" sz="1200" b="1" dirty="0">
                <a:latin typeface="Meiryo UI" panose="020B0604030504040204" pitchFamily="50" charset="-128"/>
                <a:ea typeface="Meiryo UI" panose="020B0604030504040204" pitchFamily="50" charset="-128"/>
              </a:rPr>
              <a:t>ブース展示やマッチング等を通じて支援を行うスタートアップ：</a:t>
            </a:r>
            <a:r>
              <a:rPr kumimoji="0" lang="en-US" altLang="ja-JP" sz="1200" b="1" dirty="0">
                <a:latin typeface="Meiryo UI" panose="020B0604030504040204" pitchFamily="50" charset="-128"/>
                <a:ea typeface="Meiryo UI" panose="020B0604030504040204" pitchFamily="50" charset="-128"/>
              </a:rPr>
              <a:t>150</a:t>
            </a:r>
            <a:r>
              <a:rPr kumimoji="0" lang="ja-JP" altLang="en-US" sz="1200" b="1" dirty="0">
                <a:latin typeface="Meiryo UI" panose="020B0604030504040204" pitchFamily="50" charset="-128"/>
                <a:ea typeface="Meiryo UI" panose="020B0604030504040204" pitchFamily="50" charset="-128"/>
              </a:rPr>
              <a:t>件以上、　</a:t>
            </a:r>
            <a:r>
              <a:rPr kumimoji="0" lang="en-US" altLang="ja-JP" sz="1200" b="1" dirty="0">
                <a:latin typeface="Meiryo UI" panose="020B0604030504040204" pitchFamily="50" charset="-128"/>
                <a:ea typeface="Meiryo UI" panose="020B0604030504040204" pitchFamily="50" charset="-128"/>
              </a:rPr>
              <a:t>5,000</a:t>
            </a:r>
            <a:r>
              <a:rPr kumimoji="0" lang="ja-JP" altLang="en-US" sz="1200" b="1" dirty="0">
                <a:latin typeface="Meiryo UI" panose="020B0604030504040204" pitchFamily="50" charset="-128"/>
                <a:ea typeface="Meiryo UI" panose="020B0604030504040204" pitchFamily="50" charset="-128"/>
              </a:rPr>
              <a:t>人以上の参加、</a:t>
            </a:r>
            <a:r>
              <a:rPr kumimoji="0" lang="en-US" altLang="ja-JP" sz="1200" b="1" dirty="0">
                <a:latin typeface="Meiryo UI" panose="020B0604030504040204" pitchFamily="50" charset="-128"/>
                <a:ea typeface="Meiryo UI" panose="020B0604030504040204" pitchFamily="50" charset="-128"/>
              </a:rPr>
              <a:t>30</a:t>
            </a:r>
            <a:r>
              <a:rPr kumimoji="0" lang="ja-JP" altLang="en-US" sz="1200" b="1" dirty="0">
                <a:latin typeface="Meiryo UI" panose="020B0604030504040204" pitchFamily="50" charset="-128"/>
                <a:ea typeface="Meiryo UI" panose="020B0604030504040204" pitchFamily="50" charset="-128"/>
              </a:rPr>
              <a:t>％以上の英語セッションの実施</a:t>
            </a:r>
            <a:r>
              <a:rPr kumimoji="0" lang="en-US" altLang="ja-JP" sz="1200" b="1" dirty="0">
                <a:latin typeface="Meiryo UI" panose="020B0604030504040204" pitchFamily="50" charset="-128"/>
                <a:ea typeface="Meiryo UI" panose="020B0604030504040204" pitchFamily="50" charset="-128"/>
              </a:rPr>
              <a:t>】</a:t>
            </a:r>
          </a:p>
        </p:txBody>
      </p:sp>
      <p:sp>
        <p:nvSpPr>
          <p:cNvPr id="12" name="四角形: 角を丸くする 11">
            <a:extLst>
              <a:ext uri="{FF2B5EF4-FFF2-40B4-BE49-F238E27FC236}">
                <a16:creationId xmlns:a16="http://schemas.microsoft.com/office/drawing/2014/main" id="{85860440-467E-8CD9-7CD2-E711C1A120E5}"/>
              </a:ext>
            </a:extLst>
          </p:cNvPr>
          <p:cNvSpPr/>
          <p:nvPr/>
        </p:nvSpPr>
        <p:spPr bwMode="auto">
          <a:xfrm>
            <a:off x="451443" y="1492479"/>
            <a:ext cx="4661124" cy="1058507"/>
          </a:xfrm>
          <a:prstGeom prst="roundRect">
            <a:avLst>
              <a:gd name="adj" fmla="val 4241"/>
            </a:avLst>
          </a:prstGeom>
          <a:solidFill>
            <a:schemeClr val="accent1">
              <a:lumMod val="20000"/>
              <a:lumOff val="80000"/>
            </a:schemeClr>
          </a:solidFill>
          <a:ln w="9525">
            <a:noFill/>
            <a:miter lim="800000"/>
            <a:headEnd/>
            <a:tailEnd/>
          </a:ln>
          <a:effectLst/>
        </p:spPr>
        <p:txBody>
          <a:bodyPr wrap="square" lIns="0" tIns="0" rIns="36000" bIns="0" rtlCol="0" anchor="ctr" anchorCtr="0"/>
          <a:lstStyle/>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国内トップクラスの</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VC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の活動と連携し、有力なスタートアップの開拓、</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GSE</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に向けたトレーニングを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東京、関西をはじめ全国主要都市で国とも連携し海外</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VC</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CVC</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を招いたプロモーションイベントを実施し、海外</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VC</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スタートアップの連携候補となる国内事業会社の参加を促進（</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2025</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実績あり）</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イノベーションウィーク内の各イベント共通のオンラインプラットフォームを用意し、幅広い参加者間のビジネスマッチングを促進</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入場チケットの有料化等を通じて本イベントの目的に沿った対象者の参加を促進</a:t>
            </a:r>
          </a:p>
        </p:txBody>
      </p:sp>
      <p:sp>
        <p:nvSpPr>
          <p:cNvPr id="42" name="テキスト ボックス 41">
            <a:extLst>
              <a:ext uri="{FF2B5EF4-FFF2-40B4-BE49-F238E27FC236}">
                <a16:creationId xmlns:a16="http://schemas.microsoft.com/office/drawing/2014/main" id="{BA9BDA66-84AA-A23A-3C66-6B1B1AC20181}"/>
              </a:ext>
            </a:extLst>
          </p:cNvPr>
          <p:cNvSpPr txBox="1"/>
          <p:nvPr/>
        </p:nvSpPr>
        <p:spPr>
          <a:xfrm>
            <a:off x="527352" y="1084403"/>
            <a:ext cx="4450089" cy="415498"/>
          </a:xfrm>
          <a:prstGeom prst="rect">
            <a:avLst/>
          </a:prstGeom>
          <a:noFill/>
        </p:spPr>
        <p:txBody>
          <a:bodyPr wrap="square">
            <a:spAutoFit/>
          </a:bodyPr>
          <a:lstStyle/>
          <a:p>
            <a:pPr algn="ctr"/>
            <a:r>
              <a:rPr lang="en-US" altLang="ja-JP"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ビジネスマッチングの促進</a:t>
            </a:r>
            <a:r>
              <a:rPr lang="en-US" altLang="ja-JP"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a:t>
            </a:r>
            <a:br>
              <a:rPr lang="en-US" altLang="ja-JP"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br>
            <a:r>
              <a:rPr lang="ja-JP" altLang="en-US" sz="900" dirty="0">
                <a:latin typeface="Meiryo UI" panose="020B0604030504040204" pitchFamily="50" charset="-128"/>
                <a:ea typeface="Meiryo UI" panose="020B0604030504040204" pitchFamily="50" charset="-128"/>
                <a:cs typeface="Meiryo UI" panose="020B0604030504040204" pitchFamily="50" charset="-128"/>
              </a:rPr>
              <a:t>＜ブース展示やマッチング等を通じて支援を行うスタートアップ：</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5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件以上＞</a:t>
            </a:r>
            <a:endParaRPr lang="en-US" altLang="ja-JP"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テキスト ボックス 49">
            <a:extLst>
              <a:ext uri="{FF2B5EF4-FFF2-40B4-BE49-F238E27FC236}">
                <a16:creationId xmlns:a16="http://schemas.microsoft.com/office/drawing/2014/main" id="{5CB99DE3-61A7-7EF1-F474-C8637D91677A}"/>
              </a:ext>
            </a:extLst>
          </p:cNvPr>
          <p:cNvSpPr txBox="1"/>
          <p:nvPr/>
        </p:nvSpPr>
        <p:spPr>
          <a:xfrm>
            <a:off x="208733" y="1492479"/>
            <a:ext cx="195099" cy="1058507"/>
          </a:xfrm>
          <a:prstGeom prst="flowChartProcess">
            <a:avLst/>
          </a:prstGeom>
          <a:solidFill>
            <a:schemeClr val="accent5">
              <a:lumMod val="60000"/>
              <a:lumOff val="40000"/>
            </a:schemeClr>
          </a:solidFill>
        </p:spPr>
        <p:txBody>
          <a:bodyPr vert="eaVert" wrap="none" anchor="ctr" anchorCtr="1">
            <a:noAutofit/>
          </a:bodyPr>
          <a:lstStyle/>
          <a:p>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準備・集客</a:t>
            </a: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四角形: 角を丸くする 51">
            <a:extLst>
              <a:ext uri="{FF2B5EF4-FFF2-40B4-BE49-F238E27FC236}">
                <a16:creationId xmlns:a16="http://schemas.microsoft.com/office/drawing/2014/main" id="{21B674B8-376C-2B66-8886-1F002285A09C}"/>
              </a:ext>
            </a:extLst>
          </p:cNvPr>
          <p:cNvSpPr/>
          <p:nvPr/>
        </p:nvSpPr>
        <p:spPr bwMode="auto">
          <a:xfrm>
            <a:off x="451443" y="2584229"/>
            <a:ext cx="4661124" cy="725074"/>
          </a:xfrm>
          <a:prstGeom prst="roundRect">
            <a:avLst>
              <a:gd name="adj" fmla="val 4241"/>
            </a:avLst>
          </a:prstGeom>
          <a:solidFill>
            <a:schemeClr val="accent1">
              <a:lumMod val="20000"/>
              <a:lumOff val="80000"/>
            </a:schemeClr>
          </a:solidFill>
          <a:ln w="9525">
            <a:noFill/>
            <a:miter lim="800000"/>
            <a:headEnd/>
            <a:tailEnd/>
          </a:ln>
          <a:effectLst/>
        </p:spPr>
        <p:txBody>
          <a:bodyPr wrap="square" lIns="0" tIns="0" rIns="36000" bIns="0" rtlCol="0" anchor="ctr" anchorCtr="0"/>
          <a:lstStyle/>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分野別の</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NEDO</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推薦、</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J-Startup</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などディープテックのグローバルピッチイベントを実施（登壇する海外</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VC</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CVC</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等が審査）、受賞者には実装化に向けた支援を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分野別で業界団体等による大型ブースを用意し、関係者・関心者の交流を促進。会場内のビジネスマッチング専門のアテンダントを確保</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四角形: 角を丸くする 54">
            <a:extLst>
              <a:ext uri="{FF2B5EF4-FFF2-40B4-BE49-F238E27FC236}">
                <a16:creationId xmlns:a16="http://schemas.microsoft.com/office/drawing/2014/main" id="{BBB9A170-0681-C344-02A4-8449AF3ED0C6}"/>
              </a:ext>
            </a:extLst>
          </p:cNvPr>
          <p:cNvSpPr/>
          <p:nvPr/>
        </p:nvSpPr>
        <p:spPr bwMode="auto">
          <a:xfrm>
            <a:off x="451443" y="3364979"/>
            <a:ext cx="4661124" cy="991442"/>
          </a:xfrm>
          <a:prstGeom prst="roundRect">
            <a:avLst>
              <a:gd name="adj" fmla="val 4241"/>
            </a:avLst>
          </a:prstGeom>
          <a:solidFill>
            <a:schemeClr val="accent1">
              <a:lumMod val="20000"/>
              <a:lumOff val="80000"/>
            </a:schemeClr>
          </a:solidFill>
          <a:ln w="9525">
            <a:noFill/>
            <a:miter lim="800000"/>
            <a:headEnd/>
            <a:tailEnd/>
          </a:ln>
          <a:effectLst/>
        </p:spPr>
        <p:txBody>
          <a:bodyPr wrap="square" lIns="0" tIns="0" rIns="36000" bIns="0" rtlCol="0" anchor="ctr" anchorCtr="0"/>
          <a:lstStyle/>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大学発スタートアップ支援プラットフォーム</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NINE-JP)</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と連携し、全国の大学発スタートアップ、研究シーズを披露するとともに、海外経営人材候補とのマッチング促進</a:t>
            </a:r>
            <a:br>
              <a:rPr lang="en-US" altLang="ja-JP" sz="900" dirty="0">
                <a:latin typeface="Meiryo UI" panose="020B0604030504040204" pitchFamily="50" charset="-128"/>
                <a:ea typeface="Meiryo UI" panose="020B0604030504040204" pitchFamily="50" charset="-128"/>
                <a:cs typeface="Meiryo UI" panose="020B0604030504040204" pitchFamily="50" charset="-128"/>
              </a:rPr>
            </a:br>
            <a:r>
              <a:rPr lang="ja-JP" altLang="en-US" sz="900" dirty="0">
                <a:latin typeface="Meiryo UI" panose="020B0604030504040204" pitchFamily="50" charset="-128"/>
                <a:ea typeface="Meiryo UI" panose="020B0604030504040204" pitchFamily="50" charset="-128"/>
                <a:cs typeface="Meiryo UI" panose="020B0604030504040204" pitchFamily="50" charset="-128"/>
              </a:rPr>
              <a:t>分野を跨いだ合同ネットワーキング</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右下図）の実施により、海外参加者へのおもてなしを提供するとともに、参加者間の交流を促進</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marL="92075" indent="-92075">
              <a:spcAft>
                <a:spcPts val="200"/>
              </a:spcAft>
              <a:buClr>
                <a:schemeClr val="tx1"/>
              </a:buClr>
              <a:buFont typeface="Wingdings" panose="05000000000000000000" pitchFamily="2" charset="2"/>
              <a:buChar char="n"/>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イベント前後にオンサイトツアーを実施し、有識者との意見交換、現地大手企業・スタートアップとのビジネスマッチングを促進。</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実行委員会、連絡会を通じて関係者間で調整）</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テキスト ボックス 55">
            <a:extLst>
              <a:ext uri="{FF2B5EF4-FFF2-40B4-BE49-F238E27FC236}">
                <a16:creationId xmlns:a16="http://schemas.microsoft.com/office/drawing/2014/main" id="{06D9B74B-ED07-A50A-ECA0-5DAD269ECCB0}"/>
              </a:ext>
            </a:extLst>
          </p:cNvPr>
          <p:cNvSpPr txBox="1"/>
          <p:nvPr/>
        </p:nvSpPr>
        <p:spPr>
          <a:xfrm>
            <a:off x="208733" y="2584229"/>
            <a:ext cx="195099" cy="725074"/>
          </a:xfrm>
          <a:prstGeom prst="flowChartProcess">
            <a:avLst/>
          </a:prstGeom>
          <a:solidFill>
            <a:schemeClr val="accent5">
              <a:lumMod val="60000"/>
              <a:lumOff val="40000"/>
            </a:schemeClr>
          </a:solidFill>
        </p:spPr>
        <p:txBody>
          <a:bodyPr vert="eaVert" wrap="none" anchor="ctr" anchorCtr="1">
            <a:noAutofit/>
          </a:bodyPr>
          <a:lstStyle/>
          <a:p>
            <a:pPr algn="ct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コンテンツ</a:t>
            </a:r>
            <a:br>
              <a:rPr lang="en-US" altLang="ja-JP" sz="1000" b="1" dirty="0">
                <a:latin typeface="Meiryo UI" panose="020B0604030504040204" pitchFamily="50" charset="-128"/>
                <a:ea typeface="Meiryo UI" panose="020B0604030504040204" pitchFamily="50" charset="-128"/>
                <a:cs typeface="Meiryo UI" panose="020B0604030504040204" pitchFamily="50" charset="-128"/>
              </a:rPr>
            </a:br>
            <a:r>
              <a:rPr lang="ja-JP" altLang="en-US" sz="800" b="1" dirty="0">
                <a:latin typeface="Meiryo UI" panose="020B0604030504040204" pitchFamily="50" charset="-128"/>
                <a:ea typeface="Meiryo UI" panose="020B0604030504040204" pitchFamily="50" charset="-128"/>
                <a:cs typeface="Meiryo UI" panose="020B0604030504040204" pitchFamily="50" charset="-128"/>
              </a:rPr>
              <a:t>（ピッチ・展示等）</a:t>
            </a:r>
            <a:endParaRPr lang="en-US" altLang="ja-JP" sz="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テキスト ボックス 56">
            <a:extLst>
              <a:ext uri="{FF2B5EF4-FFF2-40B4-BE49-F238E27FC236}">
                <a16:creationId xmlns:a16="http://schemas.microsoft.com/office/drawing/2014/main" id="{10099DD5-57CA-E786-15F0-DF2248612187}"/>
              </a:ext>
            </a:extLst>
          </p:cNvPr>
          <p:cNvSpPr txBox="1"/>
          <p:nvPr/>
        </p:nvSpPr>
        <p:spPr>
          <a:xfrm>
            <a:off x="208733" y="3364979"/>
            <a:ext cx="195099" cy="991442"/>
          </a:xfrm>
          <a:prstGeom prst="flowChartProcess">
            <a:avLst/>
          </a:prstGeom>
          <a:solidFill>
            <a:schemeClr val="accent5">
              <a:lumMod val="60000"/>
              <a:lumOff val="40000"/>
            </a:schemeClr>
          </a:solidFill>
        </p:spPr>
        <p:txBody>
          <a:bodyPr vert="eaVert" wrap="none" anchor="ctr" anchorCtr="1">
            <a:noAutofit/>
          </a:bodyPr>
          <a:lstStyle/>
          <a:p>
            <a:pPr algn="ct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マッチング</a:t>
            </a:r>
          </a:p>
        </p:txBody>
      </p:sp>
      <p:sp>
        <p:nvSpPr>
          <p:cNvPr id="58" name="テキスト ボックス 57">
            <a:extLst>
              <a:ext uri="{FF2B5EF4-FFF2-40B4-BE49-F238E27FC236}">
                <a16:creationId xmlns:a16="http://schemas.microsoft.com/office/drawing/2014/main" id="{3EDB31E3-E136-88DC-CEC5-262154DDC459}"/>
              </a:ext>
            </a:extLst>
          </p:cNvPr>
          <p:cNvSpPr txBox="1"/>
          <p:nvPr/>
        </p:nvSpPr>
        <p:spPr>
          <a:xfrm>
            <a:off x="5160432" y="1085102"/>
            <a:ext cx="4652451" cy="391715"/>
          </a:xfrm>
          <a:prstGeom prst="rect">
            <a:avLst/>
          </a:prstGeom>
          <a:noFill/>
        </p:spPr>
        <p:txBody>
          <a:bodyPr wrap="square">
            <a:spAutoFit/>
          </a:bodyPr>
          <a:lstStyle/>
          <a:p>
            <a:pPr algn="ctr"/>
            <a:r>
              <a:rPr lang="en-US" altLang="ja-JP"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国内外からの参加促進</a:t>
            </a:r>
            <a:r>
              <a:rPr lang="en-US" altLang="ja-JP"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a:t>
            </a:r>
            <a:br>
              <a:rPr lang="en-US" altLang="ja-JP" sz="1200" b="1"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b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5,00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人以上（</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2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以上海外）の参加、</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3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以上の英語セッションの実施＞</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6" name="図 5">
            <a:extLst>
              <a:ext uri="{FF2B5EF4-FFF2-40B4-BE49-F238E27FC236}">
                <a16:creationId xmlns:a16="http://schemas.microsoft.com/office/drawing/2014/main" id="{4C2E1507-F414-4229-A32C-406C87C1A4CF}"/>
              </a:ext>
            </a:extLst>
          </p:cNvPr>
          <p:cNvPicPr>
            <a:picLocks noChangeAspect="1"/>
          </p:cNvPicPr>
          <p:nvPr/>
        </p:nvPicPr>
        <p:blipFill rotWithShape="1">
          <a:blip r:embed="rId7"/>
          <a:srcRect t="19954"/>
          <a:stretch/>
        </p:blipFill>
        <p:spPr>
          <a:xfrm>
            <a:off x="5112567" y="5855307"/>
            <a:ext cx="1928087" cy="864284"/>
          </a:xfrm>
          <a:prstGeom prst="rect">
            <a:avLst/>
          </a:prstGeom>
        </p:spPr>
      </p:pic>
      <p:pic>
        <p:nvPicPr>
          <p:cNvPr id="7" name="図 6">
            <a:extLst>
              <a:ext uri="{FF2B5EF4-FFF2-40B4-BE49-F238E27FC236}">
                <a16:creationId xmlns:a16="http://schemas.microsoft.com/office/drawing/2014/main" id="{BD2ED517-786F-4FE5-81CF-629110A3484B}"/>
              </a:ext>
            </a:extLst>
          </p:cNvPr>
          <p:cNvPicPr>
            <a:picLocks noChangeAspect="1"/>
          </p:cNvPicPr>
          <p:nvPr/>
        </p:nvPicPr>
        <p:blipFill>
          <a:blip r:embed="rId8"/>
          <a:stretch>
            <a:fillRect/>
          </a:stretch>
        </p:blipFill>
        <p:spPr>
          <a:xfrm>
            <a:off x="5084734" y="4583404"/>
            <a:ext cx="1904689" cy="1215497"/>
          </a:xfrm>
          <a:prstGeom prst="rect">
            <a:avLst/>
          </a:prstGeom>
        </p:spPr>
      </p:pic>
    </p:spTree>
    <p:extLst>
      <p:ext uri="{BB962C8B-B14F-4D97-AF65-F5344CB8AC3E}">
        <p14:creationId xmlns:p14="http://schemas.microsoft.com/office/powerpoint/2010/main" val="1365027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9D99B-93D7-EE6B-B2A7-B1B0E6A21226}"/>
            </a:ext>
          </a:extLst>
        </p:cNvPr>
        <p:cNvGrpSpPr/>
        <p:nvPr/>
      </p:nvGrpSpPr>
      <p:grpSpPr>
        <a:xfrm>
          <a:off x="0" y="0"/>
          <a:ext cx="0" cy="0"/>
          <a:chOff x="0" y="0"/>
          <a:chExt cx="0" cy="0"/>
        </a:xfrm>
      </p:grpSpPr>
      <p:pic>
        <p:nvPicPr>
          <p:cNvPr id="69" name="Google Shape;419;p68">
            <a:extLst>
              <a:ext uri="{FF2B5EF4-FFF2-40B4-BE49-F238E27FC236}">
                <a16:creationId xmlns:a16="http://schemas.microsoft.com/office/drawing/2014/main" id="{F7DEDA1D-498B-4658-9DC3-72D4A7B071B2}"/>
              </a:ext>
            </a:extLst>
          </p:cNvPr>
          <p:cNvPicPr preferRelativeResize="0"/>
          <p:nvPr/>
        </p:nvPicPr>
        <p:blipFill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t="1760"/>
          <a:stretch/>
        </p:blipFill>
        <p:spPr>
          <a:xfrm>
            <a:off x="582488" y="1604649"/>
            <a:ext cx="3481792" cy="2862583"/>
          </a:xfrm>
          <a:prstGeom prst="rect">
            <a:avLst/>
          </a:prstGeom>
          <a:solidFill>
            <a:schemeClr val="bg1">
              <a:lumMod val="85000"/>
            </a:schemeClr>
          </a:solidFill>
          <a:ln>
            <a:noFill/>
          </a:ln>
        </p:spPr>
      </p:pic>
      <p:sp>
        <p:nvSpPr>
          <p:cNvPr id="2" name="タイトル 1">
            <a:extLst>
              <a:ext uri="{FF2B5EF4-FFF2-40B4-BE49-F238E27FC236}">
                <a16:creationId xmlns:a16="http://schemas.microsoft.com/office/drawing/2014/main" id="{FCFDFD9F-D0DE-C1A6-48CA-660E80F37AF9}"/>
              </a:ext>
            </a:extLst>
          </p:cNvPr>
          <p:cNvSpPr>
            <a:spLocks noGrp="1"/>
          </p:cNvSpPr>
          <p:nvPr>
            <p:ph type="title"/>
          </p:nvPr>
        </p:nvSpPr>
        <p:spPr>
          <a:xfrm>
            <a:off x="181744" y="160143"/>
            <a:ext cx="9505503" cy="307777"/>
          </a:xfrm>
        </p:spPr>
        <p:txBody>
          <a:bodyPr/>
          <a:lstStyle/>
          <a:p>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2. </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イベント概要・</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サイドイベント）</a:t>
            </a:r>
            <a:endParaRPr kumimoji="1" lang="ja-JP" altLang="en-US" sz="1400" u="sng">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0" name="正方形/長方形 19">
            <a:extLst>
              <a:ext uri="{FF2B5EF4-FFF2-40B4-BE49-F238E27FC236}">
                <a16:creationId xmlns:a16="http://schemas.microsoft.com/office/drawing/2014/main" id="{E18D1BC4-A547-E9FF-8D9F-E10EF057E4F8}"/>
              </a:ext>
            </a:extLst>
          </p:cNvPr>
          <p:cNvSpPr/>
          <p:nvPr/>
        </p:nvSpPr>
        <p:spPr bwMode="auto">
          <a:xfrm>
            <a:off x="0" y="416836"/>
            <a:ext cx="9916695" cy="504694"/>
          </a:xfrm>
          <a:prstGeom prst="rect">
            <a:avLst/>
          </a:prstGeom>
          <a:noFill/>
          <a:ln w="9525">
            <a:solidFill>
              <a:schemeClr val="bg1">
                <a:lumMod val="75000"/>
              </a:schemeClr>
            </a:solidFill>
            <a:miter lim="800000"/>
            <a:headEnd/>
            <a:tailEnd/>
          </a:ln>
          <a:effectLst/>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の中心地・イノベーションの中心地である「うめきた」を舞台に展開します！</a:t>
            </a:r>
          </a:p>
        </p:txBody>
      </p:sp>
      <p:pic>
        <p:nvPicPr>
          <p:cNvPr id="113" name="グラフィックス 112" descr="マーカー 単色塗りつぶし">
            <a:extLst>
              <a:ext uri="{FF2B5EF4-FFF2-40B4-BE49-F238E27FC236}">
                <a16:creationId xmlns:a16="http://schemas.microsoft.com/office/drawing/2014/main" id="{BAFFE4F4-7B84-486A-76FB-9A4506F4A3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29621" y="3378583"/>
            <a:ext cx="242895" cy="242895"/>
          </a:xfrm>
          <a:prstGeom prst="rect">
            <a:avLst/>
          </a:prstGeom>
        </p:spPr>
      </p:pic>
      <p:pic>
        <p:nvPicPr>
          <p:cNvPr id="116" name="図 115">
            <a:extLst>
              <a:ext uri="{FF2B5EF4-FFF2-40B4-BE49-F238E27FC236}">
                <a16:creationId xmlns:a16="http://schemas.microsoft.com/office/drawing/2014/main" id="{992D1DD3-11AC-34D2-7D2E-87D3EC7A77F4}"/>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rcRect l="23408" t="12663" r="14665" b="31114"/>
          <a:stretch/>
        </p:blipFill>
        <p:spPr>
          <a:xfrm>
            <a:off x="82548" y="4961777"/>
            <a:ext cx="2644135" cy="1706591"/>
          </a:xfrm>
          <a:prstGeom prst="rect">
            <a:avLst/>
          </a:prstGeom>
          <a:ln>
            <a:noFill/>
          </a:ln>
          <a:effectLst>
            <a:softEdge rad="112500"/>
          </a:effectLst>
        </p:spPr>
      </p:pic>
      <p:pic>
        <p:nvPicPr>
          <p:cNvPr id="117" name="グラフィックス 116" descr="マーカー 単色塗りつぶし">
            <a:extLst>
              <a:ext uri="{FF2B5EF4-FFF2-40B4-BE49-F238E27FC236}">
                <a16:creationId xmlns:a16="http://schemas.microsoft.com/office/drawing/2014/main" id="{7605CE54-ED60-3261-5113-F17AFC45FB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98703" y="5210984"/>
            <a:ext cx="242895" cy="242895"/>
          </a:xfrm>
          <a:prstGeom prst="rect">
            <a:avLst/>
          </a:prstGeom>
        </p:spPr>
      </p:pic>
      <p:sp>
        <p:nvSpPr>
          <p:cNvPr id="119" name="四角形: 角を丸くする 118">
            <a:extLst>
              <a:ext uri="{FF2B5EF4-FFF2-40B4-BE49-F238E27FC236}">
                <a16:creationId xmlns:a16="http://schemas.microsoft.com/office/drawing/2014/main" id="{D4204559-DBA6-5633-DA5D-EC1F864EA65C}"/>
              </a:ext>
            </a:extLst>
          </p:cNvPr>
          <p:cNvSpPr/>
          <p:nvPr/>
        </p:nvSpPr>
        <p:spPr bwMode="auto">
          <a:xfrm>
            <a:off x="45605" y="5025731"/>
            <a:ext cx="1190884" cy="428148"/>
          </a:xfrm>
          <a:prstGeom prst="roundRect">
            <a:avLst/>
          </a:prstGeom>
          <a:solidFill>
            <a:schemeClr val="bg1"/>
          </a:solidFill>
          <a:ln w="19050">
            <a:solidFill>
              <a:srgbClr val="FF0000"/>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之島エリア</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未来医療の世界的拠点</a:t>
            </a:r>
          </a:p>
        </p:txBody>
      </p:sp>
      <p:pic>
        <p:nvPicPr>
          <p:cNvPr id="121" name="グラフィックス 120" descr="マーカー 単色塗りつぶし">
            <a:extLst>
              <a:ext uri="{FF2B5EF4-FFF2-40B4-BE49-F238E27FC236}">
                <a16:creationId xmlns:a16="http://schemas.microsoft.com/office/drawing/2014/main" id="{FAE6C71F-E8C4-A2F2-6F62-E58AC701D7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17495" y="3150245"/>
            <a:ext cx="242895" cy="242895"/>
          </a:xfrm>
          <a:prstGeom prst="rect">
            <a:avLst/>
          </a:prstGeom>
        </p:spPr>
      </p:pic>
      <p:pic>
        <p:nvPicPr>
          <p:cNvPr id="149" name="グラフィックス 148" descr="マーカー 単色塗りつぶし">
            <a:extLst>
              <a:ext uri="{FF2B5EF4-FFF2-40B4-BE49-F238E27FC236}">
                <a16:creationId xmlns:a16="http://schemas.microsoft.com/office/drawing/2014/main" id="{E3009455-F6FE-9494-16F0-92DEEA5563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09761" y="3206244"/>
            <a:ext cx="242895" cy="242895"/>
          </a:xfrm>
          <a:prstGeom prst="rect">
            <a:avLst/>
          </a:prstGeom>
        </p:spPr>
      </p:pic>
      <p:sp>
        <p:nvSpPr>
          <p:cNvPr id="208" name="テキスト ボックス 207">
            <a:extLst>
              <a:ext uri="{FF2B5EF4-FFF2-40B4-BE49-F238E27FC236}">
                <a16:creationId xmlns:a16="http://schemas.microsoft.com/office/drawing/2014/main" id="{457FD6E9-FEA2-7F5D-346F-092DA144FA7A}"/>
              </a:ext>
            </a:extLst>
          </p:cNvPr>
          <p:cNvSpPr txBox="1"/>
          <p:nvPr/>
        </p:nvSpPr>
        <p:spPr>
          <a:xfrm>
            <a:off x="5713762" y="5143872"/>
            <a:ext cx="4016431" cy="252444"/>
          </a:xfrm>
          <a:prstGeom prst="rect">
            <a:avLst/>
          </a:prstGeom>
          <a:solidFill>
            <a:schemeClr val="accent5">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京都・神戸等全国でも多数の関連イベントを開催</a:t>
            </a:r>
          </a:p>
        </p:txBody>
      </p:sp>
      <p:pic>
        <p:nvPicPr>
          <p:cNvPr id="227" name="グラフィックス 226" descr="マーカー 単色塗りつぶし">
            <a:extLst>
              <a:ext uri="{FF2B5EF4-FFF2-40B4-BE49-F238E27FC236}">
                <a16:creationId xmlns:a16="http://schemas.microsoft.com/office/drawing/2014/main" id="{8DD7454B-D333-8914-85A4-A7B8A659C2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75179" y="2082479"/>
            <a:ext cx="473332" cy="473332"/>
          </a:xfrm>
          <a:prstGeom prst="rect">
            <a:avLst/>
          </a:prstGeom>
        </p:spPr>
      </p:pic>
      <p:pic>
        <p:nvPicPr>
          <p:cNvPr id="239" name="グラフィックス 238" descr="マーカー 単色塗りつぶし">
            <a:extLst>
              <a:ext uri="{FF2B5EF4-FFF2-40B4-BE49-F238E27FC236}">
                <a16:creationId xmlns:a16="http://schemas.microsoft.com/office/drawing/2014/main" id="{BDD3DBF1-ED0E-FCB8-6486-590D5356A2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80728" y="3457108"/>
            <a:ext cx="242895" cy="242895"/>
          </a:xfrm>
          <a:prstGeom prst="rect">
            <a:avLst/>
          </a:prstGeom>
        </p:spPr>
      </p:pic>
      <p:sp>
        <p:nvSpPr>
          <p:cNvPr id="243" name="テキスト ボックス 242">
            <a:extLst>
              <a:ext uri="{FF2B5EF4-FFF2-40B4-BE49-F238E27FC236}">
                <a16:creationId xmlns:a16="http://schemas.microsoft.com/office/drawing/2014/main" id="{B01C5E97-AB3C-3DD3-27AA-299F442EAEB2}"/>
              </a:ext>
            </a:extLst>
          </p:cNvPr>
          <p:cNvSpPr txBox="1"/>
          <p:nvPr/>
        </p:nvSpPr>
        <p:spPr>
          <a:xfrm>
            <a:off x="414193" y="1491880"/>
            <a:ext cx="164458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8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サイドイベント（例）</a:t>
            </a:r>
            <a:endParaRPr kumimoji="1" lang="en-US" altLang="ja-JP" sz="8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8" name="直線矢印コネクタ 67">
            <a:extLst>
              <a:ext uri="{FF2B5EF4-FFF2-40B4-BE49-F238E27FC236}">
                <a16:creationId xmlns:a16="http://schemas.microsoft.com/office/drawing/2014/main" id="{5D7AB084-6C74-5048-C43A-8518B316046F}"/>
              </a:ext>
            </a:extLst>
          </p:cNvPr>
          <p:cNvCxnSpPr>
            <a:cxnSpLocks/>
          </p:cNvCxnSpPr>
          <p:nvPr/>
        </p:nvCxnSpPr>
        <p:spPr>
          <a:xfrm flipH="1">
            <a:off x="1218329" y="4149494"/>
            <a:ext cx="721863" cy="928401"/>
          </a:xfrm>
          <a:prstGeom prst="straightConnector1">
            <a:avLst/>
          </a:prstGeom>
          <a:ln w="76200">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8" name="四角形: 角を丸くする 117">
            <a:extLst>
              <a:ext uri="{FF2B5EF4-FFF2-40B4-BE49-F238E27FC236}">
                <a16:creationId xmlns:a16="http://schemas.microsoft.com/office/drawing/2014/main" id="{F45C4D25-DF0D-C43B-3BB4-40E6380B04D7}"/>
              </a:ext>
            </a:extLst>
          </p:cNvPr>
          <p:cNvSpPr/>
          <p:nvPr/>
        </p:nvSpPr>
        <p:spPr bwMode="auto">
          <a:xfrm>
            <a:off x="1052077" y="3716093"/>
            <a:ext cx="1497261" cy="360392"/>
          </a:xfrm>
          <a:prstGeom prst="roundRect">
            <a:avLst/>
          </a:prstGeom>
          <a:solidFill>
            <a:schemeClr val="bg1"/>
          </a:solidFill>
          <a:ln w="19050">
            <a:solidFill>
              <a:srgbClr val="FF0000"/>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ウメキタエリア</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中心地</a:t>
            </a:r>
          </a:p>
        </p:txBody>
      </p:sp>
      <p:sp>
        <p:nvSpPr>
          <p:cNvPr id="13" name="矢印: 上 12">
            <a:extLst>
              <a:ext uri="{FF2B5EF4-FFF2-40B4-BE49-F238E27FC236}">
                <a16:creationId xmlns:a16="http://schemas.microsoft.com/office/drawing/2014/main" id="{99B50490-E263-5A7D-9C95-5541DF743F69}"/>
              </a:ext>
            </a:extLst>
          </p:cNvPr>
          <p:cNvSpPr/>
          <p:nvPr/>
        </p:nvSpPr>
        <p:spPr bwMode="auto">
          <a:xfrm rot="20901195">
            <a:off x="2846085" y="2924835"/>
            <a:ext cx="346714" cy="816778"/>
          </a:xfrm>
          <a:prstGeom prst="upArrow">
            <a:avLst/>
          </a:prstGeom>
          <a:solidFill>
            <a:srgbClr val="FF0000"/>
          </a:solidFill>
          <a:ln w="9525">
            <a:solidFill>
              <a:srgbClr val="B2B2B2"/>
            </a:solidFill>
            <a:miter lim="800000"/>
            <a:headEnd/>
            <a:tailEnd/>
          </a:ln>
          <a:effectLst/>
        </p:spPr>
        <p:txBody>
          <a:bodyPr vert="eaVert"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徒歩</a:t>
            </a:r>
            <a:r>
              <a:rPr kumimoji="0" lang="en-US" altLang="ja-JP" sz="12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5</a:t>
            </a:r>
            <a:r>
              <a:rPr kumimoji="0" lang="ja-JP" altLang="en-US" sz="12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分</a:t>
            </a:r>
          </a:p>
        </p:txBody>
      </p:sp>
      <p:sp>
        <p:nvSpPr>
          <p:cNvPr id="71" name="四角形: 角を丸くする 70">
            <a:extLst>
              <a:ext uri="{FF2B5EF4-FFF2-40B4-BE49-F238E27FC236}">
                <a16:creationId xmlns:a16="http://schemas.microsoft.com/office/drawing/2014/main" id="{56603B83-6928-267A-360F-540E290220F0}"/>
              </a:ext>
            </a:extLst>
          </p:cNvPr>
          <p:cNvSpPr/>
          <p:nvPr/>
        </p:nvSpPr>
        <p:spPr bwMode="auto">
          <a:xfrm>
            <a:off x="1305576" y="4526815"/>
            <a:ext cx="588339" cy="198194"/>
          </a:xfrm>
          <a:prstGeom prst="roundRect">
            <a:avLst/>
          </a:prstGeom>
          <a:solidFill>
            <a:schemeClr val="bg1">
              <a:alpha val="95000"/>
            </a:schemeClr>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分</a:t>
            </a:r>
          </a:p>
        </p:txBody>
      </p:sp>
      <p:sp>
        <p:nvSpPr>
          <p:cNvPr id="26" name="四角形: 角を丸くする 25">
            <a:extLst>
              <a:ext uri="{FF2B5EF4-FFF2-40B4-BE49-F238E27FC236}">
                <a16:creationId xmlns:a16="http://schemas.microsoft.com/office/drawing/2014/main" id="{1561E0E6-81F5-53D1-CFDC-8C9C3A2179D3}"/>
              </a:ext>
            </a:extLst>
          </p:cNvPr>
          <p:cNvSpPr/>
          <p:nvPr/>
        </p:nvSpPr>
        <p:spPr bwMode="auto">
          <a:xfrm rot="19479608">
            <a:off x="2780688" y="3652579"/>
            <a:ext cx="739669" cy="231295"/>
          </a:xfrm>
          <a:prstGeom prst="roundRect">
            <a:avLst/>
          </a:prstGeom>
          <a:solidFill>
            <a:schemeClr val="bg1"/>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駅</a:t>
            </a:r>
          </a:p>
        </p:txBody>
      </p:sp>
      <p:grpSp>
        <p:nvGrpSpPr>
          <p:cNvPr id="36" name="グループ化 35">
            <a:extLst>
              <a:ext uri="{FF2B5EF4-FFF2-40B4-BE49-F238E27FC236}">
                <a16:creationId xmlns:a16="http://schemas.microsoft.com/office/drawing/2014/main" id="{26696C5C-A090-7F48-1C0C-FF93C2872D7C}"/>
              </a:ext>
            </a:extLst>
          </p:cNvPr>
          <p:cNvGrpSpPr/>
          <p:nvPr/>
        </p:nvGrpSpPr>
        <p:grpSpPr>
          <a:xfrm>
            <a:off x="3408617" y="5690135"/>
            <a:ext cx="1653814" cy="238168"/>
            <a:chOff x="4150007" y="4131670"/>
            <a:chExt cx="1653814" cy="238168"/>
          </a:xfrm>
        </p:grpSpPr>
        <p:cxnSp>
          <p:nvCxnSpPr>
            <p:cNvPr id="29" name="直線コネクタ 28">
              <a:extLst>
                <a:ext uri="{FF2B5EF4-FFF2-40B4-BE49-F238E27FC236}">
                  <a16:creationId xmlns:a16="http://schemas.microsoft.com/office/drawing/2014/main" id="{D01E4701-D7F0-DB22-DF5B-AA8EB2FA013B}"/>
                </a:ext>
              </a:extLst>
            </p:cNvPr>
            <p:cNvCxnSpPr>
              <a:cxnSpLocks/>
            </p:cNvCxnSpPr>
            <p:nvPr/>
          </p:nvCxnSpPr>
          <p:spPr>
            <a:xfrm>
              <a:off x="4150007" y="4250754"/>
              <a:ext cx="16538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FC127DF1-CCA5-FED4-7621-8260E1D96C25}"/>
                </a:ext>
              </a:extLst>
            </p:cNvPr>
            <p:cNvSpPr/>
            <p:nvPr/>
          </p:nvSpPr>
          <p:spPr bwMode="auto">
            <a:xfrm>
              <a:off x="4380463" y="4131670"/>
              <a:ext cx="1192902" cy="238168"/>
            </a:xfrm>
            <a:prstGeom prst="rect">
              <a:avLst/>
            </a:prstGeom>
            <a:solidFill>
              <a:schemeClr val="bg1"/>
            </a:solidFill>
            <a:ln w="9525">
              <a:no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テル、食事・エンタメ</a:t>
              </a:r>
            </a:p>
          </p:txBody>
        </p:sp>
      </p:grpSp>
      <p:sp>
        <p:nvSpPr>
          <p:cNvPr id="37" name="吹き出し: 角を丸めた四角形 36">
            <a:extLst>
              <a:ext uri="{FF2B5EF4-FFF2-40B4-BE49-F238E27FC236}">
                <a16:creationId xmlns:a16="http://schemas.microsoft.com/office/drawing/2014/main" id="{706B769F-FF65-2A2E-48ED-38E55EE87EFE}"/>
              </a:ext>
            </a:extLst>
          </p:cNvPr>
          <p:cNvSpPr/>
          <p:nvPr/>
        </p:nvSpPr>
        <p:spPr bwMode="auto">
          <a:xfrm>
            <a:off x="3148511" y="5962618"/>
            <a:ext cx="2280612" cy="235591"/>
          </a:xfrm>
          <a:prstGeom prst="wedgeRoundRectCallout">
            <a:avLst>
              <a:gd name="adj1" fmla="val -19286"/>
              <a:gd name="adj2" fmla="val -6939"/>
              <a:gd name="adj3" fmla="val 16667"/>
            </a:avLst>
          </a:prstGeom>
          <a:noFill/>
          <a:ln w="9525">
            <a:no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900" dirty="0">
                <a:solidFill>
                  <a:prstClr val="black"/>
                </a:solidFill>
                <a:latin typeface="Meiryo UI" panose="020B0604030504040204" pitchFamily="50" charset="-128"/>
                <a:ea typeface="Meiryo UI" panose="020B0604030504040204" pitchFamily="50" charset="-128"/>
              </a:rPr>
              <a:t>GSE2026</a:t>
            </a:r>
            <a:r>
              <a:rPr kumimoji="0" lang="ja-JP" altLang="en-US" sz="900" dirty="0">
                <a:solidFill>
                  <a:prstClr val="black"/>
                </a:solidFill>
                <a:latin typeface="Meiryo UI" panose="020B0604030504040204" pitchFamily="50" charset="-128"/>
                <a:ea typeface="Meiryo UI" panose="020B0604030504040204" pitchFamily="50" charset="-128"/>
              </a:rPr>
              <a:t>会場</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近隣に高級ホテル・</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飲食エリア多数</a:t>
            </a:r>
          </a:p>
        </p:txBody>
      </p:sp>
      <p:sp>
        <p:nvSpPr>
          <p:cNvPr id="81" name="二等辺三角形 80">
            <a:extLst>
              <a:ext uri="{FF2B5EF4-FFF2-40B4-BE49-F238E27FC236}">
                <a16:creationId xmlns:a16="http://schemas.microsoft.com/office/drawing/2014/main" id="{280C24EE-75DA-4418-8798-75CD3681E39E}"/>
              </a:ext>
            </a:extLst>
          </p:cNvPr>
          <p:cNvSpPr/>
          <p:nvPr/>
        </p:nvSpPr>
        <p:spPr bwMode="auto">
          <a:xfrm rot="5954115" flipH="1">
            <a:off x="1864492" y="3395868"/>
            <a:ext cx="107761" cy="142618"/>
          </a:xfrm>
          <a:prstGeom prst="triangle">
            <a:avLst/>
          </a:prstGeom>
          <a:solidFill>
            <a:schemeClr val="accent6"/>
          </a:solidFill>
          <a:ln w="9525">
            <a:no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四角形: 角を丸くする 30">
            <a:extLst>
              <a:ext uri="{FF2B5EF4-FFF2-40B4-BE49-F238E27FC236}">
                <a16:creationId xmlns:a16="http://schemas.microsoft.com/office/drawing/2014/main" id="{B617AE00-D080-4D94-8D97-1A42554500C2}"/>
              </a:ext>
            </a:extLst>
          </p:cNvPr>
          <p:cNvSpPr/>
          <p:nvPr/>
        </p:nvSpPr>
        <p:spPr bwMode="auto">
          <a:xfrm>
            <a:off x="3089793" y="5654310"/>
            <a:ext cx="2208057" cy="721973"/>
          </a:xfrm>
          <a:prstGeom prst="roundRect">
            <a:avLst/>
          </a:prstGeom>
          <a:noFill/>
          <a:ln w="12700">
            <a:solidFill>
              <a:schemeClr val="accent6"/>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正方形/長方形 37">
            <a:extLst>
              <a:ext uri="{FF2B5EF4-FFF2-40B4-BE49-F238E27FC236}">
                <a16:creationId xmlns:a16="http://schemas.microsoft.com/office/drawing/2014/main" id="{97AFD49E-84C9-4572-9980-06B410B0FCE8}"/>
              </a:ext>
            </a:extLst>
          </p:cNvPr>
          <p:cNvSpPr/>
          <p:nvPr/>
        </p:nvSpPr>
        <p:spPr bwMode="auto">
          <a:xfrm rot="20578547">
            <a:off x="3494402" y="1582766"/>
            <a:ext cx="186810" cy="1101653"/>
          </a:xfrm>
          <a:prstGeom prst="rect">
            <a:avLst/>
          </a:prstGeom>
          <a:solidFill>
            <a:schemeClr val="bg1"/>
          </a:solidFill>
          <a:ln w="9525">
            <a:no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テキスト ボックス 3">
            <a:extLst>
              <a:ext uri="{FF2B5EF4-FFF2-40B4-BE49-F238E27FC236}">
                <a16:creationId xmlns:a16="http://schemas.microsoft.com/office/drawing/2014/main" id="{1C8A246E-2D29-441B-B5F0-228046784CB2}"/>
              </a:ext>
            </a:extLst>
          </p:cNvPr>
          <p:cNvSpPr txBox="1"/>
          <p:nvPr/>
        </p:nvSpPr>
        <p:spPr>
          <a:xfrm>
            <a:off x="2729687" y="2708855"/>
            <a:ext cx="1840568" cy="261610"/>
          </a:xfrm>
          <a:prstGeom prst="rect">
            <a:avLst/>
          </a:prstGeom>
          <a:solidFill>
            <a:schemeClr val="accent6"/>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コングレコンベンションセンター</a:t>
            </a:r>
          </a:p>
        </p:txBody>
      </p:sp>
      <p:sp>
        <p:nvSpPr>
          <p:cNvPr id="5" name="二等辺三角形 4">
            <a:extLst>
              <a:ext uri="{FF2B5EF4-FFF2-40B4-BE49-F238E27FC236}">
                <a16:creationId xmlns:a16="http://schemas.microsoft.com/office/drawing/2014/main" id="{3953CB55-2FC4-402B-89D4-9EA4C54CE770}"/>
              </a:ext>
            </a:extLst>
          </p:cNvPr>
          <p:cNvSpPr/>
          <p:nvPr/>
        </p:nvSpPr>
        <p:spPr bwMode="auto">
          <a:xfrm rot="19890068" flipH="1">
            <a:off x="2912177" y="2593885"/>
            <a:ext cx="107761" cy="142618"/>
          </a:xfrm>
          <a:prstGeom prst="triangle">
            <a:avLst/>
          </a:prstGeom>
          <a:solidFill>
            <a:schemeClr val="accent6"/>
          </a:solidFill>
          <a:ln w="9525">
            <a:no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テキスト ボックス 10">
            <a:extLst>
              <a:ext uri="{FF2B5EF4-FFF2-40B4-BE49-F238E27FC236}">
                <a16:creationId xmlns:a16="http://schemas.microsoft.com/office/drawing/2014/main" id="{9717DE9C-AA93-3608-1ED9-0DCF2842A75C}"/>
              </a:ext>
            </a:extLst>
          </p:cNvPr>
          <p:cNvSpPr txBox="1"/>
          <p:nvPr/>
        </p:nvSpPr>
        <p:spPr>
          <a:xfrm>
            <a:off x="3135766" y="2441975"/>
            <a:ext cx="1233030" cy="276999"/>
          </a:xfrm>
          <a:prstGeom prst="rect">
            <a:avLst/>
          </a:prstGeom>
          <a:solidFill>
            <a:srgbClr val="FFFF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GSE2026</a:t>
            </a:r>
            <a:r>
              <a:rPr kumimoji="1" lang="ja-JP" altLang="en-US" sz="12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会場</a:t>
            </a:r>
          </a:p>
        </p:txBody>
      </p:sp>
      <p:cxnSp>
        <p:nvCxnSpPr>
          <p:cNvPr id="171" name="直線コネクタ 170">
            <a:extLst>
              <a:ext uri="{FF2B5EF4-FFF2-40B4-BE49-F238E27FC236}">
                <a16:creationId xmlns:a16="http://schemas.microsoft.com/office/drawing/2014/main" id="{3C1B5368-F254-8A55-1BEB-EF1AA27294AD}"/>
              </a:ext>
            </a:extLst>
          </p:cNvPr>
          <p:cNvCxnSpPr>
            <a:cxnSpLocks/>
          </p:cNvCxnSpPr>
          <p:nvPr/>
        </p:nvCxnSpPr>
        <p:spPr>
          <a:xfrm flipH="1">
            <a:off x="4450586" y="1964191"/>
            <a:ext cx="82428" cy="726059"/>
          </a:xfrm>
          <a:prstGeom prst="line">
            <a:avLst/>
          </a:prstGeom>
          <a:ln w="12700">
            <a:solidFill>
              <a:schemeClr val="tx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98" name="グラフィックス 97" descr="マーカー 単色塗りつぶし">
            <a:extLst>
              <a:ext uri="{FF2B5EF4-FFF2-40B4-BE49-F238E27FC236}">
                <a16:creationId xmlns:a16="http://schemas.microsoft.com/office/drawing/2014/main" id="{E5666BBE-A561-4A52-8506-F55C5BF128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18219" y="2291102"/>
            <a:ext cx="242895" cy="242895"/>
          </a:xfrm>
          <a:prstGeom prst="rect">
            <a:avLst/>
          </a:prstGeom>
        </p:spPr>
      </p:pic>
      <p:sp>
        <p:nvSpPr>
          <p:cNvPr id="42" name="テキスト ボックス 41">
            <a:extLst>
              <a:ext uri="{FF2B5EF4-FFF2-40B4-BE49-F238E27FC236}">
                <a16:creationId xmlns:a16="http://schemas.microsoft.com/office/drawing/2014/main" id="{34323DF1-47D8-4A11-A87F-16DB955C20F5}"/>
              </a:ext>
            </a:extLst>
          </p:cNvPr>
          <p:cNvSpPr txBox="1"/>
          <p:nvPr/>
        </p:nvSpPr>
        <p:spPr>
          <a:xfrm>
            <a:off x="2167105" y="2576461"/>
            <a:ext cx="413003" cy="276999"/>
          </a:xfrm>
          <a:prstGeom prst="rect">
            <a:avLst/>
          </a:prstGeom>
          <a:solidFill>
            <a:srgbClr val="00B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J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BASE</a:t>
            </a:r>
            <a:endParaRPr kumimoji="1" lang="ja-JP" altLang="en-US" sz="6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四角形: 角を丸くする 29">
            <a:extLst>
              <a:ext uri="{FF2B5EF4-FFF2-40B4-BE49-F238E27FC236}">
                <a16:creationId xmlns:a16="http://schemas.microsoft.com/office/drawing/2014/main" id="{4D6185A8-3E9C-443B-99DD-4B6C41059AA5}"/>
              </a:ext>
            </a:extLst>
          </p:cNvPr>
          <p:cNvSpPr/>
          <p:nvPr/>
        </p:nvSpPr>
        <p:spPr bwMode="auto">
          <a:xfrm>
            <a:off x="37989" y="4114692"/>
            <a:ext cx="1199553" cy="777950"/>
          </a:xfrm>
          <a:prstGeom prst="roundRect">
            <a:avLst/>
          </a:prstGeom>
          <a:solidFill>
            <a:schemeClr val="bg1"/>
          </a:solidFill>
          <a:ln w="9525">
            <a:solidFill>
              <a:schemeClr val="bg1">
                <a:lumMod val="75000"/>
              </a:schemeClr>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62" name="図 161">
            <a:extLst>
              <a:ext uri="{FF2B5EF4-FFF2-40B4-BE49-F238E27FC236}">
                <a16:creationId xmlns:a16="http://schemas.microsoft.com/office/drawing/2014/main" id="{E8997751-A3AF-ECC9-0670-B93127F1D5F5}"/>
              </a:ext>
            </a:extLst>
          </p:cNvPr>
          <p:cNvPicPr>
            <a:picLocks noChangeAspect="1"/>
          </p:cNvPicPr>
          <p:nvPr/>
        </p:nvPicPr>
        <p:blipFill>
          <a:blip r:embed="rId9"/>
          <a:stretch>
            <a:fillRect/>
          </a:stretch>
        </p:blipFill>
        <p:spPr>
          <a:xfrm>
            <a:off x="677993" y="4149494"/>
            <a:ext cx="334212" cy="173146"/>
          </a:xfrm>
          <a:prstGeom prst="rect">
            <a:avLst/>
          </a:prstGeom>
          <a:ln>
            <a:noFill/>
          </a:ln>
          <a:effectLst/>
        </p:spPr>
      </p:pic>
      <p:pic>
        <p:nvPicPr>
          <p:cNvPr id="112" name="図 111">
            <a:extLst>
              <a:ext uri="{FF2B5EF4-FFF2-40B4-BE49-F238E27FC236}">
                <a16:creationId xmlns:a16="http://schemas.microsoft.com/office/drawing/2014/main" id="{22CFCFFB-F29D-D521-3AAD-6691E49F02D7}"/>
              </a:ext>
            </a:extLst>
          </p:cNvPr>
          <p:cNvPicPr>
            <a:picLocks noChangeAspect="1"/>
          </p:cNvPicPr>
          <p:nvPr/>
        </p:nvPicPr>
        <p:blipFill>
          <a:blip r:embed="rId10"/>
          <a:stretch>
            <a:fillRect/>
          </a:stretch>
        </p:blipFill>
        <p:spPr>
          <a:xfrm>
            <a:off x="101419" y="4158109"/>
            <a:ext cx="548640" cy="185201"/>
          </a:xfrm>
          <a:prstGeom prst="rect">
            <a:avLst/>
          </a:prstGeom>
          <a:ln>
            <a:noFill/>
          </a:ln>
          <a:effectLst/>
        </p:spPr>
      </p:pic>
      <p:pic>
        <p:nvPicPr>
          <p:cNvPr id="147" name="図 146">
            <a:extLst>
              <a:ext uri="{FF2B5EF4-FFF2-40B4-BE49-F238E27FC236}">
                <a16:creationId xmlns:a16="http://schemas.microsoft.com/office/drawing/2014/main" id="{F21EF931-7433-F9D1-67DA-023E05FB4F4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26856" y="4364901"/>
            <a:ext cx="362214" cy="207938"/>
          </a:xfrm>
          <a:prstGeom prst="rect">
            <a:avLst/>
          </a:prstGeom>
          <a:ln>
            <a:noFill/>
          </a:ln>
          <a:effectLst/>
        </p:spPr>
      </p:pic>
      <p:pic>
        <p:nvPicPr>
          <p:cNvPr id="176" name="図 175">
            <a:extLst>
              <a:ext uri="{FF2B5EF4-FFF2-40B4-BE49-F238E27FC236}">
                <a16:creationId xmlns:a16="http://schemas.microsoft.com/office/drawing/2014/main" id="{123994EF-6E90-56EF-EF45-B6E457AA5BE1}"/>
              </a:ext>
            </a:extLst>
          </p:cNvPr>
          <p:cNvPicPr>
            <a:picLocks noChangeAspect="1"/>
          </p:cNvPicPr>
          <p:nvPr/>
        </p:nvPicPr>
        <p:blipFill>
          <a:blip r:embed="rId12"/>
          <a:stretch>
            <a:fillRect/>
          </a:stretch>
        </p:blipFill>
        <p:spPr>
          <a:xfrm>
            <a:off x="194400" y="4386252"/>
            <a:ext cx="339633" cy="169817"/>
          </a:xfrm>
          <a:prstGeom prst="rect">
            <a:avLst/>
          </a:prstGeom>
          <a:ln>
            <a:noFill/>
          </a:ln>
          <a:effectLst/>
        </p:spPr>
      </p:pic>
      <p:cxnSp>
        <p:nvCxnSpPr>
          <p:cNvPr id="74" name="直線コネクタ 73">
            <a:extLst>
              <a:ext uri="{FF2B5EF4-FFF2-40B4-BE49-F238E27FC236}">
                <a16:creationId xmlns:a16="http://schemas.microsoft.com/office/drawing/2014/main" id="{90AB97E3-AEAA-4DA2-BACC-6D87CF9FB87E}"/>
              </a:ext>
            </a:extLst>
          </p:cNvPr>
          <p:cNvCxnSpPr>
            <a:cxnSpLocks/>
          </p:cNvCxnSpPr>
          <p:nvPr/>
        </p:nvCxnSpPr>
        <p:spPr>
          <a:xfrm flipH="1">
            <a:off x="625196" y="3851421"/>
            <a:ext cx="387009" cy="247181"/>
          </a:xfrm>
          <a:prstGeom prst="line">
            <a:avLst/>
          </a:prstGeom>
          <a:ln w="12700">
            <a:solidFill>
              <a:schemeClr val="tx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90" name="四角形: 角を丸くする 89">
            <a:extLst>
              <a:ext uri="{FF2B5EF4-FFF2-40B4-BE49-F238E27FC236}">
                <a16:creationId xmlns:a16="http://schemas.microsoft.com/office/drawing/2014/main" id="{1C240D91-25F1-49BE-94FF-D5E29DF27C18}"/>
              </a:ext>
            </a:extLst>
          </p:cNvPr>
          <p:cNvSpPr/>
          <p:nvPr/>
        </p:nvSpPr>
        <p:spPr bwMode="auto">
          <a:xfrm>
            <a:off x="3271675" y="1553073"/>
            <a:ext cx="2026175" cy="411118"/>
          </a:xfrm>
          <a:prstGeom prst="roundRect">
            <a:avLst/>
          </a:prstGeom>
          <a:solidFill>
            <a:schemeClr val="bg1"/>
          </a:solidFill>
          <a:ln w="9525">
            <a:solidFill>
              <a:schemeClr val="bg1">
                <a:lumMod val="85000"/>
              </a:schemeClr>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9" name="図 8">
            <a:extLst>
              <a:ext uri="{FF2B5EF4-FFF2-40B4-BE49-F238E27FC236}">
                <a16:creationId xmlns:a16="http://schemas.microsoft.com/office/drawing/2014/main" id="{F9662CEF-C769-426C-8AF6-4F3DE5BAC9B7}"/>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699129" y="1658355"/>
            <a:ext cx="486513" cy="247652"/>
          </a:xfrm>
          <a:prstGeom prst="rect">
            <a:avLst/>
          </a:prstGeom>
        </p:spPr>
      </p:pic>
      <p:sp>
        <p:nvSpPr>
          <p:cNvPr id="130" name="テキスト ボックス 129">
            <a:extLst>
              <a:ext uri="{FF2B5EF4-FFF2-40B4-BE49-F238E27FC236}">
                <a16:creationId xmlns:a16="http://schemas.microsoft.com/office/drawing/2014/main" id="{C53BCB62-D400-4750-E8C2-E7639607079E}"/>
              </a:ext>
            </a:extLst>
          </p:cNvPr>
          <p:cNvSpPr txBox="1"/>
          <p:nvPr/>
        </p:nvSpPr>
        <p:spPr>
          <a:xfrm>
            <a:off x="51864" y="4709894"/>
            <a:ext cx="115288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合同ネットワーキング</a:t>
            </a:r>
          </a:p>
        </p:txBody>
      </p:sp>
      <p:pic>
        <p:nvPicPr>
          <p:cNvPr id="170" name="図 169">
            <a:extLst>
              <a:ext uri="{FF2B5EF4-FFF2-40B4-BE49-F238E27FC236}">
                <a16:creationId xmlns:a16="http://schemas.microsoft.com/office/drawing/2014/main" id="{FA0095EA-D56F-B25C-3B04-7542CA437601}"/>
              </a:ext>
            </a:extLst>
          </p:cNvPr>
          <p:cNvPicPr>
            <a:picLocks noChangeAspect="1"/>
          </p:cNvPicPr>
          <p:nvPr/>
        </p:nvPicPr>
        <p:blipFill>
          <a:blip r:embed="rId14"/>
          <a:stretch>
            <a:fillRect/>
          </a:stretch>
        </p:blipFill>
        <p:spPr>
          <a:xfrm>
            <a:off x="4010071" y="1651434"/>
            <a:ext cx="633497" cy="263514"/>
          </a:xfrm>
          <a:prstGeom prst="rect">
            <a:avLst/>
          </a:prstGeom>
          <a:ln>
            <a:noFill/>
          </a:ln>
          <a:effectLst/>
        </p:spPr>
      </p:pic>
      <p:pic>
        <p:nvPicPr>
          <p:cNvPr id="232" name="図 231">
            <a:extLst>
              <a:ext uri="{FF2B5EF4-FFF2-40B4-BE49-F238E27FC236}">
                <a16:creationId xmlns:a16="http://schemas.microsoft.com/office/drawing/2014/main" id="{375133A4-7BE1-A941-F22A-5C191599ED49}"/>
              </a:ext>
            </a:extLst>
          </p:cNvPr>
          <p:cNvPicPr>
            <a:picLocks noChangeAspect="1"/>
          </p:cNvPicPr>
          <p:nvPr/>
        </p:nvPicPr>
        <p:blipFill>
          <a:blip r:embed="rId15"/>
          <a:stretch>
            <a:fillRect/>
          </a:stretch>
        </p:blipFill>
        <p:spPr>
          <a:xfrm>
            <a:off x="3402143" y="1645544"/>
            <a:ext cx="545942" cy="238645"/>
          </a:xfrm>
          <a:prstGeom prst="rect">
            <a:avLst/>
          </a:prstGeom>
          <a:ln>
            <a:noFill/>
          </a:ln>
          <a:effectLst/>
        </p:spPr>
      </p:pic>
      <p:sp>
        <p:nvSpPr>
          <p:cNvPr id="8" name="四角形: 角を丸くする 7">
            <a:extLst>
              <a:ext uri="{FF2B5EF4-FFF2-40B4-BE49-F238E27FC236}">
                <a16:creationId xmlns:a16="http://schemas.microsoft.com/office/drawing/2014/main" id="{960FC5D7-3B0B-4FE0-8261-33843812F957}"/>
              </a:ext>
            </a:extLst>
          </p:cNvPr>
          <p:cNvSpPr/>
          <p:nvPr/>
        </p:nvSpPr>
        <p:spPr bwMode="auto">
          <a:xfrm>
            <a:off x="210664" y="1528716"/>
            <a:ext cx="242746" cy="148358"/>
          </a:xfrm>
          <a:prstGeom prst="roundRect">
            <a:avLst/>
          </a:prstGeom>
          <a:solidFill>
            <a:schemeClr val="bg1"/>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DCE6069E-6E0D-41CF-9444-01A83DDF3888}"/>
              </a:ext>
            </a:extLst>
          </p:cNvPr>
          <p:cNvSpPr/>
          <p:nvPr/>
        </p:nvSpPr>
        <p:spPr bwMode="auto">
          <a:xfrm>
            <a:off x="5572454" y="2347512"/>
            <a:ext cx="4114793" cy="2155429"/>
          </a:xfrm>
          <a:prstGeom prst="rect">
            <a:avLst/>
          </a:prstGeom>
          <a:noFill/>
          <a:ln w="9525">
            <a:noFill/>
            <a:miter lim="800000"/>
            <a:headEnd/>
            <a:tailEnd/>
          </a:ln>
          <a:effectLst/>
        </p:spPr>
        <p:txBody>
          <a:bodyPr wrap="square" rtlCol="0" anchor="t" anchorCtr="0"/>
          <a:lstStyle/>
          <a:p>
            <a:pPr algn="l"/>
            <a:r>
              <a:rPr kumimoji="0" lang="ja-JP" altLang="en-US" sz="1000" b="1" dirty="0">
                <a:latin typeface="Meiryo UI" panose="020B0604030504040204" pitchFamily="50" charset="-128"/>
                <a:ea typeface="Meiryo UI" panose="020B0604030504040204" pitchFamily="50" charset="-128"/>
              </a:rPr>
              <a:t>〇海外グローバルスタートアップイベントと連携したイベント</a:t>
            </a:r>
            <a:endParaRPr kumimoji="0" lang="en-US" altLang="ja-JP" sz="1000" b="1" dirty="0">
              <a:latin typeface="Meiryo UI" panose="020B0604030504040204" pitchFamily="50" charset="-128"/>
              <a:ea typeface="Meiryo UI" panose="020B0604030504040204" pitchFamily="50" charset="-128"/>
            </a:endParaRPr>
          </a:p>
          <a:p>
            <a:pPr algn="l"/>
            <a:r>
              <a:rPr kumimoji="0" lang="en-US" altLang="ja-JP" sz="1000" dirty="0">
                <a:latin typeface="Meiryo UI" panose="020B0604030504040204" pitchFamily="50" charset="-128"/>
                <a:ea typeface="Meiryo UI" panose="020B0604030504040204" pitchFamily="50" charset="-128"/>
              </a:rPr>
              <a:t>South Summit</a:t>
            </a:r>
            <a:r>
              <a:rPr kumimoji="0" lang="ja-JP" altLang="en-US" sz="1000" dirty="0">
                <a:latin typeface="Meiryo UI" panose="020B0604030504040204" pitchFamily="50" charset="-128"/>
                <a:ea typeface="Meiryo UI" panose="020B0604030504040204" pitchFamily="50" charset="-128"/>
              </a:rPr>
              <a:t>（スペイン）、</a:t>
            </a:r>
            <a:r>
              <a:rPr kumimoji="0" lang="en-US" altLang="ja-JP" sz="1000" dirty="0">
                <a:latin typeface="Meiryo UI" panose="020B0604030504040204" pitchFamily="50" charset="-128"/>
                <a:ea typeface="Meiryo UI" panose="020B0604030504040204" pitchFamily="50" charset="-128"/>
              </a:rPr>
              <a:t>Foster Bridge</a:t>
            </a:r>
            <a:r>
              <a:rPr kumimoji="0" lang="ja-JP" altLang="en-US" sz="1000" dirty="0">
                <a:latin typeface="Meiryo UI" panose="020B0604030504040204" pitchFamily="50" charset="-128"/>
                <a:ea typeface="Meiryo UI" panose="020B0604030504040204" pitchFamily="50" charset="-128"/>
              </a:rPr>
              <a:t>（韓国）、</a:t>
            </a:r>
            <a:r>
              <a:rPr kumimoji="0" lang="en-US" altLang="ja-JP" sz="1000" dirty="0">
                <a:latin typeface="Meiryo UI" panose="020B0604030504040204" pitchFamily="50" charset="-128"/>
                <a:ea typeface="Meiryo UI" panose="020B0604030504040204" pitchFamily="50" charset="-128"/>
              </a:rPr>
              <a:t>EDCON</a:t>
            </a:r>
            <a:r>
              <a:rPr kumimoji="0" lang="ja-JP" altLang="en-US" sz="1000" dirty="0">
                <a:latin typeface="Meiryo UI" panose="020B0604030504040204" pitchFamily="50" charset="-128"/>
                <a:ea typeface="Meiryo UI" panose="020B0604030504040204" pitchFamily="50" charset="-128"/>
              </a:rPr>
              <a:t>（イーサリアム開発団体（</a:t>
            </a:r>
            <a:r>
              <a:rPr kumimoji="0" lang="en-US" altLang="ja-JP" sz="1000" dirty="0">
                <a:latin typeface="Meiryo UI" panose="020B0604030504040204" pitchFamily="50" charset="-128"/>
                <a:ea typeface="Meiryo UI" panose="020B0604030504040204" pitchFamily="50" charset="-128"/>
              </a:rPr>
              <a:t>2025</a:t>
            </a:r>
            <a:r>
              <a:rPr kumimoji="0" lang="ja-JP" altLang="en-US" sz="1000" dirty="0">
                <a:latin typeface="Meiryo UI" panose="020B0604030504040204" pitchFamily="50" charset="-128"/>
                <a:ea typeface="Meiryo UI" panose="020B0604030504040204" pitchFamily="50" charset="-128"/>
              </a:rPr>
              <a:t>実績有））等と調整中</a:t>
            </a:r>
            <a:endParaRPr kumimoji="0" lang="en-US" altLang="ja-JP" sz="10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algn="l"/>
            <a:r>
              <a:rPr kumimoji="0" lang="ja-JP" altLang="en-US" sz="1000" b="1" dirty="0">
                <a:latin typeface="Meiryo UI" panose="020B0604030504040204" pitchFamily="50" charset="-128"/>
                <a:ea typeface="Meiryo UI" panose="020B0604030504040204" pitchFamily="50" charset="-128"/>
              </a:rPr>
              <a:t>〇</a:t>
            </a:r>
            <a:r>
              <a:rPr kumimoji="0" lang="zh-TW" altLang="en-US" sz="1000" b="1" dirty="0">
                <a:latin typeface="Meiryo UI" panose="020B0604030504040204" pitchFamily="50" charset="-128"/>
                <a:ea typeface="Meiryo UI" panose="020B0604030504040204" pitchFamily="50" charset="-128"/>
              </a:rPr>
              <a:t>国家戦略技術領域</a:t>
            </a:r>
            <a:r>
              <a:rPr kumimoji="0" lang="ja-JP" altLang="en-US" sz="1000" b="1" dirty="0">
                <a:latin typeface="Meiryo UI" panose="020B0604030504040204" pitchFamily="50" charset="-128"/>
                <a:ea typeface="Meiryo UI" panose="020B0604030504040204" pitchFamily="50" charset="-128"/>
              </a:rPr>
              <a:t>の各分野に特化したイベント</a:t>
            </a:r>
            <a:endParaRPr kumimoji="0" lang="en-US" altLang="ja-JP" sz="1000" b="1" dirty="0">
              <a:latin typeface="Meiryo UI" panose="020B0604030504040204" pitchFamily="50" charset="-128"/>
              <a:ea typeface="Meiryo UI" panose="020B0604030504040204" pitchFamily="50" charset="-128"/>
            </a:endParaRPr>
          </a:p>
          <a:p>
            <a:pPr algn="l"/>
            <a:r>
              <a:rPr kumimoji="0" lang="ja-JP" altLang="en-US" sz="1000" dirty="0">
                <a:latin typeface="Meiryo UI" panose="020B0604030504040204" pitchFamily="50" charset="-128"/>
                <a:ea typeface="Meiryo UI" panose="020B0604030504040204" pitchFamily="50" charset="-128"/>
              </a:rPr>
              <a:t>各分野を代表する国内研究機関等と連携し、同ネットワークを活用したサイドイベントを実施。</a:t>
            </a:r>
            <a:endParaRPr kumimoji="0" lang="en-US" altLang="ja-JP" sz="10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algn="l"/>
            <a:r>
              <a:rPr kumimoji="0" lang="ja-JP" altLang="en-US" sz="1000" b="1" dirty="0">
                <a:latin typeface="Meiryo UI" panose="020B0604030504040204" pitchFamily="50" charset="-128"/>
                <a:ea typeface="Meiryo UI" panose="020B0604030504040204" pitchFamily="50" charset="-128"/>
              </a:rPr>
              <a:t>〇海外アクセラレーターと連携したイベント</a:t>
            </a:r>
            <a:endParaRPr kumimoji="0" lang="en-US" altLang="ja-JP" sz="1000" b="1" dirty="0">
              <a:latin typeface="Meiryo UI" panose="020B0604030504040204" pitchFamily="50" charset="-128"/>
              <a:ea typeface="Meiryo UI" panose="020B0604030504040204" pitchFamily="50" charset="-128"/>
            </a:endParaRPr>
          </a:p>
          <a:p>
            <a:pPr algn="l"/>
            <a:r>
              <a:rPr kumimoji="0" lang="ja-JP" altLang="en-US" sz="1000" dirty="0">
                <a:latin typeface="Meiryo UI" panose="020B0604030504040204" pitchFamily="50" charset="-128"/>
                <a:ea typeface="Meiryo UI" panose="020B0604030504040204" pitchFamily="50" charset="-128"/>
              </a:rPr>
              <a:t>未来医療の世界的な拠点である「中之島クロス」で海外アクセラレーターによる国内外スタートアップのピッチイベントを実施。</a:t>
            </a:r>
            <a:endParaRPr kumimoji="0" lang="en-US" altLang="ja-JP" sz="10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algn="l"/>
            <a:r>
              <a:rPr kumimoji="0" lang="ja-JP" altLang="en-US" sz="1000" b="1" dirty="0">
                <a:latin typeface="Meiryo UI" panose="020B0604030504040204" pitchFamily="50" charset="-128"/>
                <a:ea typeface="Meiryo UI" panose="020B0604030504040204" pitchFamily="50" charset="-128"/>
              </a:rPr>
              <a:t>〇国内外</a:t>
            </a:r>
            <a:r>
              <a:rPr kumimoji="0" lang="en-US" altLang="ja-JP" sz="1000" b="1" dirty="0">
                <a:latin typeface="Meiryo UI" panose="020B0604030504040204" pitchFamily="50" charset="-128"/>
                <a:ea typeface="Meiryo UI" panose="020B0604030504040204" pitchFamily="50" charset="-128"/>
              </a:rPr>
              <a:t>CVC</a:t>
            </a:r>
            <a:r>
              <a:rPr kumimoji="0" lang="ja-JP" altLang="en-US" sz="1000" b="1" dirty="0">
                <a:latin typeface="Meiryo UI" panose="020B0604030504040204" pitchFamily="50" charset="-128"/>
                <a:ea typeface="Meiryo UI" panose="020B0604030504040204" pitchFamily="50" charset="-128"/>
              </a:rPr>
              <a:t>コミュニティと連携したイベント</a:t>
            </a:r>
            <a:endParaRPr kumimoji="0" lang="en-US" altLang="ja-JP" sz="1000" b="1" dirty="0">
              <a:latin typeface="Meiryo UI" panose="020B0604030504040204" pitchFamily="50" charset="-128"/>
              <a:ea typeface="Meiryo UI" panose="020B0604030504040204" pitchFamily="50" charset="-128"/>
            </a:endParaRPr>
          </a:p>
          <a:p>
            <a:pPr algn="l"/>
            <a:r>
              <a:rPr kumimoji="0" lang="ja-JP" altLang="en-US" sz="1000" dirty="0">
                <a:latin typeface="Meiryo UI" panose="020B0604030504040204" pitchFamily="50" charset="-128"/>
                <a:ea typeface="Meiryo UI" panose="020B0604030504040204" pitchFamily="50" charset="-128"/>
              </a:rPr>
              <a:t>国内大手企業の新規事業担当者が集まるイベントを実施。</a:t>
            </a:r>
            <a:endParaRPr kumimoji="0" lang="en-US" altLang="ja-JP" sz="1000" dirty="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ACA3495F-78E4-46D6-BC41-758FC665E14A}"/>
              </a:ext>
            </a:extLst>
          </p:cNvPr>
          <p:cNvSpPr txBox="1"/>
          <p:nvPr/>
        </p:nvSpPr>
        <p:spPr>
          <a:xfrm>
            <a:off x="2739796" y="922144"/>
            <a:ext cx="5116106" cy="307777"/>
          </a:xfrm>
          <a:prstGeom prst="rect">
            <a:avLst/>
          </a:prstGeom>
          <a:noFill/>
        </p:spPr>
        <p:txBody>
          <a:bodyPr wrap="square" rtlCol="0">
            <a:spAutoFit/>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GSE2026</a:t>
            </a: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会場のエリアマップ、サイドイベント展開イメージ</a:t>
            </a:r>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3" name="直線矢印コネクタ 82">
            <a:extLst>
              <a:ext uri="{FF2B5EF4-FFF2-40B4-BE49-F238E27FC236}">
                <a16:creationId xmlns:a16="http://schemas.microsoft.com/office/drawing/2014/main" id="{C2D37DA9-7453-4924-BC36-E54422F64AE5}"/>
              </a:ext>
            </a:extLst>
          </p:cNvPr>
          <p:cNvCxnSpPr>
            <a:cxnSpLocks/>
          </p:cNvCxnSpPr>
          <p:nvPr/>
        </p:nvCxnSpPr>
        <p:spPr>
          <a:xfrm flipH="1" flipV="1">
            <a:off x="3470521" y="3901814"/>
            <a:ext cx="2356836" cy="1190745"/>
          </a:xfrm>
          <a:prstGeom prst="straightConnector1">
            <a:avLst/>
          </a:prstGeom>
          <a:ln w="76200">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四角形: 角を丸くする 81">
            <a:extLst>
              <a:ext uri="{FF2B5EF4-FFF2-40B4-BE49-F238E27FC236}">
                <a16:creationId xmlns:a16="http://schemas.microsoft.com/office/drawing/2014/main" id="{051DF9DA-9A39-4097-B705-CE2EBEF034F0}"/>
              </a:ext>
            </a:extLst>
          </p:cNvPr>
          <p:cNvSpPr/>
          <p:nvPr/>
        </p:nvSpPr>
        <p:spPr bwMode="auto">
          <a:xfrm>
            <a:off x="5023392" y="4592034"/>
            <a:ext cx="582895" cy="205715"/>
          </a:xfrm>
          <a:prstGeom prst="roundRect">
            <a:avLst/>
          </a:prstGeom>
          <a:solidFill>
            <a:schemeClr val="bg1">
              <a:alpha val="95000"/>
            </a:schemeClr>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dirty="0">
                <a:solidFill>
                  <a:prstClr val="black"/>
                </a:solidFill>
                <a:latin typeface="Meiryo UI" panose="020B0604030504040204" pitchFamily="50" charset="-128"/>
                <a:ea typeface="Meiryo UI" panose="020B0604030504040204" pitchFamily="50" charset="-128"/>
              </a:rPr>
              <a:t>2</a:t>
            </a:r>
            <a:r>
              <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分</a:t>
            </a:r>
          </a:p>
        </p:txBody>
      </p:sp>
      <p:sp>
        <p:nvSpPr>
          <p:cNvPr id="86" name="テキスト ボックス 85">
            <a:extLst>
              <a:ext uri="{FF2B5EF4-FFF2-40B4-BE49-F238E27FC236}">
                <a16:creationId xmlns:a16="http://schemas.microsoft.com/office/drawing/2014/main" id="{3374BA2F-F9DD-4AEB-A466-157C6F2D64C6}"/>
              </a:ext>
            </a:extLst>
          </p:cNvPr>
          <p:cNvSpPr txBox="1"/>
          <p:nvPr/>
        </p:nvSpPr>
        <p:spPr>
          <a:xfrm>
            <a:off x="5608166" y="2083062"/>
            <a:ext cx="4087170" cy="246221"/>
          </a:xfrm>
          <a:prstGeom prst="rect">
            <a:avLst/>
          </a:prstGeom>
          <a:solidFill>
            <a:schemeClr val="accent5">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うめきた近隣でディープテック、グローバルに関するサイドイベントを開催</a:t>
            </a:r>
          </a:p>
        </p:txBody>
      </p:sp>
      <p:pic>
        <p:nvPicPr>
          <p:cNvPr id="52" name="図 51">
            <a:extLst>
              <a:ext uri="{FF2B5EF4-FFF2-40B4-BE49-F238E27FC236}">
                <a16:creationId xmlns:a16="http://schemas.microsoft.com/office/drawing/2014/main" id="{2671131B-C48D-48C8-A318-4128B281E69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82851" y="1776660"/>
            <a:ext cx="1435733" cy="1076800"/>
          </a:xfrm>
          <a:prstGeom prst="rect">
            <a:avLst/>
          </a:prstGeom>
        </p:spPr>
      </p:pic>
      <p:pic>
        <p:nvPicPr>
          <p:cNvPr id="53" name="図 52">
            <a:extLst>
              <a:ext uri="{FF2B5EF4-FFF2-40B4-BE49-F238E27FC236}">
                <a16:creationId xmlns:a16="http://schemas.microsoft.com/office/drawing/2014/main" id="{B83EDEE7-D893-4AD9-B25D-3E074DB8EE35}"/>
              </a:ext>
            </a:extLst>
          </p:cNvPr>
          <p:cNvPicPr>
            <a:picLocks noChangeAspect="1"/>
          </p:cNvPicPr>
          <p:nvPr/>
        </p:nvPicPr>
        <p:blipFill>
          <a:blip r:embed="rId17"/>
          <a:stretch>
            <a:fillRect/>
          </a:stretch>
        </p:blipFill>
        <p:spPr>
          <a:xfrm>
            <a:off x="339490" y="4577092"/>
            <a:ext cx="536542" cy="186412"/>
          </a:xfrm>
          <a:prstGeom prst="rect">
            <a:avLst/>
          </a:prstGeom>
        </p:spPr>
      </p:pic>
      <p:sp>
        <p:nvSpPr>
          <p:cNvPr id="87" name="テキスト ボックス 86">
            <a:extLst>
              <a:ext uri="{FF2B5EF4-FFF2-40B4-BE49-F238E27FC236}">
                <a16:creationId xmlns:a16="http://schemas.microsoft.com/office/drawing/2014/main" id="{37B41E3B-23DC-4A00-A35A-F647D7531484}"/>
              </a:ext>
            </a:extLst>
          </p:cNvPr>
          <p:cNvSpPr txBox="1"/>
          <p:nvPr/>
        </p:nvSpPr>
        <p:spPr>
          <a:xfrm>
            <a:off x="1708026" y="1147800"/>
            <a:ext cx="7179647" cy="253916"/>
          </a:xfrm>
          <a:prstGeom prst="rect">
            <a:avLst/>
          </a:prstGeom>
          <a:noFill/>
        </p:spPr>
        <p:txBody>
          <a:bodyPr wrap="square" rtlCol="0">
            <a:spAutoFit/>
          </a:bodyPr>
          <a:lstStyle/>
          <a:p>
            <a:r>
              <a:rPr kumimoji="1" lang="ja-JP" altLang="en-US" sz="1050" b="1" dirty="0">
                <a:latin typeface="Meiryo UI" panose="020B0604030504040204" pitchFamily="50" charset="-128"/>
                <a:ea typeface="Meiryo UI" panose="020B0604030504040204" pitchFamily="50" charset="-128"/>
                <a:cs typeface="Meiryo UI" panose="020B0604030504040204" pitchFamily="50" charset="-128"/>
              </a:rPr>
              <a:t>「うめきた」エリアを、関西スタートアップエコシステムの起爆剤となるような世界に誇れる国際的な都市空間に位置づけ</a:t>
            </a:r>
          </a:p>
        </p:txBody>
      </p:sp>
      <p:sp>
        <p:nvSpPr>
          <p:cNvPr id="25" name="吹き出し: 角を丸めた四角形 24">
            <a:extLst>
              <a:ext uri="{FF2B5EF4-FFF2-40B4-BE49-F238E27FC236}">
                <a16:creationId xmlns:a16="http://schemas.microsoft.com/office/drawing/2014/main" id="{935A12C9-925A-857B-EFAD-187292ACCDA0}"/>
              </a:ext>
            </a:extLst>
          </p:cNvPr>
          <p:cNvSpPr/>
          <p:nvPr/>
        </p:nvSpPr>
        <p:spPr bwMode="auto">
          <a:xfrm>
            <a:off x="2529854" y="4245681"/>
            <a:ext cx="2513093" cy="335992"/>
          </a:xfrm>
          <a:prstGeom prst="wedgeRoundRectCallout">
            <a:avLst>
              <a:gd name="adj1" fmla="val -26177"/>
              <a:gd name="adj2" fmla="val -138330"/>
              <a:gd name="adj3" fmla="val 16667"/>
            </a:avLst>
          </a:prstGeom>
          <a:solidFill>
            <a:schemeClr val="bg1"/>
          </a:solidFill>
          <a:ln w="9525">
            <a:solidFill>
              <a:srgbClr val="FF0000"/>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西日本最大のターミナル「大阪駅」から徒歩</a:t>
            </a:r>
            <a:r>
              <a:rPr kumimoji="0"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5</a:t>
            </a:r>
            <a:r>
              <a:rPr kumimoji="0"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分</a:t>
            </a:r>
          </a:p>
        </p:txBody>
      </p:sp>
    </p:spTree>
    <p:extLst>
      <p:ext uri="{BB962C8B-B14F-4D97-AF65-F5344CB8AC3E}">
        <p14:creationId xmlns:p14="http://schemas.microsoft.com/office/powerpoint/2010/main" val="953244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C9B52-D261-E439-F5AA-BD5EE59CDF16}"/>
            </a:ext>
          </a:extLst>
        </p:cNvPr>
        <p:cNvGrpSpPr/>
        <p:nvPr/>
      </p:nvGrpSpPr>
      <p:grpSpPr>
        <a:xfrm>
          <a:off x="0" y="0"/>
          <a:ext cx="0" cy="0"/>
          <a:chOff x="0" y="0"/>
          <a:chExt cx="0" cy="0"/>
        </a:xfrm>
      </p:grpSpPr>
      <p:pic>
        <p:nvPicPr>
          <p:cNvPr id="6" name="図 5">
            <a:extLst>
              <a:ext uri="{FF2B5EF4-FFF2-40B4-BE49-F238E27FC236}">
                <a16:creationId xmlns:a16="http://schemas.microsoft.com/office/drawing/2014/main" id="{7520FD1C-0E88-FA7F-5551-9089AC096D7E}"/>
              </a:ext>
            </a:extLst>
          </p:cNvPr>
          <p:cNvPicPr>
            <a:picLocks noChangeAspect="1"/>
          </p:cNvPicPr>
          <p:nvPr/>
        </p:nvPicPr>
        <p:blipFill>
          <a:blip r:embed="rId3" cstate="email">
            <a:extLst>
              <a:ext uri="{28A0092B-C50C-407E-A947-70E740481C1C}">
                <a14:useLocalDpi xmlns:a14="http://schemas.microsoft.com/office/drawing/2010/main"/>
              </a:ext>
            </a:extLst>
          </a:blip>
          <a:srcRect l="16060" t="18357" r="10476" b="22767"/>
          <a:stretch/>
        </p:blipFill>
        <p:spPr>
          <a:xfrm>
            <a:off x="2617827" y="1535734"/>
            <a:ext cx="4563873" cy="5048046"/>
          </a:xfrm>
          <a:prstGeom prst="roundRect">
            <a:avLst>
              <a:gd name="adj" fmla="val 35143"/>
            </a:avLst>
          </a:prstGeom>
        </p:spPr>
      </p:pic>
      <p:sp>
        <p:nvSpPr>
          <p:cNvPr id="1139" name="正方形/長方形 1138">
            <a:extLst>
              <a:ext uri="{FF2B5EF4-FFF2-40B4-BE49-F238E27FC236}">
                <a16:creationId xmlns:a16="http://schemas.microsoft.com/office/drawing/2014/main" id="{F7C31C9B-451F-798A-B193-043F9677A96D}"/>
              </a:ext>
            </a:extLst>
          </p:cNvPr>
          <p:cNvSpPr/>
          <p:nvPr/>
        </p:nvSpPr>
        <p:spPr bwMode="auto">
          <a:xfrm>
            <a:off x="6810801" y="1156743"/>
            <a:ext cx="2518889" cy="1554771"/>
          </a:xfrm>
          <a:prstGeom prst="rect">
            <a:avLst/>
          </a:prstGeom>
          <a:noFill/>
          <a:ln w="9525">
            <a:noFill/>
            <a:miter lim="800000"/>
            <a:headEnd/>
            <a:tailEnd/>
          </a:ln>
          <a:effectLst/>
        </p:spPr>
        <p:txBody>
          <a:bodyPr wrap="none" lIns="36000" tIns="144000" rIns="36000" bIns="36000" rtlCol="0" anchor="t" anchorCtr="0"/>
          <a:lstStyle/>
          <a:p>
            <a:pPr marL="180975" indent="-180975">
              <a:buFont typeface="Wingdings" panose="05000000000000000000" pitchFamily="2" charset="2"/>
              <a:buChar char="n"/>
              <a:tabLst>
                <a:tab pos="180975" algn="l"/>
              </a:tabLst>
            </a:pPr>
            <a:r>
              <a:rPr lang="zh-TW" altLang="en-US" sz="800" dirty="0">
                <a:latin typeface="Meiryo UI" panose="020B0604030504040204" pitchFamily="50" charset="-128"/>
                <a:ea typeface="Meiryo UI" panose="020B0604030504040204" pitchFamily="50" charset="-128"/>
                <a:cs typeface="Meiryo UI" panose="020B0604030504040204" pitchFamily="50" charset="-128"/>
              </a:rPr>
              <a:t>国際電気通信基礎技術研究所</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R</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けいはんなオープンイノベーションセンター</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KICK</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大阪大学みらい創発</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hive</a:t>
            </a: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理化学研究所（</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RIKEN</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計算科学研究センター（</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R-CCS</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ドイツ人工知能研究センター 日本研究所</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en-US" altLang="ja-JP" sz="800" dirty="0" err="1"/>
              <a:t>iRooBO</a:t>
            </a:r>
            <a:r>
              <a:rPr lang="en-US" altLang="ja-JP" sz="800" dirty="0"/>
              <a:t> Open Technology Center</a:t>
            </a:r>
          </a:p>
          <a:p>
            <a:pPr marL="180975" indent="-180975">
              <a:buFont typeface="Wingdings" panose="05000000000000000000" pitchFamily="2" charset="2"/>
              <a:buChar char="n"/>
              <a:tabLst>
                <a:tab pos="180975" algn="l"/>
              </a:tabLst>
            </a:pPr>
            <a:r>
              <a:rPr lang="en-US" altLang="ja-JP" sz="800" dirty="0"/>
              <a:t>HCI ROBOT</a:t>
            </a:r>
            <a:r>
              <a:rPr lang="ja-JP" altLang="en-US" sz="800" dirty="0"/>
              <a:t>･</a:t>
            </a:r>
            <a:r>
              <a:rPr lang="en-US" altLang="ja-JP" sz="800" dirty="0"/>
              <a:t>AI LAB</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等</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40" name="正方形/長方形 1139">
            <a:extLst>
              <a:ext uri="{FF2B5EF4-FFF2-40B4-BE49-F238E27FC236}">
                <a16:creationId xmlns:a16="http://schemas.microsoft.com/office/drawing/2014/main" id="{7AB054E5-0D96-B71F-EA98-30BF27D04DE8}"/>
              </a:ext>
            </a:extLst>
          </p:cNvPr>
          <p:cNvSpPr/>
          <p:nvPr/>
        </p:nvSpPr>
        <p:spPr bwMode="auto">
          <a:xfrm>
            <a:off x="6810801" y="3205934"/>
            <a:ext cx="2518889" cy="1554771"/>
          </a:xfrm>
          <a:prstGeom prst="rect">
            <a:avLst/>
          </a:prstGeom>
          <a:noFill/>
          <a:ln w="9525">
            <a:noFill/>
            <a:miter lim="800000"/>
            <a:headEnd/>
            <a:tailEnd/>
          </a:ln>
          <a:effectLst/>
        </p:spPr>
        <p:txBody>
          <a:bodyPr wrap="none" lIns="36000" tIns="144000" rIns="36000" bIns="36000" rtlCol="0" anchor="t" anchorCtr="0"/>
          <a:lstStyle/>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産業技術総合研究所関西センター</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大阪大学量子情報・量子生命研究センター（</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QIQB</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京都大学 光量子センシング教育研究センター　</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zh-TW" altLang="en-US" sz="800" dirty="0">
                <a:latin typeface="Meiryo UI" panose="020B0604030504040204" pitchFamily="50" charset="-128"/>
                <a:ea typeface="Meiryo UI" panose="020B0604030504040204" pitchFamily="50" charset="-128"/>
                <a:cs typeface="Meiryo UI" panose="020B0604030504040204" pitchFamily="50" charset="-128"/>
              </a:rPr>
              <a:t>量子科学技術研究開発機構 </a:t>
            </a:r>
            <a:r>
              <a:rPr lang="zh-CN" altLang="en-US" sz="800" dirty="0">
                <a:latin typeface="Meiryo UI" panose="020B0604030504040204" pitchFamily="50" charset="-128"/>
                <a:ea typeface="Meiryo UI" panose="020B0604030504040204" pitchFamily="50" charset="-128"/>
                <a:cs typeface="Meiryo UI" panose="020B0604030504040204" pitchFamily="50" charset="-128"/>
              </a:rPr>
              <a:t>関西光量子科学研究所</a:t>
            </a:r>
            <a:endParaRPr lang="en-US" altLang="zh-CN"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奈良先端科学技術大学院大学 物質創成科学領域</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t>理化学研究所　計算科学研究センター</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等</a:t>
            </a:r>
            <a:endParaRPr lang="en-US" altLang="zh-CN"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41" name="正方形/長方形 1140">
            <a:extLst>
              <a:ext uri="{FF2B5EF4-FFF2-40B4-BE49-F238E27FC236}">
                <a16:creationId xmlns:a16="http://schemas.microsoft.com/office/drawing/2014/main" id="{E522929B-93BA-2064-10A4-2ED8370AB722}"/>
              </a:ext>
            </a:extLst>
          </p:cNvPr>
          <p:cNvSpPr/>
          <p:nvPr/>
        </p:nvSpPr>
        <p:spPr bwMode="auto">
          <a:xfrm>
            <a:off x="6810801" y="4996521"/>
            <a:ext cx="2518889" cy="1116295"/>
          </a:xfrm>
          <a:prstGeom prst="rect">
            <a:avLst/>
          </a:prstGeom>
          <a:noFill/>
          <a:ln w="9525">
            <a:noFill/>
            <a:miter lim="800000"/>
            <a:headEnd/>
            <a:tailEnd/>
          </a:ln>
          <a:effectLst/>
        </p:spPr>
        <p:txBody>
          <a:bodyPr wrap="none" lIns="36000" tIns="144000" rIns="36000" bIns="36000" rtlCol="0" anchor="t" anchorCtr="0"/>
          <a:lstStyle/>
          <a:p>
            <a:pPr marL="180975" indent="-180975">
              <a:buFont typeface="Wingdings" panose="05000000000000000000" pitchFamily="2" charset="2"/>
              <a:buChar char="n"/>
              <a:tabLst>
                <a:tab pos="180975" algn="l"/>
              </a:tabLst>
            </a:pPr>
            <a:r>
              <a:rPr lang="ja-JP" altLang="en-US" sz="800" dirty="0"/>
              <a:t>京都大学フォトニック結晶レーザー研究所</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京都市産業技術研究所</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zh-TW" altLang="en-US" sz="800" dirty="0">
                <a:latin typeface="Meiryo UI" panose="020B0604030504040204" pitchFamily="50" charset="-128"/>
                <a:ea typeface="Meiryo UI" panose="020B0604030504040204" pitchFamily="50" charset="-128"/>
                <a:cs typeface="Meiryo UI" panose="020B0604030504040204" pitchFamily="50" charset="-128"/>
              </a:rPr>
              <a:t>国際電気通信基礎技術研究所</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R</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zh-CN" altLang="en-US" sz="800" dirty="0">
                <a:latin typeface="Meiryo UI" panose="020B0604030504040204" pitchFamily="50" charset="-128"/>
                <a:ea typeface="Meiryo UI" panose="020B0604030504040204" pitchFamily="50" charset="-128"/>
                <a:cs typeface="Meiryo UI" panose="020B0604030504040204" pitchFamily="50" charset="-128"/>
              </a:rPr>
              <a:t>大阪大学 産業科学研究所</a:t>
            </a:r>
            <a:endParaRPr lang="en-US" altLang="zh-CN"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大阪産業技術研究所</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京都大学高等研究院</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t>立命館大学 </a:t>
            </a:r>
            <a:r>
              <a:rPr lang="en-US" altLang="ja-JP" sz="800" dirty="0"/>
              <a:t>VLSI</a:t>
            </a:r>
            <a:r>
              <a:rPr lang="ja-JP" altLang="en-US" sz="800" dirty="0"/>
              <a:t>（大規模集積回路）センター</a:t>
            </a:r>
            <a:endParaRPr lang="en-US" altLang="ja-JP" sz="800" dirty="0"/>
          </a:p>
          <a:p>
            <a:pPr marL="180975" indent="-180975">
              <a:buFont typeface="Wingdings" panose="05000000000000000000" pitchFamily="2" charset="2"/>
              <a:buChar char="n"/>
              <a:tabLst>
                <a:tab pos="180975" algn="l"/>
              </a:tabLst>
            </a:pPr>
            <a:r>
              <a:rPr lang="ja-JP" altLang="en-US" sz="800" dirty="0"/>
              <a:t>半導体応用研究センター（</a:t>
            </a:r>
            <a:r>
              <a:rPr lang="en-US" altLang="ja-JP" sz="800" dirty="0"/>
              <a:t>RISA</a:t>
            </a:r>
            <a:r>
              <a:rPr lang="ja-JP" altLang="en-US" sz="800" dirty="0"/>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等</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34" name="正方形/長方形 1133">
            <a:extLst>
              <a:ext uri="{FF2B5EF4-FFF2-40B4-BE49-F238E27FC236}">
                <a16:creationId xmlns:a16="http://schemas.microsoft.com/office/drawing/2014/main" id="{31720E76-67A0-3BDC-F59F-CBA4402DDEC3}"/>
              </a:ext>
            </a:extLst>
          </p:cNvPr>
          <p:cNvSpPr/>
          <p:nvPr/>
        </p:nvSpPr>
        <p:spPr bwMode="auto">
          <a:xfrm>
            <a:off x="639445" y="3279949"/>
            <a:ext cx="2518889" cy="1554771"/>
          </a:xfrm>
          <a:prstGeom prst="rect">
            <a:avLst/>
          </a:prstGeom>
          <a:noFill/>
          <a:ln w="9525">
            <a:noFill/>
            <a:miter lim="800000"/>
            <a:headEnd/>
            <a:tailEnd/>
          </a:ln>
          <a:effectLst/>
        </p:spPr>
        <p:txBody>
          <a:bodyPr wrap="none" lIns="36000" tIns="144000" rIns="36000" bIns="36000" rtlCol="0" anchor="t" anchorCtr="0"/>
          <a:lstStyle/>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大阪大学レーザー科学研究所</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京都大学物質細胞統合システム拠点</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rPr>
              <a:t>京都大学エネルギー理工学研究所</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神戸大学水素・未来エネルギー技術研究センター</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rPr>
              <a:t>大阪公立大学スマートエネルギー研究所</a:t>
            </a:r>
            <a:endParaRPr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zh-TW" altLang="en-US" sz="800" dirty="0"/>
              <a:t>大阪公立</a:t>
            </a:r>
            <a:r>
              <a:rPr lang="ja-JP" altLang="en-US" sz="800" dirty="0"/>
              <a:t>大学</a:t>
            </a:r>
            <a:r>
              <a:rPr lang="zh-TW" altLang="en-US" sz="800" dirty="0"/>
              <a:t>全個体電池研究所</a:t>
            </a:r>
            <a:r>
              <a:rPr lang="ja-JP" altLang="en-US" sz="8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rPr>
              <a:t>水素エネルギー共同研究センター</a:t>
            </a:r>
            <a:endParaRPr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latin typeface="Meiryo UI" panose="020B0604030504040204" pitchFamily="50" charset="-128"/>
                <a:ea typeface="Meiryo UI" panose="020B0604030504040204" pitchFamily="50" charset="-128"/>
              </a:rPr>
              <a:t>技術研究組合リチウムイオン電池材料評価研究センター</a:t>
            </a:r>
            <a:endParaRPr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zh-TW" altLang="en-US" sz="800" dirty="0"/>
              <a:t>地球環境産業技術研究機構</a:t>
            </a:r>
            <a:r>
              <a:rPr lang="ja-JP" altLang="en-US" sz="800" dirty="0"/>
              <a:t>　</a:t>
            </a:r>
            <a:r>
              <a:rPr lang="ja-JP" altLang="en-US" sz="800" dirty="0">
                <a:latin typeface="Meiryo UI" panose="020B0604030504040204" pitchFamily="50" charset="-128"/>
                <a:ea typeface="Meiryo UI" panose="020B0604030504040204" pitchFamily="50" charset="-128"/>
              </a:rPr>
              <a:t>等</a:t>
            </a:r>
            <a:endParaRPr kumimoji="0" lang="ja-JP" altLang="en-US" sz="800" dirty="0">
              <a:latin typeface="Meiryo UI" panose="020B0604030504040204" pitchFamily="50" charset="-128"/>
              <a:ea typeface="Meiryo UI" panose="020B0604030504040204" pitchFamily="50" charset="-128"/>
            </a:endParaRPr>
          </a:p>
        </p:txBody>
      </p:sp>
      <p:sp>
        <p:nvSpPr>
          <p:cNvPr id="1135" name="正方形/長方形 1134">
            <a:extLst>
              <a:ext uri="{FF2B5EF4-FFF2-40B4-BE49-F238E27FC236}">
                <a16:creationId xmlns:a16="http://schemas.microsoft.com/office/drawing/2014/main" id="{918D4E6A-7116-3A93-2520-CE94A0C58C72}"/>
              </a:ext>
            </a:extLst>
          </p:cNvPr>
          <p:cNvSpPr/>
          <p:nvPr/>
        </p:nvSpPr>
        <p:spPr bwMode="auto">
          <a:xfrm>
            <a:off x="639445" y="5199669"/>
            <a:ext cx="2518889" cy="1554771"/>
          </a:xfrm>
          <a:prstGeom prst="rect">
            <a:avLst/>
          </a:prstGeom>
          <a:noFill/>
          <a:ln w="9525">
            <a:noFill/>
            <a:miter lim="800000"/>
            <a:headEnd/>
            <a:tailEnd/>
          </a:ln>
          <a:effectLst/>
        </p:spPr>
        <p:txBody>
          <a:bodyPr wrap="none" lIns="36000" tIns="144000" rIns="36000" bIns="36000" rtlCol="0" anchor="t" anchorCtr="0"/>
          <a:lstStyle/>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惑星科学研究センター（</a:t>
            </a:r>
            <a:r>
              <a:rPr kumimoji="0" lang="en-US" altLang="ja-JP" sz="800" dirty="0">
                <a:latin typeface="Meiryo UI" panose="020B0604030504040204" pitchFamily="50" charset="-128"/>
                <a:ea typeface="Meiryo UI" panose="020B0604030504040204" pitchFamily="50" charset="-128"/>
              </a:rPr>
              <a:t>CPS</a:t>
            </a:r>
            <a:r>
              <a:rPr kumimoji="0" lang="ja-JP" altLang="en-US" sz="800" dirty="0">
                <a:latin typeface="Meiryo UI" panose="020B0604030504040204" pitchFamily="50" charset="-128"/>
                <a:ea typeface="Meiryo UI" panose="020B0604030504040204" pitchFamily="50" charset="-128"/>
              </a:rPr>
              <a:t>）</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京都大学宇宙学際研究グループ</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京都大学生存圏研究所</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大阪公立大学航空宇宙工学科</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計算科学研究センター</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R-CCS</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立命館大学 宇宙地球探査研究センター （</a:t>
            </a:r>
            <a:r>
              <a:rPr kumimoji="0" lang="en-US" altLang="ja-JP" sz="800" dirty="0">
                <a:latin typeface="Meiryo UI" panose="020B0604030504040204" pitchFamily="50" charset="-128"/>
                <a:ea typeface="Meiryo UI" panose="020B0604030504040204" pitchFamily="50" charset="-128"/>
              </a:rPr>
              <a:t>ESEC</a:t>
            </a:r>
            <a:r>
              <a:rPr kumimoji="0" lang="ja-JP" altLang="en-US" sz="800" dirty="0">
                <a:latin typeface="Meiryo UI" panose="020B0604030504040204" pitchFamily="50" charset="-128"/>
                <a:ea typeface="Meiryo UI" panose="020B0604030504040204" pitchFamily="50" charset="-128"/>
              </a:rPr>
              <a:t>）等</a:t>
            </a:r>
            <a:endParaRPr kumimoji="0" lang="en-US" altLang="ja-JP" sz="800" dirty="0">
              <a:latin typeface="Meiryo UI" panose="020B0604030504040204" pitchFamily="50" charset="-128"/>
              <a:ea typeface="Meiryo UI" panose="020B0604030504040204" pitchFamily="50" charset="-128"/>
            </a:endParaRPr>
          </a:p>
        </p:txBody>
      </p:sp>
      <p:sp>
        <p:nvSpPr>
          <p:cNvPr id="24" name="タイトル 1">
            <a:extLst>
              <a:ext uri="{FF2B5EF4-FFF2-40B4-BE49-F238E27FC236}">
                <a16:creationId xmlns:a16="http://schemas.microsoft.com/office/drawing/2014/main" id="{E0540248-01A2-18CC-6353-4277D3AAC00A}"/>
              </a:ext>
            </a:extLst>
          </p:cNvPr>
          <p:cNvSpPr txBox="1">
            <a:spLocks/>
          </p:cNvSpPr>
          <p:nvPr/>
        </p:nvSpPr>
        <p:spPr>
          <a:xfrm>
            <a:off x="181744" y="160143"/>
            <a:ext cx="9505503" cy="307777"/>
          </a:xfrm>
          <a:prstGeom prst="rect">
            <a:avLst/>
          </a:prstGeom>
        </p:spPr>
        <p:txBody>
          <a:bodyPr/>
          <a:lst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2. </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イベント概要・</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オンサイトツアー（ディープテックの強み））</a:t>
            </a:r>
          </a:p>
        </p:txBody>
      </p:sp>
      <p:sp>
        <p:nvSpPr>
          <p:cNvPr id="39" name="スライド番号プレースホルダー 2">
            <a:extLst>
              <a:ext uri="{FF2B5EF4-FFF2-40B4-BE49-F238E27FC236}">
                <a16:creationId xmlns:a16="http://schemas.microsoft.com/office/drawing/2014/main" id="{F6EB5879-F028-5455-D728-8A30528F9A60}"/>
              </a:ext>
            </a:extLst>
          </p:cNvPr>
          <p:cNvSpPr>
            <a:spLocks noGrp="1"/>
          </p:cNvSpPr>
          <p:nvPr>
            <p:ph type="sldNum" sz="quarter" idx="12"/>
          </p:nvPr>
        </p:nvSpPr>
        <p:spPr>
          <a:xfrm>
            <a:off x="7605295" y="6525345"/>
            <a:ext cx="2311400" cy="365125"/>
          </a:xfrm>
        </p:spPr>
        <p:txBody>
          <a:bodyPr/>
          <a:lstStyle/>
          <a:p>
            <a:r>
              <a:rPr kumimoji="1" lang="en-US" altLang="ja-JP" dirty="0">
                <a:latin typeface="メイリオ" panose="020B0604030504040204" pitchFamily="50" charset="-128"/>
                <a:ea typeface="メイリオ" panose="020B0604030504040204" pitchFamily="50" charset="-128"/>
                <a:cs typeface="メイリオ" panose="020B0604030504040204" pitchFamily="50" charset="-128"/>
              </a:rPr>
              <a:t>6</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 name="正方形/長方形 7">
            <a:extLst>
              <a:ext uri="{FF2B5EF4-FFF2-40B4-BE49-F238E27FC236}">
                <a16:creationId xmlns:a16="http://schemas.microsoft.com/office/drawing/2014/main" id="{F08FF0F3-F344-BC41-81EC-A9564BD37410}"/>
              </a:ext>
            </a:extLst>
          </p:cNvPr>
          <p:cNvSpPr/>
          <p:nvPr/>
        </p:nvSpPr>
        <p:spPr bwMode="auto">
          <a:xfrm>
            <a:off x="22932" y="560223"/>
            <a:ext cx="9883068" cy="504694"/>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イベントのメインとする「うめきた」のみならず、「関西一円」を舞台に、</a:t>
            </a:r>
            <a:r>
              <a:rPr kumimoji="0" lang="en-US" altLang="ja-JP" sz="1200" b="1" dirty="0">
                <a:latin typeface="Meiryo UI" panose="020B0604030504040204" pitchFamily="50" charset="-128"/>
                <a:ea typeface="Meiryo UI" panose="020B0604030504040204" pitchFamily="50" charset="-128"/>
              </a:rPr>
              <a:t>GSE2026</a:t>
            </a:r>
            <a:r>
              <a:rPr kumimoji="0" lang="ja-JP" altLang="en-US" sz="1200" b="1" dirty="0">
                <a:latin typeface="Meiryo UI" panose="020B0604030504040204" pitchFamily="50" charset="-128"/>
                <a:ea typeface="Meiryo UI" panose="020B0604030504040204" pitchFamily="50" charset="-128"/>
              </a:rPr>
              <a:t>を成功に導きます！　</a:t>
            </a:r>
          </a:p>
        </p:txBody>
      </p:sp>
      <p:sp>
        <p:nvSpPr>
          <p:cNvPr id="20" name="Freeform 7">
            <a:extLst>
              <a:ext uri="{FF2B5EF4-FFF2-40B4-BE49-F238E27FC236}">
                <a16:creationId xmlns:a16="http://schemas.microsoft.com/office/drawing/2014/main" id="{F83CFB55-F1D4-0ACA-27A4-AF53B1709CC6}"/>
              </a:ext>
            </a:extLst>
          </p:cNvPr>
          <p:cNvSpPr>
            <a:spLocks noChangeAspect="1"/>
          </p:cNvSpPr>
          <p:nvPr/>
        </p:nvSpPr>
        <p:spPr bwMode="gray">
          <a:xfrm>
            <a:off x="7196191" y="1084745"/>
            <a:ext cx="22931" cy="19925"/>
          </a:xfrm>
          <a:custGeom>
            <a:avLst/>
            <a:gdLst/>
            <a:ahLst/>
            <a:cxnLst>
              <a:cxn ang="0">
                <a:pos x="18" y="15"/>
              </a:cxn>
              <a:cxn ang="0">
                <a:pos x="8" y="19"/>
              </a:cxn>
              <a:cxn ang="0">
                <a:pos x="0" y="11"/>
              </a:cxn>
              <a:cxn ang="0">
                <a:pos x="8" y="0"/>
              </a:cxn>
              <a:cxn ang="0">
                <a:pos x="18" y="5"/>
              </a:cxn>
              <a:cxn ang="0">
                <a:pos x="18" y="15"/>
              </a:cxn>
            </a:cxnLst>
            <a:rect l="0" t="0" r="r" b="b"/>
            <a:pathLst>
              <a:path w="18" h="19">
                <a:moveTo>
                  <a:pt x="18" y="15"/>
                </a:moveTo>
                <a:lnTo>
                  <a:pt x="8" y="19"/>
                </a:lnTo>
                <a:lnTo>
                  <a:pt x="0" y="11"/>
                </a:lnTo>
                <a:lnTo>
                  <a:pt x="8" y="0"/>
                </a:lnTo>
                <a:lnTo>
                  <a:pt x="18" y="5"/>
                </a:lnTo>
                <a:lnTo>
                  <a:pt x="18" y="15"/>
                </a:lnTo>
                <a:close/>
              </a:path>
            </a:pathLst>
          </a:custGeom>
          <a:solidFill>
            <a:srgbClr val="00B0F0"/>
          </a:solidFill>
          <a:ln w="3175" cap="flat" cmpd="sng">
            <a:solidFill>
              <a:schemeClr val="bg1"/>
            </a:solidFill>
            <a:prstDash val="solid"/>
            <a:round/>
            <a:headEnd type="none" w="med" len="med"/>
            <a:tailEnd type="none" w="med" len="med"/>
          </a:ln>
          <a:effectLst/>
        </p:spPr>
        <p:txBody>
          <a:bodyPr wrap="none" lIns="0" tIns="0" rIns="0" bIns="0" anchor="ctr" anchorCtr="0"/>
          <a:lstStyle/>
          <a:p>
            <a:pPr algn="ctr"/>
            <a:endParaRPr lang="ja-JP" altLang="en-US" sz="1200" b="1">
              <a:latin typeface="+mn-ea"/>
              <a:cs typeface="+mn-cs"/>
              <a:sym typeface="+mn-lt"/>
            </a:endParaRPr>
          </a:p>
        </p:txBody>
      </p:sp>
      <p:sp>
        <p:nvSpPr>
          <p:cNvPr id="1126" name="四角形: 角を丸くする 1125">
            <a:extLst>
              <a:ext uri="{FF2B5EF4-FFF2-40B4-BE49-F238E27FC236}">
                <a16:creationId xmlns:a16="http://schemas.microsoft.com/office/drawing/2014/main" id="{FAD49ACE-2B4F-FD71-7905-BDC31001414F}"/>
              </a:ext>
            </a:extLst>
          </p:cNvPr>
          <p:cNvSpPr/>
          <p:nvPr/>
        </p:nvSpPr>
        <p:spPr bwMode="auto">
          <a:xfrm>
            <a:off x="7161671" y="1106479"/>
            <a:ext cx="1801378" cy="180000"/>
          </a:xfrm>
          <a:prstGeom prst="roundRect">
            <a:avLst>
              <a:gd name="adj" fmla="val 50000"/>
            </a:avLst>
          </a:prstGeom>
          <a:solidFill>
            <a:schemeClr val="accent5">
              <a:lumMod val="40000"/>
              <a:lumOff val="60000"/>
            </a:schemeClr>
          </a:solidFill>
          <a:ln w="19050">
            <a:solidFill>
              <a:schemeClr val="bg1"/>
            </a:solidFill>
          </a:ln>
        </p:spPr>
        <p:txBody>
          <a:bodyPr wrap="none" lIns="0" tIns="0" rIns="0" bIns="0" rtlCol="0" anchor="ctr" anchorCtr="1">
            <a:noAutofit/>
          </a:bodyPr>
          <a:lstStyle/>
          <a:p>
            <a:pPr algn="ctr"/>
            <a:r>
              <a:rPr lang="en-US" altLang="ja-JP" sz="1050" b="1">
                <a:latin typeface="+mn-ea"/>
              </a:rPr>
              <a:t>AI</a:t>
            </a:r>
            <a:r>
              <a:rPr lang="ja-JP" altLang="en-US" sz="1050" b="1">
                <a:latin typeface="+mn-ea"/>
              </a:rPr>
              <a:t>・先端ロボット</a:t>
            </a:r>
          </a:p>
        </p:txBody>
      </p:sp>
      <p:sp>
        <p:nvSpPr>
          <p:cNvPr id="1127" name="四角形: 角を丸くする 1126">
            <a:extLst>
              <a:ext uri="{FF2B5EF4-FFF2-40B4-BE49-F238E27FC236}">
                <a16:creationId xmlns:a16="http://schemas.microsoft.com/office/drawing/2014/main" id="{E7DE5659-D772-8B1B-AC86-66D24474FD9C}"/>
              </a:ext>
            </a:extLst>
          </p:cNvPr>
          <p:cNvSpPr/>
          <p:nvPr/>
        </p:nvSpPr>
        <p:spPr bwMode="auto">
          <a:xfrm>
            <a:off x="982020" y="3204252"/>
            <a:ext cx="1801378" cy="180000"/>
          </a:xfrm>
          <a:prstGeom prst="roundRect">
            <a:avLst>
              <a:gd name="adj" fmla="val 50000"/>
            </a:avLst>
          </a:prstGeom>
          <a:solidFill>
            <a:schemeClr val="accent5">
              <a:lumMod val="40000"/>
              <a:lumOff val="60000"/>
            </a:schemeClr>
          </a:solidFill>
          <a:ln w="19050">
            <a:solidFill>
              <a:schemeClr val="bg1"/>
            </a:solidFill>
          </a:ln>
        </p:spPr>
        <p:txBody>
          <a:bodyPr wrap="none" lIns="0" tIns="0" rIns="0" bIns="0" rtlCol="0" anchor="ctr" anchorCtr="1">
            <a:noAutofit/>
          </a:bodyPr>
          <a:lstStyle/>
          <a:p>
            <a:pPr algn="ctr"/>
            <a:r>
              <a:rPr lang="ja-JP" altLang="en-US" sz="1050" b="1">
                <a:latin typeface="+mn-ea"/>
              </a:rPr>
              <a:t>フュージョン・グリーン</a:t>
            </a:r>
          </a:p>
        </p:txBody>
      </p:sp>
      <p:sp>
        <p:nvSpPr>
          <p:cNvPr id="1128" name="四角形: 角を丸くする 1127">
            <a:extLst>
              <a:ext uri="{FF2B5EF4-FFF2-40B4-BE49-F238E27FC236}">
                <a16:creationId xmlns:a16="http://schemas.microsoft.com/office/drawing/2014/main" id="{69FBA51E-7D5B-DEF1-CF84-153B94AC1A3C}"/>
              </a:ext>
            </a:extLst>
          </p:cNvPr>
          <p:cNvSpPr/>
          <p:nvPr/>
        </p:nvSpPr>
        <p:spPr bwMode="auto">
          <a:xfrm>
            <a:off x="7161671" y="3134984"/>
            <a:ext cx="1801378" cy="180000"/>
          </a:xfrm>
          <a:prstGeom prst="roundRect">
            <a:avLst>
              <a:gd name="adj" fmla="val 50000"/>
            </a:avLst>
          </a:prstGeom>
          <a:solidFill>
            <a:schemeClr val="accent5">
              <a:lumMod val="40000"/>
              <a:lumOff val="60000"/>
            </a:schemeClr>
          </a:solidFill>
          <a:ln w="19050">
            <a:solidFill>
              <a:schemeClr val="bg1"/>
            </a:solidFill>
          </a:ln>
        </p:spPr>
        <p:txBody>
          <a:bodyPr wrap="none" lIns="0" tIns="0" rIns="0" bIns="0" rtlCol="0" anchor="ctr" anchorCtr="1">
            <a:noAutofit/>
          </a:bodyPr>
          <a:lstStyle/>
          <a:p>
            <a:pPr algn="ctr"/>
            <a:r>
              <a:rPr lang="ja-JP" altLang="en-US" sz="1050" b="1">
                <a:latin typeface="+mn-ea"/>
              </a:rPr>
              <a:t>量子</a:t>
            </a:r>
          </a:p>
        </p:txBody>
      </p:sp>
      <p:sp>
        <p:nvSpPr>
          <p:cNvPr id="1130" name="四角形: 角を丸くする 1129">
            <a:extLst>
              <a:ext uri="{FF2B5EF4-FFF2-40B4-BE49-F238E27FC236}">
                <a16:creationId xmlns:a16="http://schemas.microsoft.com/office/drawing/2014/main" id="{A8172061-1905-4586-4481-EA5492B37FB9}"/>
              </a:ext>
            </a:extLst>
          </p:cNvPr>
          <p:cNvSpPr/>
          <p:nvPr/>
        </p:nvSpPr>
        <p:spPr bwMode="auto">
          <a:xfrm>
            <a:off x="7161671" y="4906521"/>
            <a:ext cx="1801378" cy="180000"/>
          </a:xfrm>
          <a:prstGeom prst="roundRect">
            <a:avLst>
              <a:gd name="adj" fmla="val 50000"/>
            </a:avLst>
          </a:prstGeom>
          <a:solidFill>
            <a:schemeClr val="accent5">
              <a:lumMod val="40000"/>
              <a:lumOff val="60000"/>
            </a:schemeClr>
          </a:solidFill>
          <a:ln w="19050">
            <a:solidFill>
              <a:schemeClr val="bg1"/>
            </a:solidFill>
          </a:ln>
        </p:spPr>
        <p:txBody>
          <a:bodyPr wrap="none" lIns="0" tIns="0" rIns="0" bIns="0" rtlCol="0" anchor="ctr" anchorCtr="1">
            <a:noAutofit/>
          </a:bodyPr>
          <a:lstStyle/>
          <a:p>
            <a:pPr algn="ctr"/>
            <a:r>
              <a:rPr lang="ja-JP" altLang="en-US" sz="1050" b="1">
                <a:latin typeface="+mn-ea"/>
              </a:rPr>
              <a:t>半導体・通信</a:t>
            </a:r>
          </a:p>
        </p:txBody>
      </p:sp>
      <p:sp>
        <p:nvSpPr>
          <p:cNvPr id="1131" name="四角形: 角を丸くする 1130">
            <a:extLst>
              <a:ext uri="{FF2B5EF4-FFF2-40B4-BE49-F238E27FC236}">
                <a16:creationId xmlns:a16="http://schemas.microsoft.com/office/drawing/2014/main" id="{1EA96FDE-8AAE-9C19-C69A-9936152E54FD}"/>
              </a:ext>
            </a:extLst>
          </p:cNvPr>
          <p:cNvSpPr/>
          <p:nvPr/>
        </p:nvSpPr>
        <p:spPr bwMode="auto">
          <a:xfrm>
            <a:off x="955715" y="5141199"/>
            <a:ext cx="1801378" cy="180000"/>
          </a:xfrm>
          <a:prstGeom prst="roundRect">
            <a:avLst>
              <a:gd name="adj" fmla="val 50000"/>
            </a:avLst>
          </a:prstGeom>
          <a:solidFill>
            <a:schemeClr val="accent5">
              <a:lumMod val="40000"/>
              <a:lumOff val="60000"/>
            </a:schemeClr>
          </a:solidFill>
          <a:ln w="19050">
            <a:solidFill>
              <a:schemeClr val="bg1"/>
            </a:solidFill>
          </a:ln>
        </p:spPr>
        <p:txBody>
          <a:bodyPr wrap="none" lIns="0" tIns="0" rIns="0" bIns="0" rtlCol="0" anchor="ctr" anchorCtr="1">
            <a:noAutofit/>
          </a:bodyPr>
          <a:lstStyle/>
          <a:p>
            <a:pPr algn="ctr"/>
            <a:r>
              <a:rPr lang="ja-JP" altLang="en-US" sz="1050" b="1">
                <a:latin typeface="+mn-ea"/>
              </a:rPr>
              <a:t>宇宙</a:t>
            </a:r>
          </a:p>
        </p:txBody>
      </p:sp>
      <p:sp>
        <p:nvSpPr>
          <p:cNvPr id="1132" name="テキスト ボックス 1131">
            <a:extLst>
              <a:ext uri="{FF2B5EF4-FFF2-40B4-BE49-F238E27FC236}">
                <a16:creationId xmlns:a16="http://schemas.microsoft.com/office/drawing/2014/main" id="{C21FDFAF-6D36-0CE3-9D6F-D0AAB21F53B6}"/>
              </a:ext>
            </a:extLst>
          </p:cNvPr>
          <p:cNvSpPr txBox="1"/>
          <p:nvPr/>
        </p:nvSpPr>
        <p:spPr>
          <a:xfrm>
            <a:off x="955715" y="1114362"/>
            <a:ext cx="1801379" cy="180000"/>
          </a:xfrm>
          <a:prstGeom prst="roundRect">
            <a:avLst>
              <a:gd name="adj" fmla="val 50000"/>
            </a:avLst>
          </a:prstGeom>
          <a:solidFill>
            <a:schemeClr val="accent5">
              <a:lumMod val="40000"/>
              <a:lumOff val="60000"/>
            </a:schemeClr>
          </a:solidFill>
          <a:ln w="19050">
            <a:solidFill>
              <a:schemeClr val="bg1"/>
            </a:solidFill>
          </a:ln>
        </p:spPr>
        <p:txBody>
          <a:bodyPr wrap="none" lIns="0" tIns="0" rIns="0" bIns="0" rtlCol="0" anchor="ctr" anchorCtr="1">
            <a:noAutofit/>
          </a:bodyPr>
          <a:lstStyle/>
          <a:p>
            <a:pPr algn="ctr"/>
            <a:r>
              <a:rPr kumimoji="1" lang="ja-JP" altLang="en-US" sz="1050" b="1">
                <a:latin typeface="+mn-ea"/>
                <a:cs typeface="Meiryo UI" panose="020B0604030504040204" pitchFamily="50" charset="-128"/>
              </a:rPr>
              <a:t>バイオ・ヘルスケア</a:t>
            </a:r>
          </a:p>
        </p:txBody>
      </p:sp>
      <p:sp>
        <p:nvSpPr>
          <p:cNvPr id="1143" name="楕円 1142">
            <a:extLst>
              <a:ext uri="{FF2B5EF4-FFF2-40B4-BE49-F238E27FC236}">
                <a16:creationId xmlns:a16="http://schemas.microsoft.com/office/drawing/2014/main" id="{C299C622-7980-33CA-84DF-095B0976B5E6}"/>
              </a:ext>
            </a:extLst>
          </p:cNvPr>
          <p:cNvSpPr/>
          <p:nvPr/>
        </p:nvSpPr>
        <p:spPr bwMode="auto">
          <a:xfrm>
            <a:off x="5738369" y="2036838"/>
            <a:ext cx="144000" cy="144000"/>
          </a:xfrm>
          <a:prstGeom prst="ellipse">
            <a:avLst/>
          </a:prstGeom>
          <a:solidFill>
            <a:srgbClr val="FF0000"/>
          </a:solidFill>
          <a:ln w="19050">
            <a:solidFill>
              <a:schemeClr val="bg1"/>
            </a:solid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48" name="楕円 1147">
            <a:extLst>
              <a:ext uri="{FF2B5EF4-FFF2-40B4-BE49-F238E27FC236}">
                <a16:creationId xmlns:a16="http://schemas.microsoft.com/office/drawing/2014/main" id="{F53451BB-4874-E2D7-B2AE-8E3CF2D1F303}"/>
              </a:ext>
            </a:extLst>
          </p:cNvPr>
          <p:cNvSpPr/>
          <p:nvPr/>
        </p:nvSpPr>
        <p:spPr bwMode="auto">
          <a:xfrm>
            <a:off x="4838182" y="4271108"/>
            <a:ext cx="144000" cy="144000"/>
          </a:xfrm>
          <a:prstGeom prst="ellipse">
            <a:avLst/>
          </a:prstGeom>
          <a:solidFill>
            <a:srgbClr val="FF0000"/>
          </a:solidFill>
          <a:ln w="19050">
            <a:solidFill>
              <a:schemeClr val="bg1"/>
            </a:solid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98" name="楕円 1197">
            <a:extLst>
              <a:ext uri="{FF2B5EF4-FFF2-40B4-BE49-F238E27FC236}">
                <a16:creationId xmlns:a16="http://schemas.microsoft.com/office/drawing/2014/main" id="{0C99A0CB-E415-703D-2B35-1336396DA067}"/>
              </a:ext>
            </a:extLst>
          </p:cNvPr>
          <p:cNvSpPr/>
          <p:nvPr/>
        </p:nvSpPr>
        <p:spPr bwMode="auto">
          <a:xfrm>
            <a:off x="3010808" y="1680735"/>
            <a:ext cx="54255" cy="51934"/>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03" name="楕円 1202">
            <a:extLst>
              <a:ext uri="{FF2B5EF4-FFF2-40B4-BE49-F238E27FC236}">
                <a16:creationId xmlns:a16="http://schemas.microsoft.com/office/drawing/2014/main" id="{16F89127-041F-BF59-8A04-C03FCA1C72A6}"/>
              </a:ext>
            </a:extLst>
          </p:cNvPr>
          <p:cNvSpPr/>
          <p:nvPr/>
        </p:nvSpPr>
        <p:spPr bwMode="auto">
          <a:xfrm>
            <a:off x="1937825" y="1844316"/>
            <a:ext cx="54255" cy="69124"/>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10" name="楕円 1209">
            <a:extLst>
              <a:ext uri="{FF2B5EF4-FFF2-40B4-BE49-F238E27FC236}">
                <a16:creationId xmlns:a16="http://schemas.microsoft.com/office/drawing/2014/main" id="{CB5EBF9F-A6AF-44C3-225A-8582E5AC3C37}"/>
              </a:ext>
            </a:extLst>
          </p:cNvPr>
          <p:cNvSpPr/>
          <p:nvPr/>
        </p:nvSpPr>
        <p:spPr bwMode="auto">
          <a:xfrm>
            <a:off x="3097197" y="1519498"/>
            <a:ext cx="54255" cy="83640"/>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22" name="テキスト ボックス 1221">
            <a:extLst>
              <a:ext uri="{FF2B5EF4-FFF2-40B4-BE49-F238E27FC236}">
                <a16:creationId xmlns:a16="http://schemas.microsoft.com/office/drawing/2014/main" id="{1DFC2461-8651-D7EA-7680-486671A6260D}"/>
              </a:ext>
            </a:extLst>
          </p:cNvPr>
          <p:cNvSpPr txBox="1"/>
          <p:nvPr/>
        </p:nvSpPr>
        <p:spPr>
          <a:xfrm>
            <a:off x="3385374" y="1179287"/>
            <a:ext cx="3342582" cy="276999"/>
          </a:xfrm>
          <a:prstGeom prst="rect">
            <a:avLst/>
          </a:prstGeom>
          <a:noFill/>
        </p:spPr>
        <p:txBody>
          <a:bodyPr wrap="none" rtlCol="0">
            <a:spAutoFit/>
          </a:bodyPr>
          <a:lstStyle/>
          <a:p>
            <a:r>
              <a:rPr lang="ja-JP" altLang="en-US" sz="1200" b="1">
                <a:latin typeface="Meiryo UI" panose="020B0604030504040204" pitchFamily="50" charset="-128"/>
                <a:ea typeface="Meiryo UI" panose="020B0604030504040204" pitchFamily="50" charset="-128"/>
                <a:cs typeface="Meiryo UI" panose="020B0604030504040204" pitchFamily="50" charset="-128"/>
              </a:rPr>
              <a:t>関西における代表的な研究機関・施設等（一部）</a:t>
            </a:r>
            <a:endParaRPr kumimoji="1" lang="ja-JP" altLang="en-US" sz="1200" b="1">
              <a:latin typeface="Meiryo UI" panose="020B0604030504040204" pitchFamily="50" charset="-128"/>
              <a:ea typeface="Meiryo UI" panose="020B0604030504040204" pitchFamily="50" charset="-128"/>
              <a:cs typeface="Meiryo UI" panose="020B0604030504040204" pitchFamily="50" charset="-128"/>
            </a:endParaRPr>
          </a:p>
        </p:txBody>
      </p:sp>
      <p:sp>
        <p:nvSpPr>
          <p:cNvPr id="1227" name="楕円 1226">
            <a:extLst>
              <a:ext uri="{FF2B5EF4-FFF2-40B4-BE49-F238E27FC236}">
                <a16:creationId xmlns:a16="http://schemas.microsoft.com/office/drawing/2014/main" id="{225361F0-0913-609D-649F-E64AC9A18E6D}"/>
              </a:ext>
            </a:extLst>
          </p:cNvPr>
          <p:cNvSpPr/>
          <p:nvPr/>
        </p:nvSpPr>
        <p:spPr bwMode="auto">
          <a:xfrm>
            <a:off x="3543477" y="145471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29" name="楕円 1228">
            <a:extLst>
              <a:ext uri="{FF2B5EF4-FFF2-40B4-BE49-F238E27FC236}">
                <a16:creationId xmlns:a16="http://schemas.microsoft.com/office/drawing/2014/main" id="{6B47F3D0-8E9E-A5E3-E9E2-791D72ED7F59}"/>
              </a:ext>
            </a:extLst>
          </p:cNvPr>
          <p:cNvSpPr/>
          <p:nvPr/>
        </p:nvSpPr>
        <p:spPr bwMode="auto">
          <a:xfrm>
            <a:off x="1963648" y="1988294"/>
            <a:ext cx="65648" cy="83640"/>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7" name="楕円 16">
            <a:extLst>
              <a:ext uri="{FF2B5EF4-FFF2-40B4-BE49-F238E27FC236}">
                <a16:creationId xmlns:a16="http://schemas.microsoft.com/office/drawing/2014/main" id="{DF409AD5-6BAA-F790-321C-686B42AAA7D1}"/>
              </a:ext>
            </a:extLst>
          </p:cNvPr>
          <p:cNvSpPr/>
          <p:nvPr/>
        </p:nvSpPr>
        <p:spPr bwMode="auto">
          <a:xfrm>
            <a:off x="2931388" y="2163363"/>
            <a:ext cx="65648" cy="83640"/>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28" name="楕円 27">
            <a:extLst>
              <a:ext uri="{FF2B5EF4-FFF2-40B4-BE49-F238E27FC236}">
                <a16:creationId xmlns:a16="http://schemas.microsoft.com/office/drawing/2014/main" id="{A170E751-2D6C-ECBD-626F-8EAE43A1B7E2}"/>
              </a:ext>
            </a:extLst>
          </p:cNvPr>
          <p:cNvSpPr/>
          <p:nvPr/>
        </p:nvSpPr>
        <p:spPr bwMode="auto">
          <a:xfrm>
            <a:off x="3758780" y="2322995"/>
            <a:ext cx="65648" cy="83640"/>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32" name="楕円 31">
            <a:extLst>
              <a:ext uri="{FF2B5EF4-FFF2-40B4-BE49-F238E27FC236}">
                <a16:creationId xmlns:a16="http://schemas.microsoft.com/office/drawing/2014/main" id="{A01645F2-3702-725D-BFE7-7C98154F1740}"/>
              </a:ext>
            </a:extLst>
          </p:cNvPr>
          <p:cNvSpPr/>
          <p:nvPr/>
        </p:nvSpPr>
        <p:spPr bwMode="auto">
          <a:xfrm>
            <a:off x="2038558" y="2454563"/>
            <a:ext cx="65648" cy="83640"/>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33" name="正方形/長方形 1132">
            <a:extLst>
              <a:ext uri="{FF2B5EF4-FFF2-40B4-BE49-F238E27FC236}">
                <a16:creationId xmlns:a16="http://schemas.microsoft.com/office/drawing/2014/main" id="{FE065CB1-7E8A-E764-30C5-11D38D32DC97}"/>
              </a:ext>
            </a:extLst>
          </p:cNvPr>
          <p:cNvSpPr/>
          <p:nvPr/>
        </p:nvSpPr>
        <p:spPr bwMode="auto">
          <a:xfrm>
            <a:off x="639445" y="1156657"/>
            <a:ext cx="2637155" cy="1554771"/>
          </a:xfrm>
          <a:prstGeom prst="rect">
            <a:avLst/>
          </a:prstGeom>
          <a:noFill/>
          <a:ln w="9525">
            <a:noFill/>
            <a:miter lim="800000"/>
            <a:headEnd/>
            <a:tailEnd/>
          </a:ln>
          <a:effectLst/>
        </p:spPr>
        <p:txBody>
          <a:bodyPr wrap="none" lIns="36000" tIns="144000" rIns="36000" bIns="36000" rtlCol="0" anchor="t" anchorCtr="0"/>
          <a:lstStyle/>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国立循環器病センター</a:t>
            </a:r>
            <a:r>
              <a:rPr kumimoji="0" lang="en-US" altLang="ja-JP" sz="800" dirty="0">
                <a:latin typeface="Meiryo UI" panose="020B0604030504040204" pitchFamily="50" charset="-128"/>
                <a:ea typeface="Meiryo UI" panose="020B0604030504040204" pitchFamily="50" charset="-128"/>
              </a:rPr>
              <a:t>/</a:t>
            </a:r>
            <a:r>
              <a:rPr kumimoji="0" lang="ja-JP" altLang="en-US" sz="800" dirty="0">
                <a:latin typeface="Meiryo UI" panose="020B0604030504040204" pitchFamily="50" charset="-128"/>
                <a:ea typeface="Meiryo UI" panose="020B0604030504040204" pitchFamily="50" charset="-128"/>
              </a:rPr>
              <a:t>医療基盤・健康・栄養研究所</a:t>
            </a:r>
            <a:endParaRPr kumimoji="0" lang="en-US" altLang="ja-JP" sz="800" dirty="0">
              <a:latin typeface="Meiryo UI" panose="020B0604030504040204" pitchFamily="50" charset="-128"/>
              <a:ea typeface="Meiryo UI" panose="020B0604030504040204" pitchFamily="50" charset="-128"/>
            </a:endParaRP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大阪大学免疫学フロンティア研究センター</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lang="ja-JP" altLang="en-US" sz="800" dirty="0"/>
              <a:t>彩都ライフサイエンスパーク</a:t>
            </a:r>
            <a:endParaRPr kumimoji="0" lang="ja-JP" altLang="en-US" sz="800" dirty="0">
              <a:latin typeface="Meiryo UI" panose="020B0604030504040204" pitchFamily="50" charset="-128"/>
              <a:ea typeface="Meiryo UI" panose="020B0604030504040204" pitchFamily="50" charset="-128"/>
            </a:endParaRP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中之島クロス（未来医療国際拠点）</a:t>
            </a: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京都大学</a:t>
            </a:r>
            <a:r>
              <a:rPr kumimoji="0" lang="en-US" altLang="ja-JP" sz="800" dirty="0" err="1">
                <a:latin typeface="Meiryo UI" panose="020B0604030504040204" pitchFamily="50" charset="-128"/>
                <a:ea typeface="Meiryo UI" panose="020B0604030504040204" pitchFamily="50" charset="-128"/>
              </a:rPr>
              <a:t>iPS</a:t>
            </a:r>
            <a:r>
              <a:rPr kumimoji="0" lang="ja-JP" altLang="en-US" sz="800" dirty="0">
                <a:latin typeface="Meiryo UI" panose="020B0604030504040204" pitchFamily="50" charset="-128"/>
                <a:ea typeface="Meiryo UI" panose="020B0604030504040204" pitchFamily="50" charset="-128"/>
              </a:rPr>
              <a:t>細胞研究所</a:t>
            </a:r>
            <a:endParaRPr kumimoji="0" lang="en-US" altLang="ja-JP" sz="800" dirty="0">
              <a:latin typeface="Meiryo UI" panose="020B0604030504040204" pitchFamily="50" charset="-128"/>
              <a:ea typeface="Meiryo UI" panose="020B0604030504040204" pitchFamily="50" charset="-128"/>
            </a:endParaRP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京都リサーチパーク</a:t>
            </a:r>
            <a:endParaRPr kumimoji="0" lang="en-US" altLang="ja-JP" sz="800" dirty="0">
              <a:latin typeface="Meiryo UI" panose="020B0604030504040204" pitchFamily="50" charset="-128"/>
              <a:ea typeface="Meiryo UI" panose="020B0604030504040204" pitchFamily="50" charset="-128"/>
            </a:endParaRP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医薬基盤研究所　</a:t>
            </a: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神戸大学先端バイオ工学研究センター</a:t>
            </a:r>
            <a:endParaRPr kumimoji="0" lang="en-US" altLang="ja-JP" sz="800" dirty="0">
              <a:latin typeface="Meiryo UI" panose="020B0604030504040204" pitchFamily="50" charset="-128"/>
              <a:ea typeface="Meiryo UI" panose="020B0604030504040204" pitchFamily="50" charset="-128"/>
            </a:endParaRPr>
          </a:p>
          <a:p>
            <a:pPr marL="180975" indent="-180975">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神戸大学</a:t>
            </a:r>
            <a:r>
              <a:rPr lang="ja-JP" altLang="en-US" sz="800" dirty="0"/>
              <a:t>バイオものづくり共創拠点</a:t>
            </a:r>
            <a:endParaRPr kumimoji="0" lang="en-US" altLang="ja-JP" sz="800" dirty="0">
              <a:latin typeface="Meiryo UI" panose="020B0604030504040204" pitchFamily="50" charset="-128"/>
              <a:ea typeface="Meiryo UI" panose="020B0604030504040204" pitchFamily="50" charset="-128"/>
            </a:endParaRPr>
          </a:p>
          <a:p>
            <a:pPr marL="180975" indent="-180975" algn="l">
              <a:buFont typeface="Wingdings" panose="05000000000000000000" pitchFamily="2" charset="2"/>
              <a:buChar char="n"/>
              <a:tabLst>
                <a:tab pos="180975" algn="l"/>
              </a:tabLst>
            </a:pPr>
            <a:r>
              <a:rPr kumimoji="0" lang="ja-JP" altLang="en-US" sz="800" dirty="0">
                <a:latin typeface="Meiryo UI" panose="020B0604030504040204" pitchFamily="50" charset="-128"/>
                <a:ea typeface="Meiryo UI" panose="020B0604030504040204" pitchFamily="50" charset="-128"/>
              </a:rPr>
              <a:t>神戸医療産業都市　等</a:t>
            </a:r>
            <a:endParaRPr kumimoji="0" lang="en-US" altLang="ja-JP" sz="800" dirty="0">
              <a:latin typeface="Meiryo UI" panose="020B0604030504040204" pitchFamily="50" charset="-128"/>
              <a:ea typeface="Meiryo UI" panose="020B0604030504040204" pitchFamily="50" charset="-128"/>
            </a:endParaRPr>
          </a:p>
          <a:p>
            <a:pPr marL="180975" indent="-180975" algn="l">
              <a:buFont typeface="Wingdings" panose="05000000000000000000" pitchFamily="2" charset="2"/>
              <a:buChar char="n"/>
              <a:tabLst>
                <a:tab pos="180975" algn="l"/>
              </a:tabLst>
            </a:pPr>
            <a:endParaRPr kumimoji="0" lang="ja-JP" altLang="en-US" sz="800" dirty="0">
              <a:latin typeface="Meiryo UI" panose="020B0604030504040204" pitchFamily="50" charset="-128"/>
              <a:ea typeface="Meiryo UI" panose="020B0604030504040204" pitchFamily="50" charset="-128"/>
            </a:endParaRPr>
          </a:p>
        </p:txBody>
      </p:sp>
      <p:sp>
        <p:nvSpPr>
          <p:cNvPr id="45" name="楕円 44">
            <a:extLst>
              <a:ext uri="{FF2B5EF4-FFF2-40B4-BE49-F238E27FC236}">
                <a16:creationId xmlns:a16="http://schemas.microsoft.com/office/drawing/2014/main" id="{E4FF3060-C097-0340-2117-B9261BFAB4BB}"/>
              </a:ext>
            </a:extLst>
          </p:cNvPr>
          <p:cNvSpPr/>
          <p:nvPr/>
        </p:nvSpPr>
        <p:spPr bwMode="auto">
          <a:xfrm>
            <a:off x="6719679" y="510962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48" name="楕円 47">
            <a:extLst>
              <a:ext uri="{FF2B5EF4-FFF2-40B4-BE49-F238E27FC236}">
                <a16:creationId xmlns:a16="http://schemas.microsoft.com/office/drawing/2014/main" id="{5CBD2D96-CAD8-D8A5-FF96-B10ADD996808}"/>
              </a:ext>
            </a:extLst>
          </p:cNvPr>
          <p:cNvSpPr/>
          <p:nvPr/>
        </p:nvSpPr>
        <p:spPr bwMode="auto">
          <a:xfrm>
            <a:off x="2853061" y="160505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52" name="楕円 51">
            <a:extLst>
              <a:ext uri="{FF2B5EF4-FFF2-40B4-BE49-F238E27FC236}">
                <a16:creationId xmlns:a16="http://schemas.microsoft.com/office/drawing/2014/main" id="{691A722F-BBB1-5CEE-BC19-6CF232EA4908}"/>
              </a:ext>
            </a:extLst>
          </p:cNvPr>
          <p:cNvSpPr/>
          <p:nvPr/>
        </p:nvSpPr>
        <p:spPr bwMode="auto">
          <a:xfrm>
            <a:off x="2605851" y="1754700"/>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62" name="楕円 61">
            <a:extLst>
              <a:ext uri="{FF2B5EF4-FFF2-40B4-BE49-F238E27FC236}">
                <a16:creationId xmlns:a16="http://schemas.microsoft.com/office/drawing/2014/main" id="{10ABB2EE-C5BB-084E-676C-10C9FCCFD241}"/>
              </a:ext>
            </a:extLst>
          </p:cNvPr>
          <p:cNvSpPr/>
          <p:nvPr/>
        </p:nvSpPr>
        <p:spPr bwMode="auto">
          <a:xfrm>
            <a:off x="2694800" y="227083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63" name="楕円 62">
            <a:extLst>
              <a:ext uri="{FF2B5EF4-FFF2-40B4-BE49-F238E27FC236}">
                <a16:creationId xmlns:a16="http://schemas.microsoft.com/office/drawing/2014/main" id="{318E8FF5-430A-647B-24B0-44A16262B258}"/>
              </a:ext>
            </a:extLst>
          </p:cNvPr>
          <p:cNvSpPr/>
          <p:nvPr/>
        </p:nvSpPr>
        <p:spPr bwMode="auto">
          <a:xfrm>
            <a:off x="1964952" y="2409391"/>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30" name="楕円 1029">
            <a:extLst>
              <a:ext uri="{FF2B5EF4-FFF2-40B4-BE49-F238E27FC236}">
                <a16:creationId xmlns:a16="http://schemas.microsoft.com/office/drawing/2014/main" id="{96132A8E-5467-7ADC-E9BB-9F26C6D38BCF}"/>
              </a:ext>
            </a:extLst>
          </p:cNvPr>
          <p:cNvSpPr/>
          <p:nvPr/>
        </p:nvSpPr>
        <p:spPr bwMode="auto">
          <a:xfrm>
            <a:off x="5409211" y="3848503"/>
            <a:ext cx="144000" cy="144000"/>
          </a:xfrm>
          <a:prstGeom prst="ellipse">
            <a:avLst/>
          </a:prstGeom>
          <a:solidFill>
            <a:srgbClr val="FF0000"/>
          </a:solidFill>
          <a:ln w="19050">
            <a:solidFill>
              <a:schemeClr val="bg1"/>
            </a:solid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33" name="楕円 1032">
            <a:extLst>
              <a:ext uri="{FF2B5EF4-FFF2-40B4-BE49-F238E27FC236}">
                <a16:creationId xmlns:a16="http://schemas.microsoft.com/office/drawing/2014/main" id="{E568F3EF-4B7D-1DE4-136C-0762AF5F2656}"/>
              </a:ext>
            </a:extLst>
          </p:cNvPr>
          <p:cNvSpPr/>
          <p:nvPr/>
        </p:nvSpPr>
        <p:spPr bwMode="auto">
          <a:xfrm>
            <a:off x="1611955" y="209514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53" name="楕円 1052">
            <a:extLst>
              <a:ext uri="{FF2B5EF4-FFF2-40B4-BE49-F238E27FC236}">
                <a16:creationId xmlns:a16="http://schemas.microsoft.com/office/drawing/2014/main" id="{E655A50C-6D68-7A2B-64B2-F85BE7B6BA5F}"/>
              </a:ext>
            </a:extLst>
          </p:cNvPr>
          <p:cNvSpPr/>
          <p:nvPr/>
        </p:nvSpPr>
        <p:spPr bwMode="auto">
          <a:xfrm>
            <a:off x="2735515" y="3557339"/>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62" name="楕円 1061">
            <a:extLst>
              <a:ext uri="{FF2B5EF4-FFF2-40B4-BE49-F238E27FC236}">
                <a16:creationId xmlns:a16="http://schemas.microsoft.com/office/drawing/2014/main" id="{018A1E34-8D50-DB64-5BDB-A88E7240D390}"/>
              </a:ext>
            </a:extLst>
          </p:cNvPr>
          <p:cNvSpPr/>
          <p:nvPr/>
        </p:nvSpPr>
        <p:spPr bwMode="auto">
          <a:xfrm>
            <a:off x="2309658" y="339107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73" name="楕円 1072">
            <a:extLst>
              <a:ext uri="{FF2B5EF4-FFF2-40B4-BE49-F238E27FC236}">
                <a16:creationId xmlns:a16="http://schemas.microsoft.com/office/drawing/2014/main" id="{B861A144-E916-F6DF-0E85-4937271B38ED}"/>
              </a:ext>
            </a:extLst>
          </p:cNvPr>
          <p:cNvSpPr/>
          <p:nvPr/>
        </p:nvSpPr>
        <p:spPr bwMode="auto">
          <a:xfrm>
            <a:off x="3274342" y="388148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78" name="楕円 1077">
            <a:extLst>
              <a:ext uri="{FF2B5EF4-FFF2-40B4-BE49-F238E27FC236}">
                <a16:creationId xmlns:a16="http://schemas.microsoft.com/office/drawing/2014/main" id="{86C02BDB-53DB-A0CC-EEAA-6778E92F786A}"/>
              </a:ext>
            </a:extLst>
          </p:cNvPr>
          <p:cNvSpPr/>
          <p:nvPr/>
        </p:nvSpPr>
        <p:spPr bwMode="auto">
          <a:xfrm>
            <a:off x="2800264" y="407776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83" name="楕円 1082">
            <a:extLst>
              <a:ext uri="{FF2B5EF4-FFF2-40B4-BE49-F238E27FC236}">
                <a16:creationId xmlns:a16="http://schemas.microsoft.com/office/drawing/2014/main" id="{8CAD29C1-1378-3EDB-A6C3-0C5DFFE9DF4F}"/>
              </a:ext>
            </a:extLst>
          </p:cNvPr>
          <p:cNvSpPr/>
          <p:nvPr/>
        </p:nvSpPr>
        <p:spPr bwMode="auto">
          <a:xfrm>
            <a:off x="2532315" y="372318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7" name="楕円 6">
            <a:extLst>
              <a:ext uri="{FF2B5EF4-FFF2-40B4-BE49-F238E27FC236}">
                <a16:creationId xmlns:a16="http://schemas.microsoft.com/office/drawing/2014/main" id="{A124103C-D1B1-E90A-D6A8-09DB9D3DDB57}"/>
              </a:ext>
            </a:extLst>
          </p:cNvPr>
          <p:cNvSpPr/>
          <p:nvPr/>
        </p:nvSpPr>
        <p:spPr bwMode="auto">
          <a:xfrm>
            <a:off x="6561229" y="3313400"/>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 name="楕円 10">
            <a:extLst>
              <a:ext uri="{FF2B5EF4-FFF2-40B4-BE49-F238E27FC236}">
                <a16:creationId xmlns:a16="http://schemas.microsoft.com/office/drawing/2014/main" id="{3B2339B8-265B-7F26-4D4D-E620A4FACA12}"/>
              </a:ext>
            </a:extLst>
          </p:cNvPr>
          <p:cNvSpPr/>
          <p:nvPr/>
        </p:nvSpPr>
        <p:spPr bwMode="auto">
          <a:xfrm>
            <a:off x="6561229" y="348347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25" name="楕円 24">
            <a:extLst>
              <a:ext uri="{FF2B5EF4-FFF2-40B4-BE49-F238E27FC236}">
                <a16:creationId xmlns:a16="http://schemas.microsoft.com/office/drawing/2014/main" id="{79D2B97A-6CB4-AEDB-AF7B-1E8BED92094A}"/>
              </a:ext>
            </a:extLst>
          </p:cNvPr>
          <p:cNvSpPr/>
          <p:nvPr/>
        </p:nvSpPr>
        <p:spPr bwMode="auto">
          <a:xfrm>
            <a:off x="6561229" y="3664168"/>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30" name="楕円 29">
            <a:extLst>
              <a:ext uri="{FF2B5EF4-FFF2-40B4-BE49-F238E27FC236}">
                <a16:creationId xmlns:a16="http://schemas.microsoft.com/office/drawing/2014/main" id="{42905099-E442-A4A1-1C6C-1C5D6EE8B651}"/>
              </a:ext>
            </a:extLst>
          </p:cNvPr>
          <p:cNvSpPr/>
          <p:nvPr/>
        </p:nvSpPr>
        <p:spPr bwMode="auto">
          <a:xfrm>
            <a:off x="6561229" y="379602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66" name="楕円 1065">
            <a:extLst>
              <a:ext uri="{FF2B5EF4-FFF2-40B4-BE49-F238E27FC236}">
                <a16:creationId xmlns:a16="http://schemas.microsoft.com/office/drawing/2014/main" id="{9CFE6AA2-EF30-26E4-EE25-EB459E7B5062}"/>
              </a:ext>
            </a:extLst>
          </p:cNvPr>
          <p:cNvSpPr/>
          <p:nvPr/>
        </p:nvSpPr>
        <p:spPr bwMode="auto">
          <a:xfrm>
            <a:off x="2876236" y="518821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67" name="楕円 1066">
            <a:extLst>
              <a:ext uri="{FF2B5EF4-FFF2-40B4-BE49-F238E27FC236}">
                <a16:creationId xmlns:a16="http://schemas.microsoft.com/office/drawing/2014/main" id="{F5799067-41C0-F481-91E6-6B8F4968089D}"/>
              </a:ext>
            </a:extLst>
          </p:cNvPr>
          <p:cNvSpPr/>
          <p:nvPr/>
        </p:nvSpPr>
        <p:spPr bwMode="auto">
          <a:xfrm>
            <a:off x="2397669" y="5362429"/>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69" name="楕円 1068">
            <a:extLst>
              <a:ext uri="{FF2B5EF4-FFF2-40B4-BE49-F238E27FC236}">
                <a16:creationId xmlns:a16="http://schemas.microsoft.com/office/drawing/2014/main" id="{08E02338-5FD8-1F35-60B9-BB4CBA836442}"/>
              </a:ext>
            </a:extLst>
          </p:cNvPr>
          <p:cNvSpPr/>
          <p:nvPr/>
        </p:nvSpPr>
        <p:spPr bwMode="auto">
          <a:xfrm>
            <a:off x="2072928" y="5532911"/>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70" name="楕円 1069">
            <a:extLst>
              <a:ext uri="{FF2B5EF4-FFF2-40B4-BE49-F238E27FC236}">
                <a16:creationId xmlns:a16="http://schemas.microsoft.com/office/drawing/2014/main" id="{B4CEC2C8-E260-0F0B-BDA8-DD9039A4C47D}"/>
              </a:ext>
            </a:extLst>
          </p:cNvPr>
          <p:cNvSpPr/>
          <p:nvPr/>
        </p:nvSpPr>
        <p:spPr bwMode="auto">
          <a:xfrm>
            <a:off x="2397669" y="5659629"/>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71" name="楕円 1070">
            <a:extLst>
              <a:ext uri="{FF2B5EF4-FFF2-40B4-BE49-F238E27FC236}">
                <a16:creationId xmlns:a16="http://schemas.microsoft.com/office/drawing/2014/main" id="{55E86AC8-BB58-3D16-EDE6-3E85F89CE3FE}"/>
              </a:ext>
            </a:extLst>
          </p:cNvPr>
          <p:cNvSpPr/>
          <p:nvPr/>
        </p:nvSpPr>
        <p:spPr bwMode="auto">
          <a:xfrm>
            <a:off x="2723536" y="5835160"/>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03" name="楕円 1102">
            <a:extLst>
              <a:ext uri="{FF2B5EF4-FFF2-40B4-BE49-F238E27FC236}">
                <a16:creationId xmlns:a16="http://schemas.microsoft.com/office/drawing/2014/main" id="{84467783-9DE0-74E0-60BA-F1554C704735}"/>
              </a:ext>
            </a:extLst>
          </p:cNvPr>
          <p:cNvSpPr/>
          <p:nvPr/>
        </p:nvSpPr>
        <p:spPr bwMode="auto">
          <a:xfrm>
            <a:off x="6719679" y="527755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04" name="楕円 1103">
            <a:extLst>
              <a:ext uri="{FF2B5EF4-FFF2-40B4-BE49-F238E27FC236}">
                <a16:creationId xmlns:a16="http://schemas.microsoft.com/office/drawing/2014/main" id="{90858FE2-800F-6F87-F8DF-8EFBC8FB70C8}"/>
              </a:ext>
            </a:extLst>
          </p:cNvPr>
          <p:cNvSpPr/>
          <p:nvPr/>
        </p:nvSpPr>
        <p:spPr bwMode="auto">
          <a:xfrm>
            <a:off x="6719679" y="5445479"/>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05" name="楕円 1104">
            <a:extLst>
              <a:ext uri="{FF2B5EF4-FFF2-40B4-BE49-F238E27FC236}">
                <a16:creationId xmlns:a16="http://schemas.microsoft.com/office/drawing/2014/main" id="{FC6CED94-8AAD-C4C7-7C7B-F82E0FF53DDD}"/>
              </a:ext>
            </a:extLst>
          </p:cNvPr>
          <p:cNvSpPr/>
          <p:nvPr/>
        </p:nvSpPr>
        <p:spPr bwMode="auto">
          <a:xfrm>
            <a:off x="6719679" y="561340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16" name="楕円 1115">
            <a:extLst>
              <a:ext uri="{FF2B5EF4-FFF2-40B4-BE49-F238E27FC236}">
                <a16:creationId xmlns:a16="http://schemas.microsoft.com/office/drawing/2014/main" id="{2AF488A5-36CC-3AB3-9954-9D404ED9DFA6}"/>
              </a:ext>
            </a:extLst>
          </p:cNvPr>
          <p:cNvSpPr/>
          <p:nvPr/>
        </p:nvSpPr>
        <p:spPr bwMode="auto">
          <a:xfrm>
            <a:off x="6719679" y="5781333"/>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061" name="テキスト ボックス 1060">
            <a:extLst>
              <a:ext uri="{FF2B5EF4-FFF2-40B4-BE49-F238E27FC236}">
                <a16:creationId xmlns:a16="http://schemas.microsoft.com/office/drawing/2014/main" id="{DB727568-73E2-1B9C-6BF5-FFA78387A114}"/>
              </a:ext>
            </a:extLst>
          </p:cNvPr>
          <p:cNvSpPr txBox="1"/>
          <p:nvPr/>
        </p:nvSpPr>
        <p:spPr>
          <a:xfrm>
            <a:off x="4369335" y="3607383"/>
            <a:ext cx="647934" cy="215444"/>
          </a:xfrm>
          <a:prstGeom prst="rect">
            <a:avLst/>
          </a:prstGeom>
          <a:noFill/>
        </p:spPr>
        <p:txBody>
          <a:bodyPr wrap="none" rtlCol="0">
            <a:spAutoFit/>
          </a:bodyPr>
          <a:lstStyle/>
          <a:p>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大阪・梅田</a:t>
            </a:r>
          </a:p>
        </p:txBody>
      </p:sp>
      <p:pic>
        <p:nvPicPr>
          <p:cNvPr id="1081" name="グラフィックス 1080" descr="マーカー 単色塗りつぶし">
            <a:extLst>
              <a:ext uri="{FF2B5EF4-FFF2-40B4-BE49-F238E27FC236}">
                <a16:creationId xmlns:a16="http://schemas.microsoft.com/office/drawing/2014/main" id="{F485EF22-75F5-1415-BBBE-8BE87117C37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72480" y="3429000"/>
            <a:ext cx="246221" cy="246221"/>
          </a:xfrm>
          <a:prstGeom prst="rect">
            <a:avLst/>
          </a:prstGeom>
        </p:spPr>
      </p:pic>
      <p:pic>
        <p:nvPicPr>
          <p:cNvPr id="1089" name="グラフィックス 1088" descr="マーカー 単色塗りつぶし">
            <a:extLst>
              <a:ext uri="{FF2B5EF4-FFF2-40B4-BE49-F238E27FC236}">
                <a16:creationId xmlns:a16="http://schemas.microsoft.com/office/drawing/2014/main" id="{CD72D97E-C686-6127-D142-581AB7506A5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09023" y="3787126"/>
            <a:ext cx="246221" cy="246221"/>
          </a:xfrm>
          <a:prstGeom prst="rect">
            <a:avLst/>
          </a:prstGeom>
        </p:spPr>
      </p:pic>
      <p:pic>
        <p:nvPicPr>
          <p:cNvPr id="1119" name="グラフィックス 1118" descr="マーカー 単色塗りつぶし">
            <a:extLst>
              <a:ext uri="{FF2B5EF4-FFF2-40B4-BE49-F238E27FC236}">
                <a16:creationId xmlns:a16="http://schemas.microsoft.com/office/drawing/2014/main" id="{9C27C875-3C72-3A29-56EC-35F97C94FF6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10763" y="3483041"/>
            <a:ext cx="246221" cy="246221"/>
          </a:xfrm>
          <a:prstGeom prst="rect">
            <a:avLst/>
          </a:prstGeom>
        </p:spPr>
      </p:pic>
      <p:pic>
        <p:nvPicPr>
          <p:cNvPr id="1138" name="グラフィックス 1137" descr="マーカー 単色塗りつぶし">
            <a:extLst>
              <a:ext uri="{FF2B5EF4-FFF2-40B4-BE49-F238E27FC236}">
                <a16:creationId xmlns:a16="http://schemas.microsoft.com/office/drawing/2014/main" id="{A9DBAE4E-E23A-FCF2-AEB0-61ED21C72F3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16127" y="3708031"/>
            <a:ext cx="246221" cy="246221"/>
          </a:xfrm>
          <a:prstGeom prst="rect">
            <a:avLst/>
          </a:prstGeom>
        </p:spPr>
      </p:pic>
      <p:sp>
        <p:nvSpPr>
          <p:cNvPr id="1059" name="ひし形 1058">
            <a:extLst>
              <a:ext uri="{FF2B5EF4-FFF2-40B4-BE49-F238E27FC236}">
                <a16:creationId xmlns:a16="http://schemas.microsoft.com/office/drawing/2014/main" id="{BB467734-30CD-A2D1-6327-59197FBC4346}"/>
              </a:ext>
            </a:extLst>
          </p:cNvPr>
          <p:cNvSpPr/>
          <p:nvPr/>
        </p:nvSpPr>
        <p:spPr bwMode="auto">
          <a:xfrm>
            <a:off x="4829883" y="3780595"/>
            <a:ext cx="102119" cy="102119"/>
          </a:xfrm>
          <a:prstGeom prst="diamond">
            <a:avLst/>
          </a:prstGeom>
          <a:solidFill>
            <a:schemeClr val="tx1"/>
          </a:solid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168" name="グラフィックス 1167" descr="マーカー 単色塗りつぶし">
            <a:extLst>
              <a:ext uri="{FF2B5EF4-FFF2-40B4-BE49-F238E27FC236}">
                <a16:creationId xmlns:a16="http://schemas.microsoft.com/office/drawing/2014/main" id="{B27DCA1B-4E46-5ECB-81FD-2E318E1297F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0060" y="2071934"/>
            <a:ext cx="246221" cy="246221"/>
          </a:xfrm>
          <a:prstGeom prst="rect">
            <a:avLst/>
          </a:prstGeom>
        </p:spPr>
      </p:pic>
      <p:sp>
        <p:nvSpPr>
          <p:cNvPr id="1171" name="楕円 1170">
            <a:extLst>
              <a:ext uri="{FF2B5EF4-FFF2-40B4-BE49-F238E27FC236}">
                <a16:creationId xmlns:a16="http://schemas.microsoft.com/office/drawing/2014/main" id="{66DE1CEB-F738-A1E1-0B75-02BCD9749C64}"/>
              </a:ext>
            </a:extLst>
          </p:cNvPr>
          <p:cNvSpPr/>
          <p:nvPr/>
        </p:nvSpPr>
        <p:spPr bwMode="auto">
          <a:xfrm>
            <a:off x="1761122" y="1930328"/>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174" name="グラフィックス 1173" descr="マーカー 単色塗りつぶし">
            <a:extLst>
              <a:ext uri="{FF2B5EF4-FFF2-40B4-BE49-F238E27FC236}">
                <a16:creationId xmlns:a16="http://schemas.microsoft.com/office/drawing/2014/main" id="{FB861E3C-543D-C189-34D3-6A4080E1251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920357" y="3144880"/>
            <a:ext cx="246221" cy="246221"/>
          </a:xfrm>
          <a:prstGeom prst="rect">
            <a:avLst/>
          </a:prstGeom>
        </p:spPr>
      </p:pic>
      <p:pic>
        <p:nvPicPr>
          <p:cNvPr id="1179" name="グラフィックス 1178" descr="マーカー 単色塗りつぶし">
            <a:extLst>
              <a:ext uri="{FF2B5EF4-FFF2-40B4-BE49-F238E27FC236}">
                <a16:creationId xmlns:a16="http://schemas.microsoft.com/office/drawing/2014/main" id="{5A1F9E4E-980A-1AA5-1507-C93A410A822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36999" y="1073959"/>
            <a:ext cx="246221" cy="246221"/>
          </a:xfrm>
          <a:prstGeom prst="rect">
            <a:avLst/>
          </a:prstGeom>
        </p:spPr>
      </p:pic>
      <p:pic>
        <p:nvPicPr>
          <p:cNvPr id="1180" name="グラフィックス 1179" descr="マーカー 単色塗りつぶし">
            <a:extLst>
              <a:ext uri="{FF2B5EF4-FFF2-40B4-BE49-F238E27FC236}">
                <a16:creationId xmlns:a16="http://schemas.microsoft.com/office/drawing/2014/main" id="{63123E20-5AD3-8839-A3C3-8CC5E388B7A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52865" y="3106778"/>
            <a:ext cx="246221" cy="246221"/>
          </a:xfrm>
          <a:prstGeom prst="rect">
            <a:avLst/>
          </a:prstGeom>
        </p:spPr>
      </p:pic>
      <p:pic>
        <p:nvPicPr>
          <p:cNvPr id="1181" name="グラフィックス 1180" descr="マーカー 単色塗りつぶし">
            <a:extLst>
              <a:ext uri="{FF2B5EF4-FFF2-40B4-BE49-F238E27FC236}">
                <a16:creationId xmlns:a16="http://schemas.microsoft.com/office/drawing/2014/main" id="{24A78567-107D-FDE0-6C19-D6B3D478C73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36326" y="3244464"/>
            <a:ext cx="246221" cy="246221"/>
          </a:xfrm>
          <a:prstGeom prst="rect">
            <a:avLst/>
          </a:prstGeom>
        </p:spPr>
      </p:pic>
      <p:sp>
        <p:nvSpPr>
          <p:cNvPr id="1182" name="楕円 1181">
            <a:extLst>
              <a:ext uri="{FF2B5EF4-FFF2-40B4-BE49-F238E27FC236}">
                <a16:creationId xmlns:a16="http://schemas.microsoft.com/office/drawing/2014/main" id="{B1401A42-06E3-6A11-8B3F-6EF324C74840}"/>
              </a:ext>
            </a:extLst>
          </p:cNvPr>
          <p:cNvSpPr/>
          <p:nvPr/>
        </p:nvSpPr>
        <p:spPr bwMode="auto">
          <a:xfrm>
            <a:off x="2337684" y="3403893"/>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199" name="グラフィックス 1198" descr="マーカー 単色塗りつぶし">
            <a:extLst>
              <a:ext uri="{FF2B5EF4-FFF2-40B4-BE49-F238E27FC236}">
                <a16:creationId xmlns:a16="http://schemas.microsoft.com/office/drawing/2014/main" id="{5981958D-3A3F-F804-F83B-6143A0DA23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00698" y="2057775"/>
            <a:ext cx="246221" cy="246221"/>
          </a:xfrm>
          <a:prstGeom prst="rect">
            <a:avLst/>
          </a:prstGeom>
        </p:spPr>
      </p:pic>
      <p:pic>
        <p:nvPicPr>
          <p:cNvPr id="1201" name="グラフィックス 1200" descr="マーカー 単色塗りつぶし">
            <a:extLst>
              <a:ext uri="{FF2B5EF4-FFF2-40B4-BE49-F238E27FC236}">
                <a16:creationId xmlns:a16="http://schemas.microsoft.com/office/drawing/2014/main" id="{0DA08C88-FD55-F264-BA01-106BA1405AB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450253" y="2055671"/>
            <a:ext cx="246221" cy="246221"/>
          </a:xfrm>
          <a:prstGeom prst="rect">
            <a:avLst/>
          </a:prstGeom>
        </p:spPr>
      </p:pic>
      <p:sp>
        <p:nvSpPr>
          <p:cNvPr id="1202" name="楕円 1201">
            <a:extLst>
              <a:ext uri="{FF2B5EF4-FFF2-40B4-BE49-F238E27FC236}">
                <a16:creationId xmlns:a16="http://schemas.microsoft.com/office/drawing/2014/main" id="{A8136C40-900B-82C2-C66D-27D5D694877C}"/>
              </a:ext>
            </a:extLst>
          </p:cNvPr>
          <p:cNvSpPr/>
          <p:nvPr/>
        </p:nvSpPr>
        <p:spPr bwMode="auto">
          <a:xfrm>
            <a:off x="2709134" y="357004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06" name="楕円 1205">
            <a:extLst>
              <a:ext uri="{FF2B5EF4-FFF2-40B4-BE49-F238E27FC236}">
                <a16:creationId xmlns:a16="http://schemas.microsoft.com/office/drawing/2014/main" id="{23BE570B-2B30-F6E6-327A-D93F3B977D3D}"/>
              </a:ext>
            </a:extLst>
          </p:cNvPr>
          <p:cNvSpPr/>
          <p:nvPr/>
        </p:nvSpPr>
        <p:spPr bwMode="auto">
          <a:xfrm>
            <a:off x="2579983" y="371327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226" name="グラフィックス 1225" descr="マーカー 単色塗りつぶし">
            <a:extLst>
              <a:ext uri="{FF2B5EF4-FFF2-40B4-BE49-F238E27FC236}">
                <a16:creationId xmlns:a16="http://schemas.microsoft.com/office/drawing/2014/main" id="{8F2AB8CD-E309-3589-96D1-D8DAD11257D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53276" y="3463383"/>
            <a:ext cx="246221" cy="246221"/>
          </a:xfrm>
          <a:prstGeom prst="rect">
            <a:avLst/>
          </a:prstGeom>
        </p:spPr>
      </p:pic>
      <p:sp>
        <p:nvSpPr>
          <p:cNvPr id="1231" name="楕円 1230">
            <a:extLst>
              <a:ext uri="{FF2B5EF4-FFF2-40B4-BE49-F238E27FC236}">
                <a16:creationId xmlns:a16="http://schemas.microsoft.com/office/drawing/2014/main" id="{0BC986E8-417D-9179-8EC8-469E30CB957F}"/>
              </a:ext>
            </a:extLst>
          </p:cNvPr>
          <p:cNvSpPr/>
          <p:nvPr/>
        </p:nvSpPr>
        <p:spPr bwMode="auto">
          <a:xfrm>
            <a:off x="3268806" y="388872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36" name="楕円 1235">
            <a:extLst>
              <a:ext uri="{FF2B5EF4-FFF2-40B4-BE49-F238E27FC236}">
                <a16:creationId xmlns:a16="http://schemas.microsoft.com/office/drawing/2014/main" id="{72D43598-D29B-FAB5-9EFC-34110638A510}"/>
              </a:ext>
            </a:extLst>
          </p:cNvPr>
          <p:cNvSpPr/>
          <p:nvPr/>
        </p:nvSpPr>
        <p:spPr bwMode="auto">
          <a:xfrm>
            <a:off x="3041288" y="4017826"/>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261" name="グラフィックス 1260" descr="マーカー 単色塗りつぶし">
            <a:extLst>
              <a:ext uri="{FF2B5EF4-FFF2-40B4-BE49-F238E27FC236}">
                <a16:creationId xmlns:a16="http://schemas.microsoft.com/office/drawing/2014/main" id="{F478359D-95FA-F062-B248-E516932C7B7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000415" y="5076401"/>
            <a:ext cx="246221" cy="246221"/>
          </a:xfrm>
          <a:prstGeom prst="rect">
            <a:avLst/>
          </a:prstGeom>
        </p:spPr>
      </p:pic>
      <p:pic>
        <p:nvPicPr>
          <p:cNvPr id="1262" name="グラフィックス 1261" descr="マーカー 単色塗りつぶし">
            <a:extLst>
              <a:ext uri="{FF2B5EF4-FFF2-40B4-BE49-F238E27FC236}">
                <a16:creationId xmlns:a16="http://schemas.microsoft.com/office/drawing/2014/main" id="{D4A50974-512B-4C37-AD63-914277436A0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0750" y="3801431"/>
            <a:ext cx="246221" cy="246221"/>
          </a:xfrm>
          <a:prstGeom prst="rect">
            <a:avLst/>
          </a:prstGeom>
        </p:spPr>
      </p:pic>
      <p:sp>
        <p:nvSpPr>
          <p:cNvPr id="1265" name="楕円 1264">
            <a:extLst>
              <a:ext uri="{FF2B5EF4-FFF2-40B4-BE49-F238E27FC236}">
                <a16:creationId xmlns:a16="http://schemas.microsoft.com/office/drawing/2014/main" id="{4561D14F-0176-E800-4CD3-44D640F3DC1B}"/>
              </a:ext>
            </a:extLst>
          </p:cNvPr>
          <p:cNvSpPr/>
          <p:nvPr/>
        </p:nvSpPr>
        <p:spPr bwMode="auto">
          <a:xfrm>
            <a:off x="2345587" y="5194900"/>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66" name="楕円 1265">
            <a:extLst>
              <a:ext uri="{FF2B5EF4-FFF2-40B4-BE49-F238E27FC236}">
                <a16:creationId xmlns:a16="http://schemas.microsoft.com/office/drawing/2014/main" id="{F7ACC1FD-2F2B-0B78-D5E0-3B2F357CD8D7}"/>
              </a:ext>
            </a:extLst>
          </p:cNvPr>
          <p:cNvSpPr/>
          <p:nvPr/>
        </p:nvSpPr>
        <p:spPr bwMode="auto">
          <a:xfrm>
            <a:off x="2421787" y="533153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67" name="楕円 1266">
            <a:extLst>
              <a:ext uri="{FF2B5EF4-FFF2-40B4-BE49-F238E27FC236}">
                <a16:creationId xmlns:a16="http://schemas.microsoft.com/office/drawing/2014/main" id="{7094510B-ABCD-3FE4-A61B-39536D9D1D7B}"/>
              </a:ext>
            </a:extLst>
          </p:cNvPr>
          <p:cNvSpPr/>
          <p:nvPr/>
        </p:nvSpPr>
        <p:spPr bwMode="auto">
          <a:xfrm>
            <a:off x="1989987" y="549028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68" name="楕円 1267">
            <a:extLst>
              <a:ext uri="{FF2B5EF4-FFF2-40B4-BE49-F238E27FC236}">
                <a16:creationId xmlns:a16="http://schemas.microsoft.com/office/drawing/2014/main" id="{11B106EF-C66A-3584-5A8C-EFA71E9AF146}"/>
              </a:ext>
            </a:extLst>
          </p:cNvPr>
          <p:cNvSpPr/>
          <p:nvPr/>
        </p:nvSpPr>
        <p:spPr bwMode="auto">
          <a:xfrm>
            <a:off x="2402737" y="566173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269" name="楕円 1268">
            <a:extLst>
              <a:ext uri="{FF2B5EF4-FFF2-40B4-BE49-F238E27FC236}">
                <a16:creationId xmlns:a16="http://schemas.microsoft.com/office/drawing/2014/main" id="{A301642C-EB5D-E0ED-7D23-56AD71DD2B1E}"/>
              </a:ext>
            </a:extLst>
          </p:cNvPr>
          <p:cNvSpPr/>
          <p:nvPr/>
        </p:nvSpPr>
        <p:spPr bwMode="auto">
          <a:xfrm>
            <a:off x="3669772" y="5982590"/>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273" name="グラフィックス 1272" descr="マーカー 単色塗りつぶし">
            <a:extLst>
              <a:ext uri="{FF2B5EF4-FFF2-40B4-BE49-F238E27FC236}">
                <a16:creationId xmlns:a16="http://schemas.microsoft.com/office/drawing/2014/main" id="{07DC3C74-D8E9-D4E6-A88C-C5CC0736845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79562" y="2058165"/>
            <a:ext cx="246221" cy="246221"/>
          </a:xfrm>
          <a:prstGeom prst="rect">
            <a:avLst/>
          </a:prstGeom>
        </p:spPr>
      </p:pic>
      <p:pic>
        <p:nvPicPr>
          <p:cNvPr id="1277" name="グラフィックス 1276" descr="マーカー 単色塗りつぶし">
            <a:extLst>
              <a:ext uri="{FF2B5EF4-FFF2-40B4-BE49-F238E27FC236}">
                <a16:creationId xmlns:a16="http://schemas.microsoft.com/office/drawing/2014/main" id="{02708650-7EE0-16C6-AC81-316A458E4A32}"/>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20039" y="2833894"/>
            <a:ext cx="246221" cy="246221"/>
          </a:xfrm>
          <a:prstGeom prst="rect">
            <a:avLst/>
          </a:prstGeom>
        </p:spPr>
      </p:pic>
      <p:pic>
        <p:nvPicPr>
          <p:cNvPr id="1283" name="グラフィックス 1282" descr="マーカー 単色塗りつぶし">
            <a:extLst>
              <a:ext uri="{FF2B5EF4-FFF2-40B4-BE49-F238E27FC236}">
                <a16:creationId xmlns:a16="http://schemas.microsoft.com/office/drawing/2014/main" id="{9CA175BE-37B9-16D3-F727-DB2F63B426A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879565" y="4306192"/>
            <a:ext cx="246221" cy="246221"/>
          </a:xfrm>
          <a:prstGeom prst="rect">
            <a:avLst/>
          </a:prstGeom>
        </p:spPr>
      </p:pic>
      <p:pic>
        <p:nvPicPr>
          <p:cNvPr id="1290" name="グラフィックス 1289" descr="マーカー 単色塗りつぶし">
            <a:extLst>
              <a:ext uri="{FF2B5EF4-FFF2-40B4-BE49-F238E27FC236}">
                <a16:creationId xmlns:a16="http://schemas.microsoft.com/office/drawing/2014/main" id="{F27989C0-31EE-AC3D-383D-96484F9613B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934436" y="3822567"/>
            <a:ext cx="246221" cy="246221"/>
          </a:xfrm>
          <a:prstGeom prst="rect">
            <a:avLst/>
          </a:prstGeom>
        </p:spPr>
      </p:pic>
      <p:sp>
        <p:nvSpPr>
          <p:cNvPr id="1291" name="楕円 1290">
            <a:extLst>
              <a:ext uri="{FF2B5EF4-FFF2-40B4-BE49-F238E27FC236}">
                <a16:creationId xmlns:a16="http://schemas.microsoft.com/office/drawing/2014/main" id="{FDECCDB4-C61E-5383-ECA4-C42F0BFF2856}"/>
              </a:ext>
            </a:extLst>
          </p:cNvPr>
          <p:cNvSpPr/>
          <p:nvPr/>
        </p:nvSpPr>
        <p:spPr bwMode="auto">
          <a:xfrm>
            <a:off x="2451470" y="5833737"/>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295" name="グラフィックス 1294" descr="マーカー 単色塗りつぶし">
            <a:extLst>
              <a:ext uri="{FF2B5EF4-FFF2-40B4-BE49-F238E27FC236}">
                <a16:creationId xmlns:a16="http://schemas.microsoft.com/office/drawing/2014/main" id="{F8323938-E75A-64E5-267D-2DCCC1211DB3}"/>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776652" y="4512777"/>
            <a:ext cx="246221" cy="246221"/>
          </a:xfrm>
          <a:prstGeom prst="rect">
            <a:avLst/>
          </a:prstGeom>
        </p:spPr>
      </p:pic>
      <p:pic>
        <p:nvPicPr>
          <p:cNvPr id="1296" name="グラフィックス 1295" descr="マーカー 単色塗りつぶし">
            <a:extLst>
              <a:ext uri="{FF2B5EF4-FFF2-40B4-BE49-F238E27FC236}">
                <a16:creationId xmlns:a16="http://schemas.microsoft.com/office/drawing/2014/main" id="{734910C4-3C24-F9E7-B28A-10AA6EF7402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575328" y="1052759"/>
            <a:ext cx="246221" cy="246221"/>
          </a:xfrm>
          <a:prstGeom prst="rect">
            <a:avLst/>
          </a:prstGeom>
        </p:spPr>
      </p:pic>
      <p:pic>
        <p:nvPicPr>
          <p:cNvPr id="1297" name="グラフィックス 1296" descr="マーカー 単色塗りつぶし">
            <a:extLst>
              <a:ext uri="{FF2B5EF4-FFF2-40B4-BE49-F238E27FC236}">
                <a16:creationId xmlns:a16="http://schemas.microsoft.com/office/drawing/2014/main" id="{1457CEA8-9912-3A2B-4EA9-9C3AFF91CF1A}"/>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51242" y="2320491"/>
            <a:ext cx="246221" cy="246221"/>
          </a:xfrm>
          <a:prstGeom prst="rect">
            <a:avLst/>
          </a:prstGeom>
        </p:spPr>
      </p:pic>
      <p:sp>
        <p:nvSpPr>
          <p:cNvPr id="1302" name="楕円 1301">
            <a:extLst>
              <a:ext uri="{FF2B5EF4-FFF2-40B4-BE49-F238E27FC236}">
                <a16:creationId xmlns:a16="http://schemas.microsoft.com/office/drawing/2014/main" id="{6DFBFC6E-CE20-F95D-CEAC-5813B71CFF20}"/>
              </a:ext>
            </a:extLst>
          </p:cNvPr>
          <p:cNvSpPr/>
          <p:nvPr/>
        </p:nvSpPr>
        <p:spPr bwMode="auto">
          <a:xfrm>
            <a:off x="6548365" y="1485253"/>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03" name="楕円 1302">
            <a:extLst>
              <a:ext uri="{FF2B5EF4-FFF2-40B4-BE49-F238E27FC236}">
                <a16:creationId xmlns:a16="http://schemas.microsoft.com/office/drawing/2014/main" id="{00626D5A-7807-983B-2C0F-A280EE3E96E1}"/>
              </a:ext>
            </a:extLst>
          </p:cNvPr>
          <p:cNvSpPr/>
          <p:nvPr/>
        </p:nvSpPr>
        <p:spPr bwMode="auto">
          <a:xfrm>
            <a:off x="6548365" y="1650694"/>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04" name="楕円 1303">
            <a:extLst>
              <a:ext uri="{FF2B5EF4-FFF2-40B4-BE49-F238E27FC236}">
                <a16:creationId xmlns:a16="http://schemas.microsoft.com/office/drawing/2014/main" id="{37993F20-44D3-1027-055D-C33F588BE012}"/>
              </a:ext>
            </a:extLst>
          </p:cNvPr>
          <p:cNvSpPr/>
          <p:nvPr/>
        </p:nvSpPr>
        <p:spPr bwMode="auto">
          <a:xfrm>
            <a:off x="6548365" y="1779103"/>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05" name="楕円 1304">
            <a:extLst>
              <a:ext uri="{FF2B5EF4-FFF2-40B4-BE49-F238E27FC236}">
                <a16:creationId xmlns:a16="http://schemas.microsoft.com/office/drawing/2014/main" id="{81F08BAD-C59F-4899-A31D-CCEFC986484F}"/>
              </a:ext>
            </a:extLst>
          </p:cNvPr>
          <p:cNvSpPr/>
          <p:nvPr/>
        </p:nvSpPr>
        <p:spPr bwMode="auto">
          <a:xfrm>
            <a:off x="6548365" y="196184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06" name="楕円 1305">
            <a:extLst>
              <a:ext uri="{FF2B5EF4-FFF2-40B4-BE49-F238E27FC236}">
                <a16:creationId xmlns:a16="http://schemas.microsoft.com/office/drawing/2014/main" id="{4677E2F0-F503-4A38-2797-B53DBA757772}"/>
              </a:ext>
            </a:extLst>
          </p:cNvPr>
          <p:cNvSpPr/>
          <p:nvPr/>
        </p:nvSpPr>
        <p:spPr bwMode="auto">
          <a:xfrm>
            <a:off x="6548365" y="214251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07" name="楕円 1306">
            <a:extLst>
              <a:ext uri="{FF2B5EF4-FFF2-40B4-BE49-F238E27FC236}">
                <a16:creationId xmlns:a16="http://schemas.microsoft.com/office/drawing/2014/main" id="{AFFE60AA-9AAD-04EE-489B-90D8A5EFE2F0}"/>
              </a:ext>
            </a:extLst>
          </p:cNvPr>
          <p:cNvSpPr/>
          <p:nvPr/>
        </p:nvSpPr>
        <p:spPr bwMode="auto">
          <a:xfrm>
            <a:off x="6548365" y="2277780"/>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09" name="楕円 1308">
            <a:extLst>
              <a:ext uri="{FF2B5EF4-FFF2-40B4-BE49-F238E27FC236}">
                <a16:creationId xmlns:a16="http://schemas.microsoft.com/office/drawing/2014/main" id="{2948601A-4DD1-1450-23D5-975C315785A6}"/>
              </a:ext>
            </a:extLst>
          </p:cNvPr>
          <p:cNvSpPr/>
          <p:nvPr/>
        </p:nvSpPr>
        <p:spPr bwMode="auto">
          <a:xfrm>
            <a:off x="6548365" y="329518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0" name="楕円 1309">
            <a:extLst>
              <a:ext uri="{FF2B5EF4-FFF2-40B4-BE49-F238E27FC236}">
                <a16:creationId xmlns:a16="http://schemas.microsoft.com/office/drawing/2014/main" id="{A2632A58-23B4-A949-B783-81181D8C2FC5}"/>
              </a:ext>
            </a:extLst>
          </p:cNvPr>
          <p:cNvSpPr/>
          <p:nvPr/>
        </p:nvSpPr>
        <p:spPr bwMode="auto">
          <a:xfrm>
            <a:off x="6548365" y="3447229"/>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1" name="楕円 1310">
            <a:extLst>
              <a:ext uri="{FF2B5EF4-FFF2-40B4-BE49-F238E27FC236}">
                <a16:creationId xmlns:a16="http://schemas.microsoft.com/office/drawing/2014/main" id="{E24E897B-4A5F-2F9A-CD39-C8A414DE8D29}"/>
              </a:ext>
            </a:extLst>
          </p:cNvPr>
          <p:cNvSpPr/>
          <p:nvPr/>
        </p:nvSpPr>
        <p:spPr bwMode="auto">
          <a:xfrm>
            <a:off x="6548365" y="3631203"/>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2" name="楕円 1311">
            <a:extLst>
              <a:ext uri="{FF2B5EF4-FFF2-40B4-BE49-F238E27FC236}">
                <a16:creationId xmlns:a16="http://schemas.microsoft.com/office/drawing/2014/main" id="{C7E033F3-144A-5869-654E-DAAFB43B33BB}"/>
              </a:ext>
            </a:extLst>
          </p:cNvPr>
          <p:cNvSpPr/>
          <p:nvPr/>
        </p:nvSpPr>
        <p:spPr bwMode="auto">
          <a:xfrm>
            <a:off x="6548365" y="379559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3" name="楕円 1312">
            <a:extLst>
              <a:ext uri="{FF2B5EF4-FFF2-40B4-BE49-F238E27FC236}">
                <a16:creationId xmlns:a16="http://schemas.microsoft.com/office/drawing/2014/main" id="{94069945-091E-7125-56AD-F201E059632B}"/>
              </a:ext>
            </a:extLst>
          </p:cNvPr>
          <p:cNvSpPr/>
          <p:nvPr/>
        </p:nvSpPr>
        <p:spPr bwMode="auto">
          <a:xfrm>
            <a:off x="6548365" y="5080859"/>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4" name="楕円 1313">
            <a:extLst>
              <a:ext uri="{FF2B5EF4-FFF2-40B4-BE49-F238E27FC236}">
                <a16:creationId xmlns:a16="http://schemas.microsoft.com/office/drawing/2014/main" id="{FDF87A29-F4A4-9C43-B41E-AF4C292B04A2}"/>
              </a:ext>
            </a:extLst>
          </p:cNvPr>
          <p:cNvSpPr/>
          <p:nvPr/>
        </p:nvSpPr>
        <p:spPr bwMode="auto">
          <a:xfrm>
            <a:off x="6548365" y="5272053"/>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5" name="楕円 1314">
            <a:extLst>
              <a:ext uri="{FF2B5EF4-FFF2-40B4-BE49-F238E27FC236}">
                <a16:creationId xmlns:a16="http://schemas.microsoft.com/office/drawing/2014/main" id="{3581DBF5-5EC0-39DB-A4D3-D4A2D69D4983}"/>
              </a:ext>
            </a:extLst>
          </p:cNvPr>
          <p:cNvSpPr/>
          <p:nvPr/>
        </p:nvSpPr>
        <p:spPr bwMode="auto">
          <a:xfrm>
            <a:off x="6548365" y="5439668"/>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6" name="楕円 1315">
            <a:extLst>
              <a:ext uri="{FF2B5EF4-FFF2-40B4-BE49-F238E27FC236}">
                <a16:creationId xmlns:a16="http://schemas.microsoft.com/office/drawing/2014/main" id="{AA528D17-13AF-E276-DB5E-45A3CCC55D8E}"/>
              </a:ext>
            </a:extLst>
          </p:cNvPr>
          <p:cNvSpPr/>
          <p:nvPr/>
        </p:nvSpPr>
        <p:spPr bwMode="auto">
          <a:xfrm>
            <a:off x="6548365" y="5580442"/>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317" name="楕円 1316">
            <a:extLst>
              <a:ext uri="{FF2B5EF4-FFF2-40B4-BE49-F238E27FC236}">
                <a16:creationId xmlns:a16="http://schemas.microsoft.com/office/drawing/2014/main" id="{BA25BA0D-A20D-67E3-A3A2-DA228DDE3204}"/>
              </a:ext>
            </a:extLst>
          </p:cNvPr>
          <p:cNvSpPr/>
          <p:nvPr/>
        </p:nvSpPr>
        <p:spPr bwMode="auto">
          <a:xfrm>
            <a:off x="6548365" y="5765315"/>
            <a:ext cx="226636" cy="216939"/>
          </a:xfrm>
          <a:prstGeom prst="ellipse">
            <a:avLst/>
          </a:prstGeom>
          <a:noFill/>
          <a:ln w="9525">
            <a:no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pic>
        <p:nvPicPr>
          <p:cNvPr id="1327" name="グラフィックス 1326" descr="マーカー 単色塗りつぶし">
            <a:extLst>
              <a:ext uri="{FF2B5EF4-FFF2-40B4-BE49-F238E27FC236}">
                <a16:creationId xmlns:a16="http://schemas.microsoft.com/office/drawing/2014/main" id="{CA2CA122-AE2D-3CD4-DC12-AA2C0731198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81370" y="3616335"/>
            <a:ext cx="246221" cy="246221"/>
          </a:xfrm>
          <a:prstGeom prst="rect">
            <a:avLst/>
          </a:prstGeom>
        </p:spPr>
      </p:pic>
      <p:pic>
        <p:nvPicPr>
          <p:cNvPr id="1338" name="グラフィックス 1337" descr="マーカー 単色塗りつぶし">
            <a:extLst>
              <a:ext uri="{FF2B5EF4-FFF2-40B4-BE49-F238E27FC236}">
                <a16:creationId xmlns:a16="http://schemas.microsoft.com/office/drawing/2014/main" id="{898CB251-00B5-B1C9-B771-B0E3A3ECDEAD}"/>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004861" y="3792260"/>
            <a:ext cx="246221" cy="246221"/>
          </a:xfrm>
          <a:prstGeom prst="rect">
            <a:avLst/>
          </a:prstGeom>
        </p:spPr>
      </p:pic>
      <p:pic>
        <p:nvPicPr>
          <p:cNvPr id="1352" name="グラフィックス 1351" descr="マーカー 単色塗りつぶし">
            <a:extLst>
              <a:ext uri="{FF2B5EF4-FFF2-40B4-BE49-F238E27FC236}">
                <a16:creationId xmlns:a16="http://schemas.microsoft.com/office/drawing/2014/main" id="{CBAFD69D-36FD-7793-A61D-9E78EA4C5650}"/>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148715" y="3096066"/>
            <a:ext cx="246221" cy="246221"/>
          </a:xfrm>
          <a:prstGeom prst="rect">
            <a:avLst/>
          </a:prstGeom>
        </p:spPr>
      </p:pic>
      <p:pic>
        <p:nvPicPr>
          <p:cNvPr id="1353" name="グラフィックス 1352" descr="マーカー 単色塗りつぶし">
            <a:extLst>
              <a:ext uri="{FF2B5EF4-FFF2-40B4-BE49-F238E27FC236}">
                <a16:creationId xmlns:a16="http://schemas.microsoft.com/office/drawing/2014/main" id="{1ED81997-3504-0375-E16E-E9996BECAF73}"/>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001200" y="3746807"/>
            <a:ext cx="246221" cy="246221"/>
          </a:xfrm>
          <a:prstGeom prst="rect">
            <a:avLst/>
          </a:prstGeom>
        </p:spPr>
      </p:pic>
      <p:pic>
        <p:nvPicPr>
          <p:cNvPr id="1354" name="グラフィックス 1353" descr="マーカー 単色塗りつぶし">
            <a:extLst>
              <a:ext uri="{FF2B5EF4-FFF2-40B4-BE49-F238E27FC236}">
                <a16:creationId xmlns:a16="http://schemas.microsoft.com/office/drawing/2014/main" id="{42189F04-ABE6-E05E-AD4C-666393359EDF}"/>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094012" y="3199506"/>
            <a:ext cx="246221" cy="246221"/>
          </a:xfrm>
          <a:prstGeom prst="rect">
            <a:avLst/>
          </a:prstGeom>
        </p:spPr>
      </p:pic>
      <p:pic>
        <p:nvPicPr>
          <p:cNvPr id="1355" name="グラフィックス 1354" descr="マーカー 単色塗りつぶし">
            <a:extLst>
              <a:ext uri="{FF2B5EF4-FFF2-40B4-BE49-F238E27FC236}">
                <a16:creationId xmlns:a16="http://schemas.microsoft.com/office/drawing/2014/main" id="{884B640E-C37E-4147-DE57-3EA2A60A0E25}"/>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565732" y="2218342"/>
            <a:ext cx="246221" cy="246221"/>
          </a:xfrm>
          <a:prstGeom prst="rect">
            <a:avLst/>
          </a:prstGeom>
        </p:spPr>
      </p:pic>
      <p:cxnSp>
        <p:nvCxnSpPr>
          <p:cNvPr id="1369" name="コネクタ: カギ線 1368">
            <a:extLst>
              <a:ext uri="{FF2B5EF4-FFF2-40B4-BE49-F238E27FC236}">
                <a16:creationId xmlns:a16="http://schemas.microsoft.com/office/drawing/2014/main" id="{E7F92A37-AB2A-BC81-0782-12CE0D0A55D1}"/>
              </a:ext>
            </a:extLst>
          </p:cNvPr>
          <p:cNvCxnSpPr>
            <a:cxnSpLocks/>
            <a:stCxn id="1358" idx="2"/>
            <a:endCxn id="1312" idx="2"/>
          </p:cNvCxnSpPr>
          <p:nvPr/>
        </p:nvCxnSpPr>
        <p:spPr>
          <a:xfrm rot="5400000" flipH="1" flipV="1">
            <a:off x="6047235" y="3438067"/>
            <a:ext cx="35131" cy="967128"/>
          </a:xfrm>
          <a:prstGeom prst="bentConnector4">
            <a:avLst>
              <a:gd name="adj1" fmla="val -650707"/>
              <a:gd name="adj2" fmla="val 56365"/>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372" name="グラフィックス 1371" descr="マーカー 単色塗りつぶし">
            <a:extLst>
              <a:ext uri="{FF2B5EF4-FFF2-40B4-BE49-F238E27FC236}">
                <a16:creationId xmlns:a16="http://schemas.microsoft.com/office/drawing/2014/main" id="{6D9315DD-9B41-B767-CE07-D7CDF144B24D}"/>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443300" y="4834720"/>
            <a:ext cx="246221" cy="246221"/>
          </a:xfrm>
          <a:prstGeom prst="rect">
            <a:avLst/>
          </a:prstGeom>
        </p:spPr>
      </p:pic>
      <p:pic>
        <p:nvPicPr>
          <p:cNvPr id="1373" name="グラフィックス 1372" descr="マーカー 単色塗りつぶし">
            <a:extLst>
              <a:ext uri="{FF2B5EF4-FFF2-40B4-BE49-F238E27FC236}">
                <a16:creationId xmlns:a16="http://schemas.microsoft.com/office/drawing/2014/main" id="{51DED356-14DF-19DC-8500-B93DA02ED5E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430100" y="2279696"/>
            <a:ext cx="246221" cy="246221"/>
          </a:xfrm>
          <a:prstGeom prst="rect">
            <a:avLst/>
          </a:prstGeom>
        </p:spPr>
      </p:pic>
      <p:pic>
        <p:nvPicPr>
          <p:cNvPr id="1374" name="グラフィックス 1373" descr="マーカー 単色塗りつぶし">
            <a:extLst>
              <a:ext uri="{FF2B5EF4-FFF2-40B4-BE49-F238E27FC236}">
                <a16:creationId xmlns:a16="http://schemas.microsoft.com/office/drawing/2014/main" id="{1CE3C560-EB17-9F1A-4DC8-2D8947079334}"/>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210741" y="3759628"/>
            <a:ext cx="246221" cy="246221"/>
          </a:xfrm>
          <a:prstGeom prst="rect">
            <a:avLst/>
          </a:prstGeom>
        </p:spPr>
      </p:pic>
      <p:pic>
        <p:nvPicPr>
          <p:cNvPr id="1375" name="グラフィックス 1374" descr="マーカー 単色塗りつぶし">
            <a:extLst>
              <a:ext uri="{FF2B5EF4-FFF2-40B4-BE49-F238E27FC236}">
                <a16:creationId xmlns:a16="http://schemas.microsoft.com/office/drawing/2014/main" id="{0A79A268-CA52-C32B-128F-765F8A6DDBC4}"/>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936542" y="3247737"/>
            <a:ext cx="246221" cy="246221"/>
          </a:xfrm>
          <a:prstGeom prst="rect">
            <a:avLst/>
          </a:prstGeom>
        </p:spPr>
      </p:pic>
      <p:pic>
        <p:nvPicPr>
          <p:cNvPr id="1376" name="グラフィックス 1375" descr="マーカー 単色塗りつぶし">
            <a:extLst>
              <a:ext uri="{FF2B5EF4-FFF2-40B4-BE49-F238E27FC236}">
                <a16:creationId xmlns:a16="http://schemas.microsoft.com/office/drawing/2014/main" id="{1A4EAC0E-1D75-6C59-E825-BEC71EC238E5}"/>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745614" y="3924812"/>
            <a:ext cx="246221" cy="246221"/>
          </a:xfrm>
          <a:prstGeom prst="rect">
            <a:avLst/>
          </a:prstGeom>
        </p:spPr>
      </p:pic>
      <p:pic>
        <p:nvPicPr>
          <p:cNvPr id="1377" name="グラフィックス 1376" descr="マーカー 単色塗りつぶし">
            <a:extLst>
              <a:ext uri="{FF2B5EF4-FFF2-40B4-BE49-F238E27FC236}">
                <a16:creationId xmlns:a16="http://schemas.microsoft.com/office/drawing/2014/main" id="{619250CB-90BA-5605-5F77-7FE911A49B4C}"/>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087678" y="3665808"/>
            <a:ext cx="246221" cy="246221"/>
          </a:xfrm>
          <a:prstGeom prst="rect">
            <a:avLst/>
          </a:prstGeom>
        </p:spPr>
      </p:pic>
      <p:pic>
        <p:nvPicPr>
          <p:cNvPr id="1378" name="グラフィックス 1377" descr="マーカー 単色塗りつぶし">
            <a:extLst>
              <a:ext uri="{FF2B5EF4-FFF2-40B4-BE49-F238E27FC236}">
                <a16:creationId xmlns:a16="http://schemas.microsoft.com/office/drawing/2014/main" id="{F3C5E7DE-CF7E-70CA-033B-1E6E03923F2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279028" y="2040589"/>
            <a:ext cx="246221" cy="246221"/>
          </a:xfrm>
          <a:prstGeom prst="rect">
            <a:avLst/>
          </a:prstGeom>
        </p:spPr>
      </p:pic>
      <p:sp>
        <p:nvSpPr>
          <p:cNvPr id="1159" name="テキスト ボックス 1158">
            <a:extLst>
              <a:ext uri="{FF2B5EF4-FFF2-40B4-BE49-F238E27FC236}">
                <a16:creationId xmlns:a16="http://schemas.microsoft.com/office/drawing/2014/main" id="{D00655C4-CF5D-A281-EB39-2C97194D1A4F}"/>
              </a:ext>
            </a:extLst>
          </p:cNvPr>
          <p:cNvSpPr txBox="1"/>
          <p:nvPr/>
        </p:nvSpPr>
        <p:spPr>
          <a:xfrm>
            <a:off x="4611770" y="4122128"/>
            <a:ext cx="864777" cy="144000"/>
          </a:xfrm>
          <a:prstGeom prst="roundRect">
            <a:avLst>
              <a:gd name="adj" fmla="val 50000"/>
            </a:avLst>
          </a:prstGeom>
          <a:solidFill>
            <a:srgbClr val="FF0000">
              <a:alpha val="43000"/>
            </a:srgbClr>
          </a:solidFill>
        </p:spPr>
        <p:txBody>
          <a:bodyPr wrap="none" rtlCol="0" anchor="ctr" anchorCtr="1">
            <a:noAutofit/>
          </a:bodyPr>
          <a:lstStyle/>
          <a:p>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大阪公立大学</a:t>
            </a:r>
            <a:endParaRPr kumimoji="1"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47" name="テキスト ボックス 1146">
            <a:extLst>
              <a:ext uri="{FF2B5EF4-FFF2-40B4-BE49-F238E27FC236}">
                <a16:creationId xmlns:a16="http://schemas.microsoft.com/office/drawing/2014/main" id="{F9B49A26-2ECF-1A18-1E0C-B6D3EF31C630}"/>
              </a:ext>
            </a:extLst>
          </p:cNvPr>
          <p:cNvSpPr txBox="1"/>
          <p:nvPr/>
        </p:nvSpPr>
        <p:spPr>
          <a:xfrm>
            <a:off x="3628120" y="3223132"/>
            <a:ext cx="717868" cy="144000"/>
          </a:xfrm>
          <a:prstGeom prst="roundRect">
            <a:avLst>
              <a:gd name="adj" fmla="val 50000"/>
            </a:avLst>
          </a:prstGeom>
          <a:solidFill>
            <a:srgbClr val="FF0000">
              <a:alpha val="43000"/>
            </a:srgbClr>
          </a:solidFill>
        </p:spPr>
        <p:txBody>
          <a:bodyPr wrap="none" rtlCol="0" anchor="ctr" anchorCtr="1">
            <a:noAutofit/>
          </a:bodyPr>
          <a:lstStyle/>
          <a:p>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神戸大学</a:t>
            </a:r>
            <a:endParaRPr kumimoji="1"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46" name="テキスト ボックス 1145">
            <a:extLst>
              <a:ext uri="{FF2B5EF4-FFF2-40B4-BE49-F238E27FC236}">
                <a16:creationId xmlns:a16="http://schemas.microsoft.com/office/drawing/2014/main" id="{D0B080B0-7698-FE7A-CBA6-82AC214598A5}"/>
              </a:ext>
            </a:extLst>
          </p:cNvPr>
          <p:cNvSpPr txBox="1"/>
          <p:nvPr/>
        </p:nvSpPr>
        <p:spPr>
          <a:xfrm>
            <a:off x="5436183" y="2190094"/>
            <a:ext cx="717868" cy="144000"/>
          </a:xfrm>
          <a:prstGeom prst="roundRect">
            <a:avLst>
              <a:gd name="adj" fmla="val 50000"/>
            </a:avLst>
          </a:prstGeom>
          <a:solidFill>
            <a:srgbClr val="FF0000">
              <a:alpha val="43000"/>
            </a:srgbClr>
          </a:solidFill>
        </p:spPr>
        <p:txBody>
          <a:bodyPr wrap="none" rtlCol="0" anchor="ctr" anchorCtr="1">
            <a:noAutofit/>
          </a:bodyPr>
          <a:lstStyle/>
          <a:p>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京都大学</a:t>
            </a:r>
            <a:endParaRPr kumimoji="1"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152" name="グラフィックス 1151" descr="マーカー 単色塗りつぶし">
            <a:extLst>
              <a:ext uri="{FF2B5EF4-FFF2-40B4-BE49-F238E27FC236}">
                <a16:creationId xmlns:a16="http://schemas.microsoft.com/office/drawing/2014/main" id="{48EDED31-AFB6-54D7-E198-5028ED2CFA4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38797" y="3801702"/>
            <a:ext cx="246221" cy="246221"/>
          </a:xfrm>
          <a:prstGeom prst="rect">
            <a:avLst/>
          </a:prstGeom>
        </p:spPr>
      </p:pic>
      <p:pic>
        <p:nvPicPr>
          <p:cNvPr id="1333" name="グラフィックス 1332" descr="マーカー 単色塗りつぶし">
            <a:extLst>
              <a:ext uri="{FF2B5EF4-FFF2-40B4-BE49-F238E27FC236}">
                <a16:creationId xmlns:a16="http://schemas.microsoft.com/office/drawing/2014/main" id="{E89FC658-797F-93FB-7297-3168E4DCB30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00092" y="3694251"/>
            <a:ext cx="246221" cy="246221"/>
          </a:xfrm>
          <a:prstGeom prst="rect">
            <a:avLst/>
          </a:prstGeom>
        </p:spPr>
      </p:pic>
      <p:sp>
        <p:nvSpPr>
          <p:cNvPr id="1144" name="楕円 1143">
            <a:extLst>
              <a:ext uri="{FF2B5EF4-FFF2-40B4-BE49-F238E27FC236}">
                <a16:creationId xmlns:a16="http://schemas.microsoft.com/office/drawing/2014/main" id="{F749B1AC-5CDE-AEAB-C6DA-F2F37ACAC4EE}"/>
              </a:ext>
            </a:extLst>
          </p:cNvPr>
          <p:cNvSpPr/>
          <p:nvPr/>
        </p:nvSpPr>
        <p:spPr bwMode="auto">
          <a:xfrm>
            <a:off x="3882927" y="3463383"/>
            <a:ext cx="144000" cy="144000"/>
          </a:xfrm>
          <a:prstGeom prst="ellipse">
            <a:avLst/>
          </a:prstGeom>
          <a:solidFill>
            <a:srgbClr val="FF0000"/>
          </a:solidFill>
          <a:ln w="19050">
            <a:solidFill>
              <a:schemeClr val="bg1"/>
            </a:solid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42" name="楕円 1141">
            <a:extLst>
              <a:ext uri="{FF2B5EF4-FFF2-40B4-BE49-F238E27FC236}">
                <a16:creationId xmlns:a16="http://schemas.microsoft.com/office/drawing/2014/main" id="{99CE536E-4779-545E-A006-BAA514ABCCD7}"/>
              </a:ext>
            </a:extLst>
          </p:cNvPr>
          <p:cNvSpPr/>
          <p:nvPr/>
        </p:nvSpPr>
        <p:spPr bwMode="auto">
          <a:xfrm>
            <a:off x="5038763" y="3535383"/>
            <a:ext cx="144000" cy="144000"/>
          </a:xfrm>
          <a:prstGeom prst="ellipse">
            <a:avLst/>
          </a:prstGeom>
          <a:solidFill>
            <a:srgbClr val="FF0000"/>
          </a:solidFill>
          <a:ln w="19050">
            <a:solidFill>
              <a:schemeClr val="bg1"/>
            </a:solid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1145" name="テキスト ボックス 1144">
            <a:extLst>
              <a:ext uri="{FF2B5EF4-FFF2-40B4-BE49-F238E27FC236}">
                <a16:creationId xmlns:a16="http://schemas.microsoft.com/office/drawing/2014/main" id="{2EF5C076-14CF-51D5-AA6A-5DBF8D0B5623}"/>
              </a:ext>
            </a:extLst>
          </p:cNvPr>
          <p:cNvSpPr txBox="1"/>
          <p:nvPr/>
        </p:nvSpPr>
        <p:spPr>
          <a:xfrm>
            <a:off x="4764128" y="3426035"/>
            <a:ext cx="798830" cy="146838"/>
          </a:xfrm>
          <a:prstGeom prst="roundRect">
            <a:avLst>
              <a:gd name="adj" fmla="val 50000"/>
            </a:avLst>
          </a:prstGeom>
          <a:solidFill>
            <a:srgbClr val="FF0000">
              <a:alpha val="43000"/>
            </a:srgbClr>
          </a:solidFill>
        </p:spPr>
        <p:txBody>
          <a:bodyPr wrap="none" rtlCol="0" anchor="ctr" anchorCtr="1">
            <a:noAutofit/>
          </a:bodyPr>
          <a:lstStyle/>
          <a:p>
            <a:r>
              <a:rPr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rPr>
              <a:t>大阪大学</a:t>
            </a:r>
            <a:endParaRPr kumimoji="1" lang="ja-JP" altLang="en-US" sz="10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235" name="グラフィックス 1234" descr="マーカー 単色塗りつぶし">
            <a:extLst>
              <a:ext uri="{FF2B5EF4-FFF2-40B4-BE49-F238E27FC236}">
                <a16:creationId xmlns:a16="http://schemas.microsoft.com/office/drawing/2014/main" id="{67833E0E-1D33-F644-9295-A245E05BBF4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708531" y="4306192"/>
            <a:ext cx="246221" cy="246221"/>
          </a:xfrm>
          <a:prstGeom prst="rect">
            <a:avLst/>
          </a:prstGeom>
        </p:spPr>
      </p:pic>
      <p:pic>
        <p:nvPicPr>
          <p:cNvPr id="1358" name="グラフィックス 1357" descr="マーカー 単色塗りつぶし">
            <a:extLst>
              <a:ext uri="{FF2B5EF4-FFF2-40B4-BE49-F238E27FC236}">
                <a16:creationId xmlns:a16="http://schemas.microsoft.com/office/drawing/2014/main" id="{A1CA1E6C-FFD9-1EDC-B3D7-69910C833DF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458126" y="3692975"/>
            <a:ext cx="246221" cy="246221"/>
          </a:xfrm>
          <a:prstGeom prst="rect">
            <a:avLst/>
          </a:prstGeom>
        </p:spPr>
      </p:pic>
      <p:pic>
        <p:nvPicPr>
          <p:cNvPr id="1318" name="グラフィックス 1317" descr="マーカー 単色塗りつぶし">
            <a:extLst>
              <a:ext uri="{FF2B5EF4-FFF2-40B4-BE49-F238E27FC236}">
                <a16:creationId xmlns:a16="http://schemas.microsoft.com/office/drawing/2014/main" id="{26B41BBE-4346-1ED8-0384-19692C858083}"/>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356249" y="3692975"/>
            <a:ext cx="246221" cy="246221"/>
          </a:xfrm>
          <a:prstGeom prst="rect">
            <a:avLst/>
          </a:prstGeom>
        </p:spPr>
      </p:pic>
      <p:pic>
        <p:nvPicPr>
          <p:cNvPr id="1323" name="グラフィックス 1322" descr="マーカー 単色塗りつぶし">
            <a:extLst>
              <a:ext uri="{FF2B5EF4-FFF2-40B4-BE49-F238E27FC236}">
                <a16:creationId xmlns:a16="http://schemas.microsoft.com/office/drawing/2014/main" id="{029FD89D-F5D6-9AB0-6E71-6B27E2D98EF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286100" y="3691759"/>
            <a:ext cx="246221" cy="246221"/>
          </a:xfrm>
          <a:prstGeom prst="rect">
            <a:avLst/>
          </a:prstGeom>
        </p:spPr>
      </p:pic>
      <p:sp>
        <p:nvSpPr>
          <p:cNvPr id="21" name="楕円 20">
            <a:extLst>
              <a:ext uri="{FF2B5EF4-FFF2-40B4-BE49-F238E27FC236}">
                <a16:creationId xmlns:a16="http://schemas.microsoft.com/office/drawing/2014/main" id="{EF8F9297-0500-8123-C192-6882A30679FD}"/>
              </a:ext>
            </a:extLst>
          </p:cNvPr>
          <p:cNvSpPr/>
          <p:nvPr/>
        </p:nvSpPr>
        <p:spPr bwMode="auto">
          <a:xfrm>
            <a:off x="6405478" y="2450283"/>
            <a:ext cx="144000" cy="144000"/>
          </a:xfrm>
          <a:prstGeom prst="ellipse">
            <a:avLst/>
          </a:prstGeom>
          <a:solidFill>
            <a:srgbClr val="FF0000"/>
          </a:solidFill>
          <a:ln w="19050">
            <a:solidFill>
              <a:schemeClr val="bg1"/>
            </a:solidFill>
            <a:miter lim="800000"/>
            <a:headEnd/>
            <a:tailEnd/>
          </a:ln>
          <a:effectLst/>
        </p:spPr>
        <p:txBody>
          <a:bodyPr wrap="none" rtlCol="0" anchor="ctr"/>
          <a:lstStyle/>
          <a:p>
            <a:pPr algn="l"/>
            <a:endParaRPr kumimoji="0" lang="ja-JP" altLang="en-US" sz="180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19E2D1C-5300-FCA5-6CE4-4FD5A1AA6D60}"/>
              </a:ext>
            </a:extLst>
          </p:cNvPr>
          <p:cNvSpPr txBox="1"/>
          <p:nvPr/>
        </p:nvSpPr>
        <p:spPr>
          <a:xfrm>
            <a:off x="5764583" y="2609796"/>
            <a:ext cx="798830" cy="146838"/>
          </a:xfrm>
          <a:prstGeom prst="roundRect">
            <a:avLst>
              <a:gd name="adj" fmla="val 50000"/>
            </a:avLst>
          </a:prstGeom>
          <a:solidFill>
            <a:srgbClr val="FF0000">
              <a:alpha val="43000"/>
            </a:srgbClr>
          </a:solidFill>
        </p:spPr>
        <p:txBody>
          <a:bodyPr wrap="none" rtlCol="0" anchor="ctr" anchorCtr="1">
            <a:noAutofit/>
          </a:bodyPr>
          <a:lstStyle/>
          <a:p>
            <a:r>
              <a:rPr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立命館大学</a:t>
            </a:r>
            <a:endParaRPr kumimoji="1" lang="ja-JP" altLang="en-US" sz="10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9" name="グラフィックス 28" descr="マーカー 単色塗りつぶし">
            <a:extLst>
              <a:ext uri="{FF2B5EF4-FFF2-40B4-BE49-F238E27FC236}">
                <a16:creationId xmlns:a16="http://schemas.microsoft.com/office/drawing/2014/main" id="{E0AF6CF9-1206-0808-CA9E-205E43A36F74}"/>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62263" y="3647587"/>
            <a:ext cx="246221" cy="246221"/>
          </a:xfrm>
          <a:prstGeom prst="rect">
            <a:avLst/>
          </a:prstGeom>
        </p:spPr>
      </p:pic>
      <p:pic>
        <p:nvPicPr>
          <p:cNvPr id="31" name="グラフィックス 30" descr="マーカー 単色塗りつぶし">
            <a:extLst>
              <a:ext uri="{FF2B5EF4-FFF2-40B4-BE49-F238E27FC236}">
                <a16:creationId xmlns:a16="http://schemas.microsoft.com/office/drawing/2014/main" id="{C81F9EA8-D0C8-C7B1-FA5D-8EB02B675319}"/>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382405" y="2298686"/>
            <a:ext cx="246221" cy="246221"/>
          </a:xfrm>
          <a:prstGeom prst="rect">
            <a:avLst/>
          </a:prstGeom>
        </p:spPr>
      </p:pic>
      <p:pic>
        <p:nvPicPr>
          <p:cNvPr id="33" name="グラフィックス 32" descr="マーカー 単色塗りつぶし">
            <a:extLst>
              <a:ext uri="{FF2B5EF4-FFF2-40B4-BE49-F238E27FC236}">
                <a16:creationId xmlns:a16="http://schemas.microsoft.com/office/drawing/2014/main" id="{62F8FBC2-BBE2-EEFF-47D6-624281C8625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09211" y="1917790"/>
            <a:ext cx="246221" cy="246221"/>
          </a:xfrm>
          <a:prstGeom prst="rect">
            <a:avLst/>
          </a:prstGeom>
        </p:spPr>
      </p:pic>
      <p:pic>
        <p:nvPicPr>
          <p:cNvPr id="34" name="グラフィックス 33" descr="マーカー 単色塗りつぶし">
            <a:extLst>
              <a:ext uri="{FF2B5EF4-FFF2-40B4-BE49-F238E27FC236}">
                <a16:creationId xmlns:a16="http://schemas.microsoft.com/office/drawing/2014/main" id="{D1DDF4DD-E9FA-1809-3191-3CEEA20B29E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548071" y="3771743"/>
            <a:ext cx="246221" cy="246221"/>
          </a:xfrm>
          <a:prstGeom prst="rect">
            <a:avLst/>
          </a:prstGeom>
        </p:spPr>
      </p:pic>
      <p:pic>
        <p:nvPicPr>
          <p:cNvPr id="35" name="グラフィックス 34" descr="マーカー 単色塗りつぶし">
            <a:extLst>
              <a:ext uri="{FF2B5EF4-FFF2-40B4-BE49-F238E27FC236}">
                <a16:creationId xmlns:a16="http://schemas.microsoft.com/office/drawing/2014/main" id="{7E2FC6FB-47F3-9737-8096-850AC1097A2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583637" y="4229235"/>
            <a:ext cx="246221" cy="246221"/>
          </a:xfrm>
          <a:prstGeom prst="rect">
            <a:avLst/>
          </a:prstGeom>
        </p:spPr>
      </p:pic>
      <p:sp>
        <p:nvSpPr>
          <p:cNvPr id="36" name="楕円 35">
            <a:extLst>
              <a:ext uri="{FF2B5EF4-FFF2-40B4-BE49-F238E27FC236}">
                <a16:creationId xmlns:a16="http://schemas.microsoft.com/office/drawing/2014/main" id="{C962371E-6FDD-1D04-6EBF-EDA81CAEE947}"/>
              </a:ext>
            </a:extLst>
          </p:cNvPr>
          <p:cNvSpPr/>
          <p:nvPr/>
        </p:nvSpPr>
        <p:spPr bwMode="auto">
          <a:xfrm>
            <a:off x="3154434" y="3102880"/>
            <a:ext cx="1360115" cy="1026679"/>
          </a:xfrm>
          <a:prstGeom prst="ellipse">
            <a:avLst/>
          </a:prstGeom>
          <a:solidFill>
            <a:srgbClr val="FF0000">
              <a:alpha val="0"/>
            </a:srgbClr>
          </a:solidFill>
          <a:ln w="9525">
            <a:solidFill>
              <a:srgbClr val="B2B2B2"/>
            </a:solidFill>
            <a:miter lim="800000"/>
            <a:headEnd/>
            <a:tailEnd/>
          </a:ln>
          <a:effectLst>
            <a:glow rad="139700">
              <a:schemeClr val="accent5">
                <a:satMod val="175000"/>
                <a:alpha val="40000"/>
              </a:schemeClr>
            </a:glow>
            <a:outerShdw dist="35921" dir="2700000" algn="ctr" rotWithShape="0">
              <a:schemeClr val="bg2"/>
            </a:outerShdw>
          </a:effectLst>
        </p:spPr>
        <p:txBody>
          <a:bodyPr wrap="none" rtlCol="0" anchor="ctr"/>
          <a:lstStyle/>
          <a:p>
            <a:endParaRPr kumimoji="0" lang="ja-JP" altLang="en-US" dirty="0">
              <a:latin typeface="Meiryo UI" panose="020B0604030504040204" pitchFamily="50" charset="-128"/>
              <a:ea typeface="Meiryo UI" panose="020B0604030504040204" pitchFamily="50" charset="-128"/>
            </a:endParaRPr>
          </a:p>
        </p:txBody>
      </p:sp>
      <p:sp>
        <p:nvSpPr>
          <p:cNvPr id="37" name="楕円 36">
            <a:extLst>
              <a:ext uri="{FF2B5EF4-FFF2-40B4-BE49-F238E27FC236}">
                <a16:creationId xmlns:a16="http://schemas.microsoft.com/office/drawing/2014/main" id="{6FF1B74F-2CFB-E86C-6724-4D921AABDF72}"/>
              </a:ext>
            </a:extLst>
          </p:cNvPr>
          <p:cNvSpPr/>
          <p:nvPr/>
        </p:nvSpPr>
        <p:spPr bwMode="auto">
          <a:xfrm rot="1247817">
            <a:off x="5221024" y="1953219"/>
            <a:ext cx="1480013" cy="918790"/>
          </a:xfrm>
          <a:prstGeom prst="ellipse">
            <a:avLst/>
          </a:prstGeom>
          <a:solidFill>
            <a:srgbClr val="FF0000">
              <a:alpha val="0"/>
            </a:srgbClr>
          </a:solidFill>
          <a:ln w="9525">
            <a:solidFill>
              <a:srgbClr val="B2B2B2"/>
            </a:solidFill>
            <a:miter lim="800000"/>
            <a:headEnd/>
            <a:tailEnd/>
          </a:ln>
          <a:effectLst>
            <a:glow rad="139700">
              <a:schemeClr val="accent5">
                <a:satMod val="175000"/>
                <a:alpha val="40000"/>
              </a:schemeClr>
            </a:glow>
            <a:outerShdw dist="35921" dir="2700000" algn="ctr" rotWithShape="0">
              <a:schemeClr val="bg2"/>
            </a:outerShdw>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2" name="楕円 41">
            <a:extLst>
              <a:ext uri="{FF2B5EF4-FFF2-40B4-BE49-F238E27FC236}">
                <a16:creationId xmlns:a16="http://schemas.microsoft.com/office/drawing/2014/main" id="{8C679857-251F-CE19-CCD5-A1D12AC757CD}"/>
              </a:ext>
            </a:extLst>
          </p:cNvPr>
          <p:cNvSpPr/>
          <p:nvPr/>
        </p:nvSpPr>
        <p:spPr bwMode="auto">
          <a:xfrm rot="5574577">
            <a:off x="4168947" y="3296836"/>
            <a:ext cx="1759739" cy="1089881"/>
          </a:xfrm>
          <a:prstGeom prst="ellipse">
            <a:avLst/>
          </a:prstGeom>
          <a:solidFill>
            <a:srgbClr val="FF0000">
              <a:alpha val="0"/>
            </a:srgbClr>
          </a:solidFill>
          <a:ln w="9525">
            <a:solidFill>
              <a:srgbClr val="B2B2B2"/>
            </a:solidFill>
            <a:miter lim="800000"/>
            <a:headEnd/>
            <a:tailEnd/>
          </a:ln>
          <a:effectLst>
            <a:glow rad="139700">
              <a:schemeClr val="accent5">
                <a:satMod val="175000"/>
                <a:alpha val="40000"/>
              </a:schemeClr>
            </a:glow>
            <a:outerShdw dist="35921" dir="2700000" algn="ctr" rotWithShape="0">
              <a:schemeClr val="bg2"/>
            </a:outerShdw>
          </a:effectLst>
        </p:spPr>
        <p:txBody>
          <a:bodyPr wrap="none" rtlCol="0" anchor="ctr"/>
          <a:lstStyle/>
          <a:p>
            <a:endParaRPr kumimoji="0" lang="ja-JP" altLang="en-US" dirty="0">
              <a:latin typeface="Meiryo UI" panose="020B0604030504040204" pitchFamily="50" charset="-128"/>
              <a:ea typeface="Meiryo UI" panose="020B0604030504040204" pitchFamily="50" charset="-128"/>
            </a:endParaRPr>
          </a:p>
        </p:txBody>
      </p:sp>
      <p:sp>
        <p:nvSpPr>
          <p:cNvPr id="1031" name="テキスト ボックス 1030">
            <a:extLst>
              <a:ext uri="{FF2B5EF4-FFF2-40B4-BE49-F238E27FC236}">
                <a16:creationId xmlns:a16="http://schemas.microsoft.com/office/drawing/2014/main" id="{90190238-624F-20F7-120C-7E1C7AA48D09}"/>
              </a:ext>
            </a:extLst>
          </p:cNvPr>
          <p:cNvSpPr txBox="1"/>
          <p:nvPr/>
        </p:nvSpPr>
        <p:spPr>
          <a:xfrm>
            <a:off x="5563981" y="3813517"/>
            <a:ext cx="1192663" cy="372353"/>
          </a:xfrm>
          <a:prstGeom prst="roundRect">
            <a:avLst>
              <a:gd name="adj" fmla="val 50000"/>
            </a:avLst>
          </a:prstGeom>
          <a:solidFill>
            <a:srgbClr val="FF0000">
              <a:alpha val="43000"/>
            </a:srgbClr>
          </a:solidFill>
        </p:spPr>
        <p:txBody>
          <a:bodyPr wrap="none" rtlCol="0" anchor="ctr" anchorCtr="1">
            <a:noAutofit/>
          </a:bodyPr>
          <a:lstStyle>
            <a:defPPr>
              <a:defRPr lang="ja-JP"/>
            </a:defPPr>
            <a:lvl1pPr>
              <a:defRPr sz="1000" b="1">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algn="ctr"/>
            <a:r>
              <a:rPr lang="zh-CN" altLang="en-US" dirty="0"/>
              <a:t>奈良先端科学技術</a:t>
            </a:r>
            <a:endParaRPr lang="en-US" altLang="zh-CN" dirty="0"/>
          </a:p>
          <a:p>
            <a:pPr algn="ctr"/>
            <a:r>
              <a:rPr lang="zh-CN" altLang="en-US" dirty="0"/>
              <a:t>大学院大学</a:t>
            </a:r>
            <a:endParaRPr lang="ja-JP" altLang="en-US" baseline="30000" dirty="0"/>
          </a:p>
        </p:txBody>
      </p:sp>
      <p:pic>
        <p:nvPicPr>
          <p:cNvPr id="14" name="グラフィックス 13" descr="マーカー 単色塗りつぶし">
            <a:extLst>
              <a:ext uri="{FF2B5EF4-FFF2-40B4-BE49-F238E27FC236}">
                <a16:creationId xmlns:a16="http://schemas.microsoft.com/office/drawing/2014/main" id="{12091B5E-1FDE-8060-2F07-9F5C222A611D}"/>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845634" y="3866840"/>
            <a:ext cx="246221" cy="246221"/>
          </a:xfrm>
          <a:prstGeom prst="rect">
            <a:avLst/>
          </a:prstGeom>
        </p:spPr>
      </p:pic>
      <p:pic>
        <p:nvPicPr>
          <p:cNvPr id="18" name="グラフィックス 17" descr="マーカー 単色塗りつぶし">
            <a:extLst>
              <a:ext uri="{FF2B5EF4-FFF2-40B4-BE49-F238E27FC236}">
                <a16:creationId xmlns:a16="http://schemas.microsoft.com/office/drawing/2014/main" id="{CDC1F12C-4183-6394-C3F8-D200EFD240C4}"/>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337124" y="2209939"/>
            <a:ext cx="246221" cy="246221"/>
          </a:xfrm>
          <a:prstGeom prst="rect">
            <a:avLst/>
          </a:prstGeom>
        </p:spPr>
      </p:pic>
      <p:pic>
        <p:nvPicPr>
          <p:cNvPr id="27" name="グラフィックス 26" descr="マーカー 単色塗りつぶし">
            <a:extLst>
              <a:ext uri="{FF2B5EF4-FFF2-40B4-BE49-F238E27FC236}">
                <a16:creationId xmlns:a16="http://schemas.microsoft.com/office/drawing/2014/main" id="{F3F87BFC-8056-0ECC-C55D-CA467ACB88E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478841" y="3468832"/>
            <a:ext cx="246221" cy="246221"/>
          </a:xfrm>
          <a:prstGeom prst="rect">
            <a:avLst/>
          </a:prstGeom>
        </p:spPr>
      </p:pic>
      <p:pic>
        <p:nvPicPr>
          <p:cNvPr id="44" name="グラフィックス 43" descr="マーカー 単色塗りつぶし">
            <a:extLst>
              <a:ext uri="{FF2B5EF4-FFF2-40B4-BE49-F238E27FC236}">
                <a16:creationId xmlns:a16="http://schemas.microsoft.com/office/drawing/2014/main" id="{6F233960-5653-1D50-5C14-D76B9DB2E00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60441" y="4322478"/>
            <a:ext cx="246221" cy="246221"/>
          </a:xfrm>
          <a:prstGeom prst="rect">
            <a:avLst/>
          </a:prstGeom>
        </p:spPr>
      </p:pic>
      <p:pic>
        <p:nvPicPr>
          <p:cNvPr id="46" name="グラフィックス 45" descr="マーカー 単色塗りつぶし">
            <a:extLst>
              <a:ext uri="{FF2B5EF4-FFF2-40B4-BE49-F238E27FC236}">
                <a16:creationId xmlns:a16="http://schemas.microsoft.com/office/drawing/2014/main" id="{913D16A3-8F8D-C5B0-8881-B8BAE0DEB5B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65213" y="3883339"/>
            <a:ext cx="246221" cy="246221"/>
          </a:xfrm>
          <a:prstGeom prst="rect">
            <a:avLst/>
          </a:prstGeom>
        </p:spPr>
      </p:pic>
      <p:sp>
        <p:nvSpPr>
          <p:cNvPr id="49" name="テキスト ボックス 48">
            <a:extLst>
              <a:ext uri="{FF2B5EF4-FFF2-40B4-BE49-F238E27FC236}">
                <a16:creationId xmlns:a16="http://schemas.microsoft.com/office/drawing/2014/main" id="{93FF020E-57E8-00BD-0576-B8982A512BF3}"/>
              </a:ext>
            </a:extLst>
          </p:cNvPr>
          <p:cNvSpPr txBox="1"/>
          <p:nvPr/>
        </p:nvSpPr>
        <p:spPr>
          <a:xfrm>
            <a:off x="5699591" y="2727905"/>
            <a:ext cx="954977" cy="184666"/>
          </a:xfrm>
          <a:prstGeom prst="rect">
            <a:avLst/>
          </a:prstGeom>
          <a:noFill/>
        </p:spPr>
        <p:txBody>
          <a:bodyPr wrap="square">
            <a:spAutoFit/>
          </a:bodyPr>
          <a:lstStyle/>
          <a:p>
            <a:r>
              <a:rPr lang="ja-JP" altLang="en-US" sz="600" dirty="0"/>
              <a:t>（</a:t>
            </a:r>
            <a:r>
              <a:rPr lang="en-US" altLang="ja-JP" sz="600" dirty="0"/>
              <a:t>J-PEAKS</a:t>
            </a:r>
            <a:r>
              <a:rPr lang="ja-JP" altLang="en-US" sz="600" dirty="0"/>
              <a:t>認定大学）</a:t>
            </a:r>
          </a:p>
        </p:txBody>
      </p:sp>
      <p:sp>
        <p:nvSpPr>
          <p:cNvPr id="198" name="テキスト ボックス 197">
            <a:extLst>
              <a:ext uri="{FF2B5EF4-FFF2-40B4-BE49-F238E27FC236}">
                <a16:creationId xmlns:a16="http://schemas.microsoft.com/office/drawing/2014/main" id="{78DABCC1-5885-4198-A1D8-AC1978A13A81}"/>
              </a:ext>
            </a:extLst>
          </p:cNvPr>
          <p:cNvSpPr txBox="1"/>
          <p:nvPr/>
        </p:nvSpPr>
        <p:spPr>
          <a:xfrm>
            <a:off x="5736456" y="4154243"/>
            <a:ext cx="954977" cy="184666"/>
          </a:xfrm>
          <a:prstGeom prst="rect">
            <a:avLst/>
          </a:prstGeom>
          <a:noFill/>
        </p:spPr>
        <p:txBody>
          <a:bodyPr wrap="square">
            <a:spAutoFit/>
          </a:bodyPr>
          <a:lstStyle/>
          <a:p>
            <a:r>
              <a:rPr lang="ja-JP" altLang="en-US" sz="600" dirty="0"/>
              <a:t>（</a:t>
            </a:r>
            <a:r>
              <a:rPr lang="en-US" altLang="ja-JP" sz="600" dirty="0"/>
              <a:t>J-PEAKS</a:t>
            </a:r>
            <a:r>
              <a:rPr lang="ja-JP" altLang="en-US" sz="600" dirty="0"/>
              <a:t>認定大学）</a:t>
            </a:r>
          </a:p>
        </p:txBody>
      </p:sp>
      <p:sp>
        <p:nvSpPr>
          <p:cNvPr id="199" name="テキスト ボックス 198">
            <a:extLst>
              <a:ext uri="{FF2B5EF4-FFF2-40B4-BE49-F238E27FC236}">
                <a16:creationId xmlns:a16="http://schemas.microsoft.com/office/drawing/2014/main" id="{55A08820-FAC4-4113-8778-6FD831B483BB}"/>
              </a:ext>
            </a:extLst>
          </p:cNvPr>
          <p:cNvSpPr txBox="1"/>
          <p:nvPr/>
        </p:nvSpPr>
        <p:spPr>
          <a:xfrm>
            <a:off x="3533945" y="3336463"/>
            <a:ext cx="954977" cy="184666"/>
          </a:xfrm>
          <a:prstGeom prst="rect">
            <a:avLst/>
          </a:prstGeom>
          <a:noFill/>
        </p:spPr>
        <p:txBody>
          <a:bodyPr wrap="square">
            <a:spAutoFit/>
          </a:bodyPr>
          <a:lstStyle/>
          <a:p>
            <a:r>
              <a:rPr lang="ja-JP" altLang="en-US" sz="600" dirty="0"/>
              <a:t>（</a:t>
            </a:r>
            <a:r>
              <a:rPr lang="en-US" altLang="ja-JP" sz="600" dirty="0"/>
              <a:t>J-PEAKS</a:t>
            </a:r>
            <a:r>
              <a:rPr lang="ja-JP" altLang="en-US" sz="600" dirty="0"/>
              <a:t>認定大学）</a:t>
            </a:r>
          </a:p>
        </p:txBody>
      </p:sp>
      <p:sp>
        <p:nvSpPr>
          <p:cNvPr id="200" name="テキスト ボックス 199">
            <a:extLst>
              <a:ext uri="{FF2B5EF4-FFF2-40B4-BE49-F238E27FC236}">
                <a16:creationId xmlns:a16="http://schemas.microsoft.com/office/drawing/2014/main" id="{8C031977-FDC3-4F6D-810C-AD95BBE70349}"/>
              </a:ext>
            </a:extLst>
          </p:cNvPr>
          <p:cNvSpPr txBox="1"/>
          <p:nvPr/>
        </p:nvSpPr>
        <p:spPr>
          <a:xfrm>
            <a:off x="4910640" y="4246576"/>
            <a:ext cx="954977" cy="184666"/>
          </a:xfrm>
          <a:prstGeom prst="rect">
            <a:avLst/>
          </a:prstGeom>
          <a:noFill/>
        </p:spPr>
        <p:txBody>
          <a:bodyPr wrap="square">
            <a:spAutoFit/>
          </a:bodyPr>
          <a:lstStyle/>
          <a:p>
            <a:r>
              <a:rPr lang="ja-JP" altLang="en-US" sz="600" dirty="0"/>
              <a:t>（</a:t>
            </a:r>
            <a:r>
              <a:rPr lang="en-US" altLang="ja-JP" sz="600" dirty="0"/>
              <a:t>J-PEAKS</a:t>
            </a:r>
            <a:r>
              <a:rPr lang="ja-JP" altLang="en-US" sz="600" dirty="0"/>
              <a:t>認定大学）</a:t>
            </a:r>
          </a:p>
        </p:txBody>
      </p:sp>
      <p:sp>
        <p:nvSpPr>
          <p:cNvPr id="151" name="テキスト ボックス 150">
            <a:extLst>
              <a:ext uri="{FF2B5EF4-FFF2-40B4-BE49-F238E27FC236}">
                <a16:creationId xmlns:a16="http://schemas.microsoft.com/office/drawing/2014/main" id="{E59D3591-9106-4818-A7AB-EFD743A96E9D}"/>
              </a:ext>
            </a:extLst>
          </p:cNvPr>
          <p:cNvSpPr txBox="1"/>
          <p:nvPr/>
        </p:nvSpPr>
        <p:spPr>
          <a:xfrm>
            <a:off x="3559641" y="5484484"/>
            <a:ext cx="1979057" cy="1323439"/>
          </a:xfrm>
          <a:prstGeom prst="rect">
            <a:avLst/>
          </a:prstGeom>
          <a:solidFill>
            <a:schemeClr val="bg1"/>
          </a:solidFill>
          <a:ln>
            <a:solidFill>
              <a:schemeClr val="accent1"/>
            </a:solidFill>
          </a:ln>
        </p:spPr>
        <p:txBody>
          <a:bodyPr wrap="square" rtlCol="0">
            <a:spAutoFit/>
          </a:bodyPr>
          <a:lstStyle/>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世界が注目する関西のテクノロジー</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核融合</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ペロブスカイト</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バイオものづくり</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ゲノム編集による養殖</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dirty="0" err="1">
                <a:latin typeface="Meiryo UI" panose="020B0604030504040204" pitchFamily="50" charset="-128"/>
                <a:ea typeface="Meiryo UI" panose="020B0604030504040204" pitchFamily="50" charset="-128"/>
                <a:cs typeface="Meiryo UI" panose="020B0604030504040204" pitchFamily="50" charset="-128"/>
              </a:rPr>
              <a:t>iPS</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細胞</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多孔性金属錯体</a:t>
            </a:r>
            <a:endParaRPr kumimoji="1"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制御性</a:t>
            </a:r>
            <a:r>
              <a:rPr kumimoji="1" lang="en-US" altLang="ja-JP" sz="1000" dirty="0">
                <a:latin typeface="Meiryo UI" panose="020B0604030504040204" pitchFamily="50" charset="-128"/>
                <a:ea typeface="Meiryo UI" panose="020B0604030504040204" pitchFamily="50" charset="-128"/>
                <a:cs typeface="Meiryo UI" panose="020B0604030504040204" pitchFamily="50" charset="-128"/>
              </a:rPr>
              <a:t>T</a:t>
            </a:r>
            <a:r>
              <a:rPr kumimoji="1" lang="ja-JP" altLang="en-US" sz="1000" dirty="0">
                <a:latin typeface="Meiryo UI" panose="020B0604030504040204" pitchFamily="50" charset="-128"/>
                <a:ea typeface="Meiryo UI" panose="020B0604030504040204" pitchFamily="50" charset="-128"/>
                <a:cs typeface="Meiryo UI" panose="020B0604030504040204" pitchFamily="50" charset="-128"/>
              </a:rPr>
              <a:t>細胞　等</a:t>
            </a:r>
          </a:p>
        </p:txBody>
      </p:sp>
    </p:spTree>
    <p:extLst>
      <p:ext uri="{BB962C8B-B14F-4D97-AF65-F5344CB8AC3E}">
        <p14:creationId xmlns:p14="http://schemas.microsoft.com/office/powerpoint/2010/main" val="2208063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0"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2212" name="スライド番号プレースホルダー 222211"/>
          <p:cNvSpPr>
            <a:spLocks noGrp="1"/>
          </p:cNvSpPr>
          <p:nvPr>
            <p:ph type="sldNum" sz="quarter" idx="11"/>
          </p:nvPr>
        </p:nvSpPr>
        <p:spPr/>
        <p:txBody>
          <a:bodyPr/>
          <a:lstStyle/>
          <a:p>
            <a:r>
              <a:rPr lang="en-US" altLang="ja-JP" dirty="0"/>
              <a:t>7</a:t>
            </a:r>
            <a:endParaRPr lang="ja-JP" altLang="en-US" dirty="0"/>
          </a:p>
        </p:txBody>
      </p:sp>
      <p:sp>
        <p:nvSpPr>
          <p:cNvPr id="448" name="Freeform 7">
            <a:extLst>
              <a:ext uri="{FF2B5EF4-FFF2-40B4-BE49-F238E27FC236}">
                <a16:creationId xmlns:a16="http://schemas.microsoft.com/office/drawing/2014/main" id="{15895E52-694C-4E4C-A958-E1CCF7CC9BEE}"/>
              </a:ext>
            </a:extLst>
          </p:cNvPr>
          <p:cNvSpPr>
            <a:spLocks noChangeAspect="1" noEditPoints="1"/>
          </p:cNvSpPr>
          <p:nvPr/>
        </p:nvSpPr>
        <p:spPr bwMode="auto">
          <a:xfrm>
            <a:off x="493267" y="173128"/>
            <a:ext cx="199296" cy="104236"/>
          </a:xfrm>
          <a:custGeom>
            <a:avLst/>
            <a:gdLst>
              <a:gd name="T0" fmla="*/ 76 w 442"/>
              <a:gd name="T1" fmla="*/ 81 h 239"/>
              <a:gd name="T2" fmla="*/ 53 w 442"/>
              <a:gd name="T3" fmla="*/ 57 h 239"/>
              <a:gd name="T4" fmla="*/ 30 w 442"/>
              <a:gd name="T5" fmla="*/ 81 h 239"/>
              <a:gd name="T6" fmla="*/ 76 w 442"/>
              <a:gd name="T7" fmla="*/ 81 h 239"/>
              <a:gd name="T8" fmla="*/ 0 w 442"/>
              <a:gd name="T9" fmla="*/ 178 h 239"/>
              <a:gd name="T10" fmla="*/ 0 w 442"/>
              <a:gd name="T11" fmla="*/ 173 h 239"/>
              <a:gd name="T12" fmla="*/ 6 w 442"/>
              <a:gd name="T13" fmla="*/ 136 h 239"/>
              <a:gd name="T14" fmla="*/ 31 w 442"/>
              <a:gd name="T15" fmla="*/ 118 h 239"/>
              <a:gd name="T16" fmla="*/ 35 w 442"/>
              <a:gd name="T17" fmla="*/ 118 h 239"/>
              <a:gd name="T18" fmla="*/ 71 w 442"/>
              <a:gd name="T19" fmla="*/ 118 h 239"/>
              <a:gd name="T20" fmla="*/ 75 w 442"/>
              <a:gd name="T21" fmla="*/ 118 h 239"/>
              <a:gd name="T22" fmla="*/ 90 w 442"/>
              <a:gd name="T23" fmla="*/ 123 h 239"/>
              <a:gd name="T24" fmla="*/ 83 w 442"/>
              <a:gd name="T25" fmla="*/ 150 h 239"/>
              <a:gd name="T26" fmla="*/ 0 w 442"/>
              <a:gd name="T27" fmla="*/ 178 h 239"/>
              <a:gd name="T28" fmla="*/ 184 w 442"/>
              <a:gd name="T29" fmla="*/ 56 h 239"/>
              <a:gd name="T30" fmla="*/ 155 w 442"/>
              <a:gd name="T31" fmla="*/ 27 h 239"/>
              <a:gd name="T32" fmla="*/ 127 w 442"/>
              <a:gd name="T33" fmla="*/ 56 h 239"/>
              <a:gd name="T34" fmla="*/ 184 w 442"/>
              <a:gd name="T35" fmla="*/ 56 h 239"/>
              <a:gd name="T36" fmla="*/ 90 w 442"/>
              <a:gd name="T37" fmla="*/ 148 h 239"/>
              <a:gd name="T38" fmla="*/ 97 w 442"/>
              <a:gd name="T39" fmla="*/ 124 h 239"/>
              <a:gd name="T40" fmla="*/ 128 w 442"/>
              <a:gd name="T41" fmla="*/ 102 h 239"/>
              <a:gd name="T42" fmla="*/ 133 w 442"/>
              <a:gd name="T43" fmla="*/ 102 h 239"/>
              <a:gd name="T44" fmla="*/ 177 w 442"/>
              <a:gd name="T45" fmla="*/ 102 h 239"/>
              <a:gd name="T46" fmla="*/ 183 w 442"/>
              <a:gd name="T47" fmla="*/ 102 h 239"/>
              <a:gd name="T48" fmla="*/ 200 w 442"/>
              <a:gd name="T49" fmla="*/ 107 h 239"/>
              <a:gd name="T50" fmla="*/ 198 w 442"/>
              <a:gd name="T51" fmla="*/ 111 h 239"/>
              <a:gd name="T52" fmla="*/ 188 w 442"/>
              <a:gd name="T53" fmla="*/ 167 h 239"/>
              <a:gd name="T54" fmla="*/ 188 w 442"/>
              <a:gd name="T55" fmla="*/ 183 h 239"/>
              <a:gd name="T56" fmla="*/ 187 w 442"/>
              <a:gd name="T57" fmla="*/ 183 h 239"/>
              <a:gd name="T58" fmla="*/ 143 w 442"/>
              <a:gd name="T59" fmla="*/ 145 h 239"/>
              <a:gd name="T60" fmla="*/ 130 w 442"/>
              <a:gd name="T61" fmla="*/ 134 h 239"/>
              <a:gd name="T62" fmla="*/ 90 w 442"/>
              <a:gd name="T63" fmla="*/ 148 h 239"/>
              <a:gd name="T64" fmla="*/ 308 w 442"/>
              <a:gd name="T65" fmla="*/ 34 h 239"/>
              <a:gd name="T66" fmla="*/ 274 w 442"/>
              <a:gd name="T67" fmla="*/ 0 h 239"/>
              <a:gd name="T68" fmla="*/ 240 w 442"/>
              <a:gd name="T69" fmla="*/ 34 h 239"/>
              <a:gd name="T70" fmla="*/ 308 w 442"/>
              <a:gd name="T71" fmla="*/ 34 h 239"/>
              <a:gd name="T72" fmla="*/ 196 w 442"/>
              <a:gd name="T73" fmla="*/ 180 h 239"/>
              <a:gd name="T74" fmla="*/ 196 w 442"/>
              <a:gd name="T75" fmla="*/ 167 h 239"/>
              <a:gd name="T76" fmla="*/ 205 w 442"/>
              <a:gd name="T77" fmla="*/ 114 h 239"/>
              <a:gd name="T78" fmla="*/ 242 w 442"/>
              <a:gd name="T79" fmla="*/ 88 h 239"/>
              <a:gd name="T80" fmla="*/ 248 w 442"/>
              <a:gd name="T81" fmla="*/ 88 h 239"/>
              <a:gd name="T82" fmla="*/ 299 w 442"/>
              <a:gd name="T83" fmla="*/ 88 h 239"/>
              <a:gd name="T84" fmla="*/ 305 w 442"/>
              <a:gd name="T85" fmla="*/ 88 h 239"/>
              <a:gd name="T86" fmla="*/ 342 w 442"/>
              <a:gd name="T87" fmla="*/ 114 h 239"/>
              <a:gd name="T88" fmla="*/ 346 w 442"/>
              <a:gd name="T89" fmla="*/ 123 h 239"/>
              <a:gd name="T90" fmla="*/ 196 w 442"/>
              <a:gd name="T91" fmla="*/ 180 h 239"/>
              <a:gd name="T92" fmla="*/ 347 w 442"/>
              <a:gd name="T93" fmla="*/ 96 h 239"/>
              <a:gd name="T94" fmla="*/ 360 w 442"/>
              <a:gd name="T95" fmla="*/ 129 h 239"/>
              <a:gd name="T96" fmla="*/ 185 w 442"/>
              <a:gd name="T97" fmla="*/ 195 h 239"/>
              <a:gd name="T98" fmla="*/ 136 w 442"/>
              <a:gd name="T99" fmla="*/ 153 h 239"/>
              <a:gd name="T100" fmla="*/ 128 w 442"/>
              <a:gd name="T101" fmla="*/ 146 h 239"/>
              <a:gd name="T102" fmla="*/ 118 w 442"/>
              <a:gd name="T103" fmla="*/ 149 h 239"/>
              <a:gd name="T104" fmla="*/ 1 w 442"/>
              <a:gd name="T105" fmla="*/ 188 h 239"/>
              <a:gd name="T106" fmla="*/ 13 w 442"/>
              <a:gd name="T107" fmla="*/ 224 h 239"/>
              <a:gd name="T108" fmla="*/ 120 w 442"/>
              <a:gd name="T109" fmla="*/ 189 h 239"/>
              <a:gd name="T110" fmla="*/ 169 w 442"/>
              <a:gd name="T111" fmla="*/ 231 h 239"/>
              <a:gd name="T112" fmla="*/ 178 w 442"/>
              <a:gd name="T113" fmla="*/ 239 h 239"/>
              <a:gd name="T114" fmla="*/ 189 w 442"/>
              <a:gd name="T115" fmla="*/ 235 h 239"/>
              <a:gd name="T116" fmla="*/ 373 w 442"/>
              <a:gd name="T117" fmla="*/ 164 h 239"/>
              <a:gd name="T118" fmla="*/ 385 w 442"/>
              <a:gd name="T119" fmla="*/ 195 h 239"/>
              <a:gd name="T120" fmla="*/ 442 w 442"/>
              <a:gd name="T121" fmla="*/ 114 h 239"/>
              <a:gd name="T122" fmla="*/ 347 w 442"/>
              <a:gd name="T123" fmla="*/ 9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 h="239">
                <a:moveTo>
                  <a:pt x="76" y="81"/>
                </a:moveTo>
                <a:cubicBezTo>
                  <a:pt x="76" y="68"/>
                  <a:pt x="68" y="57"/>
                  <a:pt x="53" y="57"/>
                </a:cubicBezTo>
                <a:cubicBezTo>
                  <a:pt x="38" y="57"/>
                  <a:pt x="30" y="68"/>
                  <a:pt x="30" y="81"/>
                </a:cubicBezTo>
                <a:cubicBezTo>
                  <a:pt x="30" y="131"/>
                  <a:pt x="77" y="130"/>
                  <a:pt x="76" y="81"/>
                </a:cubicBezTo>
                <a:close/>
                <a:moveTo>
                  <a:pt x="0" y="178"/>
                </a:moveTo>
                <a:cubicBezTo>
                  <a:pt x="0" y="173"/>
                  <a:pt x="0" y="173"/>
                  <a:pt x="0" y="173"/>
                </a:cubicBezTo>
                <a:cubicBezTo>
                  <a:pt x="0" y="160"/>
                  <a:pt x="0" y="146"/>
                  <a:pt x="6" y="136"/>
                </a:cubicBezTo>
                <a:cubicBezTo>
                  <a:pt x="11" y="126"/>
                  <a:pt x="20" y="118"/>
                  <a:pt x="31" y="118"/>
                </a:cubicBezTo>
                <a:cubicBezTo>
                  <a:pt x="35" y="118"/>
                  <a:pt x="35" y="118"/>
                  <a:pt x="35" y="118"/>
                </a:cubicBezTo>
                <a:cubicBezTo>
                  <a:pt x="46" y="127"/>
                  <a:pt x="61" y="127"/>
                  <a:pt x="71" y="118"/>
                </a:cubicBezTo>
                <a:cubicBezTo>
                  <a:pt x="75" y="118"/>
                  <a:pt x="75" y="118"/>
                  <a:pt x="75" y="118"/>
                </a:cubicBezTo>
                <a:cubicBezTo>
                  <a:pt x="81" y="118"/>
                  <a:pt x="86" y="120"/>
                  <a:pt x="90" y="123"/>
                </a:cubicBezTo>
                <a:cubicBezTo>
                  <a:pt x="86" y="131"/>
                  <a:pt x="84" y="141"/>
                  <a:pt x="83" y="150"/>
                </a:cubicBezTo>
                <a:cubicBezTo>
                  <a:pt x="0" y="178"/>
                  <a:pt x="0" y="178"/>
                  <a:pt x="0" y="178"/>
                </a:cubicBezTo>
                <a:close/>
                <a:moveTo>
                  <a:pt x="184" y="56"/>
                </a:moveTo>
                <a:cubicBezTo>
                  <a:pt x="184" y="40"/>
                  <a:pt x="173" y="27"/>
                  <a:pt x="155" y="27"/>
                </a:cubicBezTo>
                <a:cubicBezTo>
                  <a:pt x="137" y="27"/>
                  <a:pt x="127" y="40"/>
                  <a:pt x="127" y="56"/>
                </a:cubicBezTo>
                <a:cubicBezTo>
                  <a:pt x="127" y="118"/>
                  <a:pt x="185" y="117"/>
                  <a:pt x="184" y="56"/>
                </a:cubicBezTo>
                <a:close/>
                <a:moveTo>
                  <a:pt x="90" y="148"/>
                </a:moveTo>
                <a:cubicBezTo>
                  <a:pt x="91" y="139"/>
                  <a:pt x="93" y="131"/>
                  <a:pt x="97" y="124"/>
                </a:cubicBezTo>
                <a:cubicBezTo>
                  <a:pt x="103" y="113"/>
                  <a:pt x="115" y="102"/>
                  <a:pt x="128" y="102"/>
                </a:cubicBezTo>
                <a:cubicBezTo>
                  <a:pt x="133" y="102"/>
                  <a:pt x="133" y="102"/>
                  <a:pt x="133" y="102"/>
                </a:cubicBezTo>
                <a:cubicBezTo>
                  <a:pt x="146" y="114"/>
                  <a:pt x="165" y="114"/>
                  <a:pt x="177" y="102"/>
                </a:cubicBezTo>
                <a:cubicBezTo>
                  <a:pt x="183" y="102"/>
                  <a:pt x="183" y="102"/>
                  <a:pt x="183" y="102"/>
                </a:cubicBezTo>
                <a:cubicBezTo>
                  <a:pt x="189" y="102"/>
                  <a:pt x="195" y="104"/>
                  <a:pt x="200" y="107"/>
                </a:cubicBezTo>
                <a:cubicBezTo>
                  <a:pt x="199" y="109"/>
                  <a:pt x="198" y="110"/>
                  <a:pt x="198" y="111"/>
                </a:cubicBezTo>
                <a:cubicBezTo>
                  <a:pt x="189" y="127"/>
                  <a:pt x="188" y="149"/>
                  <a:pt x="188" y="167"/>
                </a:cubicBezTo>
                <a:cubicBezTo>
                  <a:pt x="188" y="183"/>
                  <a:pt x="188" y="183"/>
                  <a:pt x="188" y="183"/>
                </a:cubicBezTo>
                <a:cubicBezTo>
                  <a:pt x="187" y="183"/>
                  <a:pt x="187" y="183"/>
                  <a:pt x="187" y="183"/>
                </a:cubicBezTo>
                <a:cubicBezTo>
                  <a:pt x="143" y="145"/>
                  <a:pt x="143" y="145"/>
                  <a:pt x="143" y="145"/>
                </a:cubicBezTo>
                <a:cubicBezTo>
                  <a:pt x="130" y="134"/>
                  <a:pt x="130" y="134"/>
                  <a:pt x="130" y="134"/>
                </a:cubicBezTo>
                <a:cubicBezTo>
                  <a:pt x="90" y="148"/>
                  <a:pt x="90" y="148"/>
                  <a:pt x="90" y="148"/>
                </a:cubicBezTo>
                <a:close/>
                <a:moveTo>
                  <a:pt x="308" y="34"/>
                </a:moveTo>
                <a:cubicBezTo>
                  <a:pt x="307" y="16"/>
                  <a:pt x="294" y="0"/>
                  <a:pt x="274" y="0"/>
                </a:cubicBezTo>
                <a:cubicBezTo>
                  <a:pt x="252" y="0"/>
                  <a:pt x="240" y="15"/>
                  <a:pt x="240" y="34"/>
                </a:cubicBezTo>
                <a:cubicBezTo>
                  <a:pt x="240" y="107"/>
                  <a:pt x="308" y="106"/>
                  <a:pt x="308" y="34"/>
                </a:cubicBezTo>
                <a:close/>
                <a:moveTo>
                  <a:pt x="196" y="180"/>
                </a:moveTo>
                <a:cubicBezTo>
                  <a:pt x="196" y="167"/>
                  <a:pt x="196" y="167"/>
                  <a:pt x="196" y="167"/>
                </a:cubicBezTo>
                <a:cubicBezTo>
                  <a:pt x="196" y="149"/>
                  <a:pt x="197" y="129"/>
                  <a:pt x="205" y="114"/>
                </a:cubicBezTo>
                <a:cubicBezTo>
                  <a:pt x="212" y="100"/>
                  <a:pt x="226" y="88"/>
                  <a:pt x="242" y="88"/>
                </a:cubicBezTo>
                <a:cubicBezTo>
                  <a:pt x="248" y="88"/>
                  <a:pt x="248" y="88"/>
                  <a:pt x="248" y="88"/>
                </a:cubicBezTo>
                <a:cubicBezTo>
                  <a:pt x="263" y="102"/>
                  <a:pt x="285" y="102"/>
                  <a:pt x="299" y="88"/>
                </a:cubicBezTo>
                <a:cubicBezTo>
                  <a:pt x="305" y="88"/>
                  <a:pt x="305" y="88"/>
                  <a:pt x="305" y="88"/>
                </a:cubicBezTo>
                <a:cubicBezTo>
                  <a:pt x="321" y="88"/>
                  <a:pt x="335" y="100"/>
                  <a:pt x="342" y="114"/>
                </a:cubicBezTo>
                <a:cubicBezTo>
                  <a:pt x="344" y="117"/>
                  <a:pt x="345" y="120"/>
                  <a:pt x="346" y="123"/>
                </a:cubicBezTo>
                <a:cubicBezTo>
                  <a:pt x="196" y="180"/>
                  <a:pt x="196" y="180"/>
                  <a:pt x="196" y="180"/>
                </a:cubicBezTo>
                <a:close/>
                <a:moveTo>
                  <a:pt x="347" y="96"/>
                </a:moveTo>
                <a:cubicBezTo>
                  <a:pt x="360" y="129"/>
                  <a:pt x="360" y="129"/>
                  <a:pt x="360" y="129"/>
                </a:cubicBezTo>
                <a:cubicBezTo>
                  <a:pt x="185" y="195"/>
                  <a:pt x="185" y="195"/>
                  <a:pt x="185" y="195"/>
                </a:cubicBezTo>
                <a:cubicBezTo>
                  <a:pt x="136" y="153"/>
                  <a:pt x="136" y="153"/>
                  <a:pt x="136" y="153"/>
                </a:cubicBezTo>
                <a:cubicBezTo>
                  <a:pt x="128" y="146"/>
                  <a:pt x="128" y="146"/>
                  <a:pt x="128" y="146"/>
                </a:cubicBezTo>
                <a:cubicBezTo>
                  <a:pt x="118" y="149"/>
                  <a:pt x="118" y="149"/>
                  <a:pt x="118" y="149"/>
                </a:cubicBezTo>
                <a:cubicBezTo>
                  <a:pt x="1" y="188"/>
                  <a:pt x="1" y="188"/>
                  <a:pt x="1" y="188"/>
                </a:cubicBezTo>
                <a:cubicBezTo>
                  <a:pt x="13" y="224"/>
                  <a:pt x="13" y="224"/>
                  <a:pt x="13" y="224"/>
                </a:cubicBezTo>
                <a:cubicBezTo>
                  <a:pt x="120" y="189"/>
                  <a:pt x="120" y="189"/>
                  <a:pt x="120" y="189"/>
                </a:cubicBezTo>
                <a:cubicBezTo>
                  <a:pt x="169" y="231"/>
                  <a:pt x="169" y="231"/>
                  <a:pt x="169" y="231"/>
                </a:cubicBezTo>
                <a:cubicBezTo>
                  <a:pt x="178" y="239"/>
                  <a:pt x="178" y="239"/>
                  <a:pt x="178" y="239"/>
                </a:cubicBezTo>
                <a:cubicBezTo>
                  <a:pt x="189" y="235"/>
                  <a:pt x="189" y="235"/>
                  <a:pt x="189" y="235"/>
                </a:cubicBezTo>
                <a:cubicBezTo>
                  <a:pt x="373" y="164"/>
                  <a:pt x="373" y="164"/>
                  <a:pt x="373" y="164"/>
                </a:cubicBezTo>
                <a:cubicBezTo>
                  <a:pt x="385" y="195"/>
                  <a:pt x="385" y="195"/>
                  <a:pt x="385" y="195"/>
                </a:cubicBezTo>
                <a:cubicBezTo>
                  <a:pt x="442" y="114"/>
                  <a:pt x="442" y="114"/>
                  <a:pt x="442" y="114"/>
                </a:cubicBezTo>
                <a:cubicBezTo>
                  <a:pt x="347" y="96"/>
                  <a:pt x="347" y="96"/>
                  <a:pt x="347" y="9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just">
              <a:lnSpc>
                <a:spcPts val="2100"/>
              </a:lnSpc>
            </a:pPr>
            <a:endParaRPr kumimoji="1" lang="en-US" sz="1800" b="1">
              <a:solidFill>
                <a:srgbClr val="292929"/>
              </a:solidFill>
              <a:latin typeface="Arial" panose="020B0604020202020204" pitchFamily="34" charset="0"/>
              <a:ea typeface="ＭＳ Ｐゴシック" panose="020B0600070205080204" pitchFamily="50" charset="-128"/>
              <a:cs typeface="+mn-cs"/>
            </a:endParaRPr>
          </a:p>
        </p:txBody>
      </p:sp>
      <p:sp>
        <p:nvSpPr>
          <p:cNvPr id="6" name="Freeform 823">
            <a:extLst>
              <a:ext uri="{FF2B5EF4-FFF2-40B4-BE49-F238E27FC236}">
                <a16:creationId xmlns:a16="http://schemas.microsoft.com/office/drawing/2014/main" id="{08FEDDBD-C1AA-0C7A-BFF5-2CDE9B466342}"/>
              </a:ext>
            </a:extLst>
          </p:cNvPr>
          <p:cNvSpPr>
            <a:spLocks noEditPoints="1"/>
          </p:cNvSpPr>
          <p:nvPr/>
        </p:nvSpPr>
        <p:spPr bwMode="gray">
          <a:xfrm>
            <a:off x="473494" y="102815"/>
            <a:ext cx="224072" cy="21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latin typeface="Arial" panose="020B0604020202020204" pitchFamily="34" charset="0"/>
              <a:ea typeface="ＭＳ Ｐゴシック" panose="020B0600070205080204" pitchFamily="50" charset="-128"/>
            </a:endParaRPr>
          </a:p>
        </p:txBody>
      </p:sp>
      <p:sp>
        <p:nvSpPr>
          <p:cNvPr id="10" name="タイトル 1">
            <a:extLst>
              <a:ext uri="{FF2B5EF4-FFF2-40B4-BE49-F238E27FC236}">
                <a16:creationId xmlns:a16="http://schemas.microsoft.com/office/drawing/2014/main" id="{603D1FA4-6BA7-6454-0029-B41FAF5F6902}"/>
              </a:ext>
            </a:extLst>
          </p:cNvPr>
          <p:cNvSpPr>
            <a:spLocks noGrp="1"/>
          </p:cNvSpPr>
          <p:nvPr>
            <p:ph type="title"/>
          </p:nvPr>
        </p:nvSpPr>
        <p:spPr>
          <a:xfrm>
            <a:off x="181744" y="160143"/>
            <a:ext cx="9505503" cy="307777"/>
          </a:xfrm>
        </p:spPr>
        <p:txBody>
          <a:bodyPr/>
          <a:lstStyle/>
          <a:p>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2. </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イベント概要・</a:t>
            </a:r>
            <a:r>
              <a:rPr lang="en-US" altLang="ja-JP" sz="1400" u="sng">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400" u="sng">
                <a:latin typeface="メイリオ" panose="020B0604030504040204" pitchFamily="50" charset="-128"/>
                <a:ea typeface="メイリオ" panose="020B0604030504040204" pitchFamily="50" charset="-128"/>
                <a:cs typeface="メイリオ" panose="020B0604030504040204" pitchFamily="50" charset="-128"/>
              </a:rPr>
              <a:t>（海外ネットワーク（グローバルの強み））</a:t>
            </a:r>
            <a:endParaRPr kumimoji="1" lang="ja-JP" altLang="en-US" sz="1400" u="sng">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2" name="正方形/長方形 11">
            <a:extLst>
              <a:ext uri="{FF2B5EF4-FFF2-40B4-BE49-F238E27FC236}">
                <a16:creationId xmlns:a16="http://schemas.microsoft.com/office/drawing/2014/main" id="{F236D613-34A2-158E-0A13-22571F09EF6E}"/>
              </a:ext>
            </a:extLst>
          </p:cNvPr>
          <p:cNvSpPr/>
          <p:nvPr/>
        </p:nvSpPr>
        <p:spPr bwMode="auto">
          <a:xfrm>
            <a:off x="0" y="560223"/>
            <a:ext cx="9891885" cy="504694"/>
          </a:xfrm>
          <a:prstGeom prst="rect">
            <a:avLst/>
          </a:prstGeom>
          <a:noFill/>
          <a:ln w="9525">
            <a:solidFill>
              <a:schemeClr val="bg1">
                <a:lumMod val="75000"/>
              </a:schemeClr>
            </a:solidFill>
            <a:miter lim="800000"/>
            <a:headEnd/>
            <a:tailEnd/>
          </a:ln>
          <a:effectLst/>
        </p:spPr>
        <p:txBody>
          <a:bodyPr wrap="square" rtlCol="0" anchor="ctr"/>
          <a:lstStyle/>
          <a:p>
            <a:pPr algn="l"/>
            <a:r>
              <a:rPr kumimoji="0" lang="ja-JP" altLang="en-US" sz="1200" b="1" dirty="0">
                <a:latin typeface="Meiryo UI" panose="020B0604030504040204" pitchFamily="50" charset="-128"/>
                <a:ea typeface="Meiryo UI" panose="020B0604030504040204" pitchFamily="50" charset="-128"/>
              </a:rPr>
              <a:t>大阪としては、ひょうご・京都とともに、令和</a:t>
            </a:r>
            <a:r>
              <a:rPr kumimoji="0" lang="en-US" altLang="ja-JP" sz="1200" b="1" dirty="0">
                <a:latin typeface="Meiryo UI" panose="020B0604030504040204" pitchFamily="50" charset="-128"/>
                <a:ea typeface="Meiryo UI" panose="020B0604030504040204" pitchFamily="50" charset="-128"/>
              </a:rPr>
              <a:t>2</a:t>
            </a:r>
            <a:r>
              <a:rPr kumimoji="0" lang="ja-JP" altLang="en-US" sz="1200" b="1" dirty="0">
                <a:latin typeface="Meiryo UI" panose="020B0604030504040204" pitchFamily="50" charset="-128"/>
                <a:ea typeface="Meiryo UI" panose="020B0604030504040204" pitchFamily="50" charset="-128"/>
              </a:rPr>
              <a:t>年度以降、「グローバル拠点都市」として、様々な海外の</a:t>
            </a:r>
            <a:r>
              <a:rPr kumimoji="0" lang="en-US" altLang="ja-JP" sz="1200" b="1" dirty="0">
                <a:latin typeface="Meiryo UI" panose="020B0604030504040204" pitchFamily="50" charset="-128"/>
                <a:ea typeface="Meiryo UI" panose="020B0604030504040204" pitchFamily="50" charset="-128"/>
              </a:rPr>
              <a:t>VC</a:t>
            </a:r>
            <a:r>
              <a:rPr kumimoji="0" lang="ja-JP" altLang="en-US" sz="1200" b="1" dirty="0">
                <a:latin typeface="Meiryo UI" panose="020B0604030504040204" pitchFamily="50" charset="-128"/>
                <a:ea typeface="Meiryo UI" panose="020B0604030504040204" pitchFamily="50" charset="-128"/>
              </a:rPr>
              <a:t>等とのネットワークを形成してきたことに加えて、大阪・関西万博を通じて、多くの国・地域との新たな関係性も構築。そうした「強み」を活かし、</a:t>
            </a:r>
            <a:r>
              <a:rPr kumimoji="0" lang="en-US" altLang="ja-JP" sz="1200" b="1" dirty="0">
                <a:latin typeface="Meiryo UI" panose="020B0604030504040204" pitchFamily="50" charset="-128"/>
                <a:ea typeface="Meiryo UI" panose="020B0604030504040204" pitchFamily="50" charset="-128"/>
              </a:rPr>
              <a:t>GSE2026</a:t>
            </a:r>
            <a:r>
              <a:rPr kumimoji="0" lang="ja-JP" altLang="en-US" sz="1200" b="1" dirty="0">
                <a:latin typeface="Meiryo UI" panose="020B0604030504040204" pitchFamily="50" charset="-128"/>
                <a:ea typeface="Meiryo UI" panose="020B0604030504040204" pitchFamily="50" charset="-128"/>
              </a:rPr>
              <a:t>をグローバルに展開します！</a:t>
            </a:r>
          </a:p>
        </p:txBody>
      </p:sp>
      <p:grpSp>
        <p:nvGrpSpPr>
          <p:cNvPr id="222632" name="Group 2966">
            <a:extLst>
              <a:ext uri="{FF2B5EF4-FFF2-40B4-BE49-F238E27FC236}">
                <a16:creationId xmlns:a16="http://schemas.microsoft.com/office/drawing/2014/main" id="{A8B4C058-64C3-F470-0934-89C431B0350E}"/>
              </a:ext>
            </a:extLst>
          </p:cNvPr>
          <p:cNvGrpSpPr>
            <a:grpSpLocks noChangeAspect="1"/>
          </p:cNvGrpSpPr>
          <p:nvPr/>
        </p:nvGrpSpPr>
        <p:grpSpPr>
          <a:xfrm>
            <a:off x="905018" y="1911515"/>
            <a:ext cx="8084768" cy="4310261"/>
            <a:chOff x="1261014" y="2341752"/>
            <a:chExt cx="7383970" cy="3508248"/>
          </a:xfrm>
          <a:solidFill>
            <a:schemeClr val="bg1">
              <a:lumMod val="85000"/>
            </a:schemeClr>
          </a:solidFill>
        </p:grpSpPr>
        <p:sp>
          <p:nvSpPr>
            <p:cNvPr id="222643" name="Freeform: Shape 2633">
              <a:extLst>
                <a:ext uri="{FF2B5EF4-FFF2-40B4-BE49-F238E27FC236}">
                  <a16:creationId xmlns:a16="http://schemas.microsoft.com/office/drawing/2014/main" id="{33D83707-096D-7D70-6272-B8E8FF4E990B}"/>
                </a:ext>
              </a:extLst>
            </p:cNvPr>
            <p:cNvSpPr/>
            <p:nvPr/>
          </p:nvSpPr>
          <p:spPr>
            <a:xfrm>
              <a:off x="4728591" y="4657852"/>
              <a:ext cx="49434" cy="48291"/>
            </a:xfrm>
            <a:custGeom>
              <a:avLst/>
              <a:gdLst>
                <a:gd name="connsiteX0" fmla="*/ 30004 w 49434"/>
                <a:gd name="connsiteY0" fmla="*/ 20764 h 48291"/>
                <a:gd name="connsiteX1" fmla="*/ 45434 w 49434"/>
                <a:gd name="connsiteY1" fmla="*/ 48292 h 48291"/>
                <a:gd name="connsiteX2" fmla="*/ 49435 w 49434"/>
                <a:gd name="connsiteY2" fmla="*/ 36290 h 48291"/>
                <a:gd name="connsiteX3" fmla="*/ 30099 w 49434"/>
                <a:gd name="connsiteY3" fmla="*/ 13526 h 48291"/>
                <a:gd name="connsiteX4" fmla="*/ 5620 w 49434"/>
                <a:gd name="connsiteY4" fmla="*/ 0 h 48291"/>
                <a:gd name="connsiteX5" fmla="*/ 0 w 49434"/>
                <a:gd name="connsiteY5" fmla="*/ 9525 h 48291"/>
                <a:gd name="connsiteX6" fmla="*/ 7239 w 49434"/>
                <a:gd name="connsiteY6" fmla="*/ 6858 h 48291"/>
                <a:gd name="connsiteX7" fmla="*/ 30004 w 49434"/>
                <a:gd name="connsiteY7" fmla="*/ 20764 h 4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34" h="48291">
                  <a:moveTo>
                    <a:pt x="30004" y="20764"/>
                  </a:moveTo>
                  <a:lnTo>
                    <a:pt x="45434" y="48292"/>
                  </a:lnTo>
                  <a:lnTo>
                    <a:pt x="49435" y="36290"/>
                  </a:lnTo>
                  <a:lnTo>
                    <a:pt x="30099" y="13526"/>
                  </a:lnTo>
                  <a:lnTo>
                    <a:pt x="5620" y="0"/>
                  </a:lnTo>
                  <a:lnTo>
                    <a:pt x="0" y="9525"/>
                  </a:lnTo>
                  <a:lnTo>
                    <a:pt x="7239" y="6858"/>
                  </a:lnTo>
                  <a:lnTo>
                    <a:pt x="30004" y="2076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44" name="Freeform: Shape 2634">
              <a:extLst>
                <a:ext uri="{FF2B5EF4-FFF2-40B4-BE49-F238E27FC236}">
                  <a16:creationId xmlns:a16="http://schemas.microsoft.com/office/drawing/2014/main" id="{E179CC63-6036-F9E9-5C90-F53775200D99}"/>
                </a:ext>
              </a:extLst>
            </p:cNvPr>
            <p:cNvSpPr/>
            <p:nvPr/>
          </p:nvSpPr>
          <p:spPr>
            <a:xfrm>
              <a:off x="4683633" y="4691760"/>
              <a:ext cx="79914" cy="42957"/>
            </a:xfrm>
            <a:custGeom>
              <a:avLst/>
              <a:gdLst>
                <a:gd name="connsiteX0" fmla="*/ 12859 w 79914"/>
                <a:gd name="connsiteY0" fmla="*/ 26479 h 42957"/>
                <a:gd name="connsiteX1" fmla="*/ 0 w 79914"/>
                <a:gd name="connsiteY1" fmla="*/ 26479 h 42957"/>
                <a:gd name="connsiteX2" fmla="*/ 13240 w 79914"/>
                <a:gd name="connsiteY2" fmla="*/ 37338 h 42957"/>
                <a:gd name="connsiteX3" fmla="*/ 32671 w 79914"/>
                <a:gd name="connsiteY3" fmla="*/ 42958 h 42957"/>
                <a:gd name="connsiteX4" fmla="*/ 52864 w 79914"/>
                <a:gd name="connsiteY4" fmla="*/ 37624 h 42957"/>
                <a:gd name="connsiteX5" fmla="*/ 71342 w 79914"/>
                <a:gd name="connsiteY5" fmla="*/ 16859 h 42957"/>
                <a:gd name="connsiteX6" fmla="*/ 79915 w 79914"/>
                <a:gd name="connsiteY6" fmla="*/ 10573 h 42957"/>
                <a:gd name="connsiteX7" fmla="*/ 75629 w 79914"/>
                <a:gd name="connsiteY7" fmla="*/ 0 h 42957"/>
                <a:gd name="connsiteX8" fmla="*/ 57436 w 79914"/>
                <a:gd name="connsiteY8" fmla="*/ 16573 h 42957"/>
                <a:gd name="connsiteX9" fmla="*/ 50863 w 79914"/>
                <a:gd name="connsiteY9" fmla="*/ 26479 h 42957"/>
                <a:gd name="connsiteX10" fmla="*/ 31337 w 79914"/>
                <a:gd name="connsiteY10" fmla="*/ 26479 h 42957"/>
                <a:gd name="connsiteX11" fmla="*/ 12859 w 79914"/>
                <a:gd name="connsiteY11" fmla="*/ 26479 h 4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4" h="42957">
                  <a:moveTo>
                    <a:pt x="12859" y="26479"/>
                  </a:moveTo>
                  <a:lnTo>
                    <a:pt x="0" y="26479"/>
                  </a:lnTo>
                  <a:lnTo>
                    <a:pt x="13240" y="37338"/>
                  </a:lnTo>
                  <a:lnTo>
                    <a:pt x="32671" y="42958"/>
                  </a:lnTo>
                  <a:lnTo>
                    <a:pt x="52864" y="37624"/>
                  </a:lnTo>
                  <a:lnTo>
                    <a:pt x="71342" y="16859"/>
                  </a:lnTo>
                  <a:lnTo>
                    <a:pt x="79915" y="10573"/>
                  </a:lnTo>
                  <a:lnTo>
                    <a:pt x="75629" y="0"/>
                  </a:lnTo>
                  <a:lnTo>
                    <a:pt x="57436" y="16573"/>
                  </a:lnTo>
                  <a:lnTo>
                    <a:pt x="50863" y="26479"/>
                  </a:lnTo>
                  <a:lnTo>
                    <a:pt x="31337" y="26479"/>
                  </a:lnTo>
                  <a:lnTo>
                    <a:pt x="12859" y="2647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45" name="Freeform: Shape 2635">
              <a:extLst>
                <a:ext uri="{FF2B5EF4-FFF2-40B4-BE49-F238E27FC236}">
                  <a16:creationId xmlns:a16="http://schemas.microsoft.com/office/drawing/2014/main" id="{AD749D35-1599-BDCD-1E82-BB5A8A87F58F}"/>
                </a:ext>
              </a:extLst>
            </p:cNvPr>
            <p:cNvSpPr/>
            <p:nvPr/>
          </p:nvSpPr>
          <p:spPr>
            <a:xfrm>
              <a:off x="4533328" y="4661376"/>
              <a:ext cx="200120" cy="160020"/>
            </a:xfrm>
            <a:custGeom>
              <a:avLst/>
              <a:gdLst>
                <a:gd name="connsiteX0" fmla="*/ 36671 w 200120"/>
                <a:gd name="connsiteY0" fmla="*/ 133160 h 160020"/>
                <a:gd name="connsiteX1" fmla="*/ 50578 w 200120"/>
                <a:gd name="connsiteY1" fmla="*/ 127159 h 160020"/>
                <a:gd name="connsiteX2" fmla="*/ 26765 w 200120"/>
                <a:gd name="connsiteY2" fmla="*/ 111347 h 160020"/>
                <a:gd name="connsiteX3" fmla="*/ 45434 w 200120"/>
                <a:gd name="connsiteY3" fmla="*/ 114776 h 160020"/>
                <a:gd name="connsiteX4" fmla="*/ 51245 w 200120"/>
                <a:gd name="connsiteY4" fmla="*/ 105061 h 160020"/>
                <a:gd name="connsiteX5" fmla="*/ 62770 w 200120"/>
                <a:gd name="connsiteY5" fmla="*/ 106394 h 160020"/>
                <a:gd name="connsiteX6" fmla="*/ 57531 w 200120"/>
                <a:gd name="connsiteY6" fmla="*/ 96774 h 160020"/>
                <a:gd name="connsiteX7" fmla="*/ 73343 w 200120"/>
                <a:gd name="connsiteY7" fmla="*/ 102775 h 160020"/>
                <a:gd name="connsiteX8" fmla="*/ 74009 w 200120"/>
                <a:gd name="connsiteY8" fmla="*/ 96774 h 160020"/>
                <a:gd name="connsiteX9" fmla="*/ 105346 w 200120"/>
                <a:gd name="connsiteY9" fmla="*/ 108395 h 160020"/>
                <a:gd name="connsiteX10" fmla="*/ 114967 w 200120"/>
                <a:gd name="connsiteY10" fmla="*/ 126492 h 160020"/>
                <a:gd name="connsiteX11" fmla="*/ 122587 w 200120"/>
                <a:gd name="connsiteY11" fmla="*/ 127159 h 160020"/>
                <a:gd name="connsiteX12" fmla="*/ 121253 w 200120"/>
                <a:gd name="connsiteY12" fmla="*/ 132112 h 160020"/>
                <a:gd name="connsiteX13" fmla="*/ 137446 w 200120"/>
                <a:gd name="connsiteY13" fmla="*/ 148304 h 160020"/>
                <a:gd name="connsiteX14" fmla="*/ 177737 w 200120"/>
                <a:gd name="connsiteY14" fmla="*/ 152971 h 160020"/>
                <a:gd name="connsiteX15" fmla="*/ 186976 w 200120"/>
                <a:gd name="connsiteY15" fmla="*/ 160020 h 160020"/>
                <a:gd name="connsiteX16" fmla="*/ 196215 w 200120"/>
                <a:gd name="connsiteY16" fmla="*/ 157353 h 160020"/>
                <a:gd name="connsiteX17" fmla="*/ 189929 w 200120"/>
                <a:gd name="connsiteY17" fmla="*/ 152305 h 160020"/>
                <a:gd name="connsiteX18" fmla="*/ 200120 w 200120"/>
                <a:gd name="connsiteY18" fmla="*/ 150971 h 160020"/>
                <a:gd name="connsiteX19" fmla="*/ 182975 w 200120"/>
                <a:gd name="connsiteY19" fmla="*/ 139065 h 160020"/>
                <a:gd name="connsiteX20" fmla="*/ 167449 w 200120"/>
                <a:gd name="connsiteY20" fmla="*/ 136398 h 160020"/>
                <a:gd name="connsiteX21" fmla="*/ 169164 w 200120"/>
                <a:gd name="connsiteY21" fmla="*/ 128206 h 160020"/>
                <a:gd name="connsiteX22" fmla="*/ 154877 w 200120"/>
                <a:gd name="connsiteY22" fmla="*/ 128206 h 160020"/>
                <a:gd name="connsiteX23" fmla="*/ 145637 w 200120"/>
                <a:gd name="connsiteY23" fmla="*/ 107728 h 160020"/>
                <a:gd name="connsiteX24" fmla="*/ 126873 w 200120"/>
                <a:gd name="connsiteY24" fmla="*/ 96107 h 160020"/>
                <a:gd name="connsiteX25" fmla="*/ 140398 w 200120"/>
                <a:gd name="connsiteY25" fmla="*/ 80296 h 160020"/>
                <a:gd name="connsiteX26" fmla="*/ 132779 w 200120"/>
                <a:gd name="connsiteY26" fmla="*/ 66770 h 160020"/>
                <a:gd name="connsiteX27" fmla="*/ 112681 w 200120"/>
                <a:gd name="connsiteY27" fmla="*/ 59150 h 160020"/>
                <a:gd name="connsiteX28" fmla="*/ 98774 w 200120"/>
                <a:gd name="connsiteY28" fmla="*/ 56864 h 160020"/>
                <a:gd name="connsiteX29" fmla="*/ 99441 w 200120"/>
                <a:gd name="connsiteY29" fmla="*/ 44005 h 160020"/>
                <a:gd name="connsiteX30" fmla="*/ 75057 w 200120"/>
                <a:gd name="connsiteY30" fmla="*/ 27432 h 160020"/>
                <a:gd name="connsiteX31" fmla="*/ 74009 w 200120"/>
                <a:gd name="connsiteY31" fmla="*/ 23813 h 160020"/>
                <a:gd name="connsiteX32" fmla="*/ 25527 w 200120"/>
                <a:gd name="connsiteY32" fmla="*/ 8954 h 160020"/>
                <a:gd name="connsiteX33" fmla="*/ 5048 w 200120"/>
                <a:gd name="connsiteY33" fmla="*/ 0 h 160020"/>
                <a:gd name="connsiteX34" fmla="*/ 4667 w 200120"/>
                <a:gd name="connsiteY34" fmla="*/ 0 h 160020"/>
                <a:gd name="connsiteX35" fmla="*/ 4667 w 200120"/>
                <a:gd name="connsiteY35" fmla="*/ 73723 h 160020"/>
                <a:gd name="connsiteX36" fmla="*/ 0 w 200120"/>
                <a:gd name="connsiteY36" fmla="*/ 80581 h 160020"/>
                <a:gd name="connsiteX37" fmla="*/ 4667 w 200120"/>
                <a:gd name="connsiteY37" fmla="*/ 84868 h 160020"/>
                <a:gd name="connsiteX38" fmla="*/ 4667 w 200120"/>
                <a:gd name="connsiteY38" fmla="*/ 129159 h 160020"/>
                <a:gd name="connsiteX39" fmla="*/ 4667 w 200120"/>
                <a:gd name="connsiteY39" fmla="*/ 129159 h 160020"/>
                <a:gd name="connsiteX40" fmla="*/ 28480 w 200120"/>
                <a:gd name="connsiteY40" fmla="*/ 129826 h 160020"/>
                <a:gd name="connsiteX41" fmla="*/ 36671 w 200120"/>
                <a:gd name="connsiteY41" fmla="*/ 133160 h 1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120" h="160020">
                  <a:moveTo>
                    <a:pt x="36671" y="133160"/>
                  </a:moveTo>
                  <a:lnTo>
                    <a:pt x="50578" y="127159"/>
                  </a:lnTo>
                  <a:lnTo>
                    <a:pt x="26765" y="111347"/>
                  </a:lnTo>
                  <a:lnTo>
                    <a:pt x="45434" y="114776"/>
                  </a:lnTo>
                  <a:lnTo>
                    <a:pt x="51245" y="105061"/>
                  </a:lnTo>
                  <a:lnTo>
                    <a:pt x="62770" y="106394"/>
                  </a:lnTo>
                  <a:lnTo>
                    <a:pt x="57531" y="96774"/>
                  </a:lnTo>
                  <a:lnTo>
                    <a:pt x="73343" y="102775"/>
                  </a:lnTo>
                  <a:lnTo>
                    <a:pt x="74009" y="96774"/>
                  </a:lnTo>
                  <a:lnTo>
                    <a:pt x="105346" y="108395"/>
                  </a:lnTo>
                  <a:lnTo>
                    <a:pt x="114967" y="126492"/>
                  </a:lnTo>
                  <a:lnTo>
                    <a:pt x="122587" y="127159"/>
                  </a:lnTo>
                  <a:lnTo>
                    <a:pt x="121253" y="132112"/>
                  </a:lnTo>
                  <a:lnTo>
                    <a:pt x="137446" y="148304"/>
                  </a:lnTo>
                  <a:lnTo>
                    <a:pt x="177737" y="152971"/>
                  </a:lnTo>
                  <a:lnTo>
                    <a:pt x="186976" y="160020"/>
                  </a:lnTo>
                  <a:lnTo>
                    <a:pt x="196215" y="157353"/>
                  </a:lnTo>
                  <a:lnTo>
                    <a:pt x="189929" y="152305"/>
                  </a:lnTo>
                  <a:lnTo>
                    <a:pt x="200120" y="150971"/>
                  </a:lnTo>
                  <a:lnTo>
                    <a:pt x="182975" y="139065"/>
                  </a:lnTo>
                  <a:lnTo>
                    <a:pt x="167449" y="136398"/>
                  </a:lnTo>
                  <a:lnTo>
                    <a:pt x="169164" y="128206"/>
                  </a:lnTo>
                  <a:lnTo>
                    <a:pt x="154877" y="128206"/>
                  </a:lnTo>
                  <a:lnTo>
                    <a:pt x="145637" y="107728"/>
                  </a:lnTo>
                  <a:lnTo>
                    <a:pt x="126873" y="96107"/>
                  </a:lnTo>
                  <a:lnTo>
                    <a:pt x="140398" y="80296"/>
                  </a:lnTo>
                  <a:lnTo>
                    <a:pt x="132779" y="66770"/>
                  </a:lnTo>
                  <a:lnTo>
                    <a:pt x="112681" y="59150"/>
                  </a:lnTo>
                  <a:lnTo>
                    <a:pt x="98774" y="56864"/>
                  </a:lnTo>
                  <a:lnTo>
                    <a:pt x="99441" y="44005"/>
                  </a:lnTo>
                  <a:lnTo>
                    <a:pt x="75057" y="27432"/>
                  </a:lnTo>
                  <a:lnTo>
                    <a:pt x="74009" y="23813"/>
                  </a:lnTo>
                  <a:lnTo>
                    <a:pt x="25527" y="8954"/>
                  </a:lnTo>
                  <a:lnTo>
                    <a:pt x="5048" y="0"/>
                  </a:lnTo>
                  <a:lnTo>
                    <a:pt x="4667" y="0"/>
                  </a:lnTo>
                  <a:lnTo>
                    <a:pt x="4667" y="73723"/>
                  </a:lnTo>
                  <a:lnTo>
                    <a:pt x="0" y="80581"/>
                  </a:lnTo>
                  <a:lnTo>
                    <a:pt x="4667" y="84868"/>
                  </a:lnTo>
                  <a:lnTo>
                    <a:pt x="4667" y="129159"/>
                  </a:lnTo>
                  <a:lnTo>
                    <a:pt x="4667" y="129159"/>
                  </a:lnTo>
                  <a:lnTo>
                    <a:pt x="28480" y="129826"/>
                  </a:lnTo>
                  <a:lnTo>
                    <a:pt x="36671" y="13316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46" name="Freeform: Shape 2636">
              <a:extLst>
                <a:ext uri="{FF2B5EF4-FFF2-40B4-BE49-F238E27FC236}">
                  <a16:creationId xmlns:a16="http://schemas.microsoft.com/office/drawing/2014/main" id="{B53934AC-EF0F-15C6-D9AF-B7939709B45C}"/>
                </a:ext>
              </a:extLst>
            </p:cNvPr>
            <p:cNvSpPr/>
            <p:nvPr/>
          </p:nvSpPr>
          <p:spPr>
            <a:xfrm>
              <a:off x="4717923" y="4792154"/>
              <a:ext cx="15240" cy="13049"/>
            </a:xfrm>
            <a:custGeom>
              <a:avLst/>
              <a:gdLst>
                <a:gd name="connsiteX0" fmla="*/ 10954 w 15240"/>
                <a:gd name="connsiteY0" fmla="*/ 4477 h 13049"/>
                <a:gd name="connsiteX1" fmla="*/ 2667 w 15240"/>
                <a:gd name="connsiteY1" fmla="*/ 0 h 13049"/>
                <a:gd name="connsiteX2" fmla="*/ 0 w 15240"/>
                <a:gd name="connsiteY2" fmla="*/ 2381 h 13049"/>
                <a:gd name="connsiteX3" fmla="*/ 15240 w 15240"/>
                <a:gd name="connsiteY3" fmla="*/ 13049 h 13049"/>
                <a:gd name="connsiteX4" fmla="*/ 10954 w 15240"/>
                <a:gd name="connsiteY4" fmla="*/ 4477 h 1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 h="13049">
                  <a:moveTo>
                    <a:pt x="10954" y="4477"/>
                  </a:moveTo>
                  <a:lnTo>
                    <a:pt x="2667" y="0"/>
                  </a:lnTo>
                  <a:lnTo>
                    <a:pt x="0" y="2381"/>
                  </a:lnTo>
                  <a:lnTo>
                    <a:pt x="15240" y="13049"/>
                  </a:lnTo>
                  <a:lnTo>
                    <a:pt x="10954" y="447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47" name="Freeform: Shape 2637">
              <a:extLst>
                <a:ext uri="{FF2B5EF4-FFF2-40B4-BE49-F238E27FC236}">
                  <a16:creationId xmlns:a16="http://schemas.microsoft.com/office/drawing/2014/main" id="{ECE24D44-8117-92AC-66FF-252DA180BDA8}"/>
                </a:ext>
              </a:extLst>
            </p:cNvPr>
            <p:cNvSpPr/>
            <p:nvPr/>
          </p:nvSpPr>
          <p:spPr>
            <a:xfrm>
              <a:off x="5165693" y="5317553"/>
              <a:ext cx="115919" cy="166020"/>
            </a:xfrm>
            <a:custGeom>
              <a:avLst/>
              <a:gdLst>
                <a:gd name="connsiteX0" fmla="*/ 98965 w 115919"/>
                <a:gd name="connsiteY0" fmla="*/ 108109 h 166020"/>
                <a:gd name="connsiteX1" fmla="*/ 86106 w 115919"/>
                <a:gd name="connsiteY1" fmla="*/ 118015 h 166020"/>
                <a:gd name="connsiteX2" fmla="*/ 87154 w 115919"/>
                <a:gd name="connsiteY2" fmla="*/ 124968 h 166020"/>
                <a:gd name="connsiteX3" fmla="*/ 66770 w 115919"/>
                <a:gd name="connsiteY3" fmla="*/ 154591 h 166020"/>
                <a:gd name="connsiteX4" fmla="*/ 50197 w 115919"/>
                <a:gd name="connsiteY4" fmla="*/ 166021 h 166020"/>
                <a:gd name="connsiteX5" fmla="*/ 40672 w 115919"/>
                <a:gd name="connsiteY5" fmla="*/ 160306 h 166020"/>
                <a:gd name="connsiteX6" fmla="*/ 52007 w 115919"/>
                <a:gd name="connsiteY6" fmla="*/ 136779 h 166020"/>
                <a:gd name="connsiteX7" fmla="*/ 44577 w 115919"/>
                <a:gd name="connsiteY7" fmla="*/ 124777 h 166020"/>
                <a:gd name="connsiteX8" fmla="*/ 21812 w 115919"/>
                <a:gd name="connsiteY8" fmla="*/ 113633 h 166020"/>
                <a:gd name="connsiteX9" fmla="*/ 22479 w 115919"/>
                <a:gd name="connsiteY9" fmla="*/ 107632 h 166020"/>
                <a:gd name="connsiteX10" fmla="*/ 37338 w 115919"/>
                <a:gd name="connsiteY10" fmla="*/ 100489 h 166020"/>
                <a:gd name="connsiteX11" fmla="*/ 41243 w 115919"/>
                <a:gd name="connsiteY11" fmla="*/ 73628 h 166020"/>
                <a:gd name="connsiteX12" fmla="*/ 0 w 115919"/>
                <a:gd name="connsiteY12" fmla="*/ 1524 h 166020"/>
                <a:gd name="connsiteX13" fmla="*/ 10954 w 115919"/>
                <a:gd name="connsiteY13" fmla="*/ 0 h 166020"/>
                <a:gd name="connsiteX14" fmla="*/ 14859 w 115919"/>
                <a:gd name="connsiteY14" fmla="*/ 13525 h 166020"/>
                <a:gd name="connsiteX15" fmla="*/ 26766 w 115919"/>
                <a:gd name="connsiteY15" fmla="*/ 12859 h 166020"/>
                <a:gd name="connsiteX16" fmla="*/ 40672 w 115919"/>
                <a:gd name="connsiteY16" fmla="*/ 29242 h 166020"/>
                <a:gd name="connsiteX17" fmla="*/ 38576 w 115919"/>
                <a:gd name="connsiteY17" fmla="*/ 40386 h 166020"/>
                <a:gd name="connsiteX18" fmla="*/ 54102 w 115919"/>
                <a:gd name="connsiteY18" fmla="*/ 61341 h 166020"/>
                <a:gd name="connsiteX19" fmla="*/ 58198 w 115919"/>
                <a:gd name="connsiteY19" fmla="*/ 50863 h 166020"/>
                <a:gd name="connsiteX20" fmla="*/ 66961 w 115919"/>
                <a:gd name="connsiteY20" fmla="*/ 75343 h 166020"/>
                <a:gd name="connsiteX21" fmla="*/ 90202 w 115919"/>
                <a:gd name="connsiteY21" fmla="*/ 82391 h 166020"/>
                <a:gd name="connsiteX22" fmla="*/ 107728 w 115919"/>
                <a:gd name="connsiteY22" fmla="*/ 64865 h 166020"/>
                <a:gd name="connsiteX23" fmla="*/ 115919 w 115919"/>
                <a:gd name="connsiteY23" fmla="*/ 75057 h 166020"/>
                <a:gd name="connsiteX24" fmla="*/ 111919 w 115919"/>
                <a:gd name="connsiteY24" fmla="*/ 95821 h 166020"/>
                <a:gd name="connsiteX25" fmla="*/ 102108 w 115919"/>
                <a:gd name="connsiteY25" fmla="*/ 113347 h 166020"/>
                <a:gd name="connsiteX26" fmla="*/ 98965 w 115919"/>
                <a:gd name="connsiteY26" fmla="*/ 108109 h 16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5919" h="166020">
                  <a:moveTo>
                    <a:pt x="98965" y="108109"/>
                  </a:moveTo>
                  <a:lnTo>
                    <a:pt x="86106" y="118015"/>
                  </a:lnTo>
                  <a:lnTo>
                    <a:pt x="87154" y="124968"/>
                  </a:lnTo>
                  <a:lnTo>
                    <a:pt x="66770" y="154591"/>
                  </a:lnTo>
                  <a:lnTo>
                    <a:pt x="50197" y="166021"/>
                  </a:lnTo>
                  <a:lnTo>
                    <a:pt x="40672" y="160306"/>
                  </a:lnTo>
                  <a:lnTo>
                    <a:pt x="52007" y="136779"/>
                  </a:lnTo>
                  <a:lnTo>
                    <a:pt x="44577" y="124777"/>
                  </a:lnTo>
                  <a:lnTo>
                    <a:pt x="21812" y="113633"/>
                  </a:lnTo>
                  <a:lnTo>
                    <a:pt x="22479" y="107632"/>
                  </a:lnTo>
                  <a:lnTo>
                    <a:pt x="37338" y="100489"/>
                  </a:lnTo>
                  <a:lnTo>
                    <a:pt x="41243" y="73628"/>
                  </a:lnTo>
                  <a:lnTo>
                    <a:pt x="0" y="1524"/>
                  </a:lnTo>
                  <a:lnTo>
                    <a:pt x="10954" y="0"/>
                  </a:lnTo>
                  <a:lnTo>
                    <a:pt x="14859" y="13525"/>
                  </a:lnTo>
                  <a:lnTo>
                    <a:pt x="26766" y="12859"/>
                  </a:lnTo>
                  <a:lnTo>
                    <a:pt x="40672" y="29242"/>
                  </a:lnTo>
                  <a:lnTo>
                    <a:pt x="38576" y="40386"/>
                  </a:lnTo>
                  <a:lnTo>
                    <a:pt x="54102" y="61341"/>
                  </a:lnTo>
                  <a:lnTo>
                    <a:pt x="58198" y="50863"/>
                  </a:lnTo>
                  <a:lnTo>
                    <a:pt x="66961" y="75343"/>
                  </a:lnTo>
                  <a:lnTo>
                    <a:pt x="90202" y="82391"/>
                  </a:lnTo>
                  <a:lnTo>
                    <a:pt x="107728" y="64865"/>
                  </a:lnTo>
                  <a:lnTo>
                    <a:pt x="115919" y="75057"/>
                  </a:lnTo>
                  <a:lnTo>
                    <a:pt x="111919" y="95821"/>
                  </a:lnTo>
                  <a:lnTo>
                    <a:pt x="102108" y="113347"/>
                  </a:lnTo>
                  <a:lnTo>
                    <a:pt x="98965" y="10810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48" name="Freeform: Shape 2638">
              <a:extLst>
                <a:ext uri="{FF2B5EF4-FFF2-40B4-BE49-F238E27FC236}">
                  <a16:creationId xmlns:a16="http://schemas.microsoft.com/office/drawing/2014/main" id="{9B42924A-E365-B73F-BA89-70EA912BBCEA}"/>
                </a:ext>
              </a:extLst>
            </p:cNvPr>
            <p:cNvSpPr/>
            <p:nvPr/>
          </p:nvSpPr>
          <p:spPr>
            <a:xfrm>
              <a:off x="5042534" y="5456237"/>
              <a:ext cx="157162" cy="151161"/>
            </a:xfrm>
            <a:custGeom>
              <a:avLst/>
              <a:gdLst>
                <a:gd name="connsiteX0" fmla="*/ 149924 w 157162"/>
                <a:gd name="connsiteY0" fmla="*/ 12668 h 151161"/>
                <a:gd name="connsiteX1" fmla="*/ 157163 w 157162"/>
                <a:gd name="connsiteY1" fmla="*/ 16478 h 151161"/>
                <a:gd name="connsiteX2" fmla="*/ 149352 w 157162"/>
                <a:gd name="connsiteY2" fmla="*/ 30480 h 151161"/>
                <a:gd name="connsiteX3" fmla="*/ 156115 w 157162"/>
                <a:gd name="connsiteY3" fmla="*/ 36290 h 151161"/>
                <a:gd name="connsiteX4" fmla="*/ 134779 w 157162"/>
                <a:gd name="connsiteY4" fmla="*/ 59912 h 151161"/>
                <a:gd name="connsiteX5" fmla="*/ 124206 w 157162"/>
                <a:gd name="connsiteY5" fmla="*/ 67628 h 151161"/>
                <a:gd name="connsiteX6" fmla="*/ 112300 w 157162"/>
                <a:gd name="connsiteY6" fmla="*/ 73819 h 151161"/>
                <a:gd name="connsiteX7" fmla="*/ 120872 w 157162"/>
                <a:gd name="connsiteY7" fmla="*/ 80200 h 151161"/>
                <a:gd name="connsiteX8" fmla="*/ 118491 w 157162"/>
                <a:gd name="connsiteY8" fmla="*/ 84011 h 151161"/>
                <a:gd name="connsiteX9" fmla="*/ 101441 w 157162"/>
                <a:gd name="connsiteY9" fmla="*/ 84677 h 151161"/>
                <a:gd name="connsiteX10" fmla="*/ 79248 w 157162"/>
                <a:gd name="connsiteY10" fmla="*/ 103918 h 151161"/>
                <a:gd name="connsiteX11" fmla="*/ 76581 w 157162"/>
                <a:gd name="connsiteY11" fmla="*/ 133731 h 151161"/>
                <a:gd name="connsiteX12" fmla="*/ 63722 w 157162"/>
                <a:gd name="connsiteY12" fmla="*/ 147923 h 151161"/>
                <a:gd name="connsiteX13" fmla="*/ 49911 w 157162"/>
                <a:gd name="connsiteY13" fmla="*/ 151162 h 151161"/>
                <a:gd name="connsiteX14" fmla="*/ 24098 w 157162"/>
                <a:gd name="connsiteY14" fmla="*/ 139827 h 151161"/>
                <a:gd name="connsiteX15" fmla="*/ 3620 w 157162"/>
                <a:gd name="connsiteY15" fmla="*/ 139160 h 151161"/>
                <a:gd name="connsiteX16" fmla="*/ 0 w 157162"/>
                <a:gd name="connsiteY16" fmla="*/ 135826 h 151161"/>
                <a:gd name="connsiteX17" fmla="*/ 2858 w 157162"/>
                <a:gd name="connsiteY17" fmla="*/ 126492 h 151161"/>
                <a:gd name="connsiteX18" fmla="*/ 10287 w 157162"/>
                <a:gd name="connsiteY18" fmla="*/ 127540 h 151161"/>
                <a:gd name="connsiteX19" fmla="*/ 4763 w 157162"/>
                <a:gd name="connsiteY19" fmla="*/ 122015 h 151161"/>
                <a:gd name="connsiteX20" fmla="*/ 14097 w 157162"/>
                <a:gd name="connsiteY20" fmla="*/ 107061 h 151161"/>
                <a:gd name="connsiteX21" fmla="*/ 37624 w 157162"/>
                <a:gd name="connsiteY21" fmla="*/ 86392 h 151161"/>
                <a:gd name="connsiteX22" fmla="*/ 54864 w 157162"/>
                <a:gd name="connsiteY22" fmla="*/ 84772 h 151161"/>
                <a:gd name="connsiteX23" fmla="*/ 50863 w 157162"/>
                <a:gd name="connsiteY23" fmla="*/ 82391 h 151161"/>
                <a:gd name="connsiteX24" fmla="*/ 84582 w 157162"/>
                <a:gd name="connsiteY24" fmla="*/ 62770 h 151161"/>
                <a:gd name="connsiteX25" fmla="*/ 98774 w 157162"/>
                <a:gd name="connsiteY25" fmla="*/ 30575 h 151161"/>
                <a:gd name="connsiteX26" fmla="*/ 106299 w 157162"/>
                <a:gd name="connsiteY26" fmla="*/ 28480 h 151161"/>
                <a:gd name="connsiteX27" fmla="*/ 123539 w 157162"/>
                <a:gd name="connsiteY27" fmla="*/ 0 h 151161"/>
                <a:gd name="connsiteX28" fmla="*/ 128778 w 157162"/>
                <a:gd name="connsiteY28" fmla="*/ 857 h 151161"/>
                <a:gd name="connsiteX29" fmla="*/ 129254 w 157162"/>
                <a:gd name="connsiteY29" fmla="*/ 11430 h 151161"/>
                <a:gd name="connsiteX30" fmla="*/ 139065 w 157162"/>
                <a:gd name="connsiteY30" fmla="*/ 20955 h 151161"/>
                <a:gd name="connsiteX31" fmla="*/ 149924 w 157162"/>
                <a:gd name="connsiteY31" fmla="*/ 12668 h 15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7162" h="151161">
                  <a:moveTo>
                    <a:pt x="149924" y="12668"/>
                  </a:moveTo>
                  <a:lnTo>
                    <a:pt x="157163" y="16478"/>
                  </a:lnTo>
                  <a:lnTo>
                    <a:pt x="149352" y="30480"/>
                  </a:lnTo>
                  <a:lnTo>
                    <a:pt x="156115" y="36290"/>
                  </a:lnTo>
                  <a:lnTo>
                    <a:pt x="134779" y="59912"/>
                  </a:lnTo>
                  <a:lnTo>
                    <a:pt x="124206" y="67628"/>
                  </a:lnTo>
                  <a:lnTo>
                    <a:pt x="112300" y="73819"/>
                  </a:lnTo>
                  <a:lnTo>
                    <a:pt x="120872" y="80200"/>
                  </a:lnTo>
                  <a:lnTo>
                    <a:pt x="118491" y="84011"/>
                  </a:lnTo>
                  <a:lnTo>
                    <a:pt x="101441" y="84677"/>
                  </a:lnTo>
                  <a:lnTo>
                    <a:pt x="79248" y="103918"/>
                  </a:lnTo>
                  <a:lnTo>
                    <a:pt x="76581" y="133731"/>
                  </a:lnTo>
                  <a:lnTo>
                    <a:pt x="63722" y="147923"/>
                  </a:lnTo>
                  <a:lnTo>
                    <a:pt x="49911" y="151162"/>
                  </a:lnTo>
                  <a:lnTo>
                    <a:pt x="24098" y="139827"/>
                  </a:lnTo>
                  <a:lnTo>
                    <a:pt x="3620" y="139160"/>
                  </a:lnTo>
                  <a:lnTo>
                    <a:pt x="0" y="135826"/>
                  </a:lnTo>
                  <a:lnTo>
                    <a:pt x="2858" y="126492"/>
                  </a:lnTo>
                  <a:lnTo>
                    <a:pt x="10287" y="127540"/>
                  </a:lnTo>
                  <a:lnTo>
                    <a:pt x="4763" y="122015"/>
                  </a:lnTo>
                  <a:lnTo>
                    <a:pt x="14097" y="107061"/>
                  </a:lnTo>
                  <a:lnTo>
                    <a:pt x="37624" y="86392"/>
                  </a:lnTo>
                  <a:lnTo>
                    <a:pt x="54864" y="84772"/>
                  </a:lnTo>
                  <a:lnTo>
                    <a:pt x="50863" y="82391"/>
                  </a:lnTo>
                  <a:lnTo>
                    <a:pt x="84582" y="62770"/>
                  </a:lnTo>
                  <a:lnTo>
                    <a:pt x="98774" y="30575"/>
                  </a:lnTo>
                  <a:lnTo>
                    <a:pt x="106299" y="28480"/>
                  </a:lnTo>
                  <a:lnTo>
                    <a:pt x="123539" y="0"/>
                  </a:lnTo>
                  <a:lnTo>
                    <a:pt x="128778" y="857"/>
                  </a:lnTo>
                  <a:lnTo>
                    <a:pt x="129254" y="11430"/>
                  </a:lnTo>
                  <a:lnTo>
                    <a:pt x="139065" y="20955"/>
                  </a:lnTo>
                  <a:lnTo>
                    <a:pt x="149924" y="1266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49" name="Freeform: Shape 2639">
              <a:extLst>
                <a:ext uri="{FF2B5EF4-FFF2-40B4-BE49-F238E27FC236}">
                  <a16:creationId xmlns:a16="http://schemas.microsoft.com/office/drawing/2014/main" id="{719AB597-3837-77C4-045A-8B8D8ACD261E}"/>
                </a:ext>
              </a:extLst>
            </p:cNvPr>
            <p:cNvSpPr/>
            <p:nvPr/>
          </p:nvSpPr>
          <p:spPr>
            <a:xfrm>
              <a:off x="4985384" y="5009895"/>
              <a:ext cx="67722" cy="52197"/>
            </a:xfrm>
            <a:custGeom>
              <a:avLst/>
              <a:gdLst>
                <a:gd name="connsiteX0" fmla="*/ 0 w 67722"/>
                <a:gd name="connsiteY0" fmla="*/ 2667 h 52197"/>
                <a:gd name="connsiteX1" fmla="*/ 8192 w 67722"/>
                <a:gd name="connsiteY1" fmla="*/ 0 h 52197"/>
                <a:gd name="connsiteX2" fmla="*/ 32099 w 67722"/>
                <a:gd name="connsiteY2" fmla="*/ 16097 h 52197"/>
                <a:gd name="connsiteX3" fmla="*/ 40291 w 67722"/>
                <a:gd name="connsiteY3" fmla="*/ 26956 h 52197"/>
                <a:gd name="connsiteX4" fmla="*/ 66389 w 67722"/>
                <a:gd name="connsiteY4" fmla="*/ 44196 h 52197"/>
                <a:gd name="connsiteX5" fmla="*/ 67723 w 67722"/>
                <a:gd name="connsiteY5" fmla="*/ 48673 h 52197"/>
                <a:gd name="connsiteX6" fmla="*/ 57150 w 67722"/>
                <a:gd name="connsiteY6" fmla="*/ 52197 h 52197"/>
                <a:gd name="connsiteX7" fmla="*/ 56197 w 67722"/>
                <a:gd name="connsiteY7" fmla="*/ 45911 h 52197"/>
                <a:gd name="connsiteX8" fmla="*/ 26479 w 67722"/>
                <a:gd name="connsiteY8" fmla="*/ 30861 h 52197"/>
                <a:gd name="connsiteX9" fmla="*/ 0 w 67722"/>
                <a:gd name="connsiteY9" fmla="*/ 2667 h 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22" h="52197">
                  <a:moveTo>
                    <a:pt x="0" y="2667"/>
                  </a:moveTo>
                  <a:lnTo>
                    <a:pt x="8192" y="0"/>
                  </a:lnTo>
                  <a:lnTo>
                    <a:pt x="32099" y="16097"/>
                  </a:lnTo>
                  <a:lnTo>
                    <a:pt x="40291" y="26956"/>
                  </a:lnTo>
                  <a:lnTo>
                    <a:pt x="66389" y="44196"/>
                  </a:lnTo>
                  <a:lnTo>
                    <a:pt x="67723" y="48673"/>
                  </a:lnTo>
                  <a:lnTo>
                    <a:pt x="57150" y="52197"/>
                  </a:lnTo>
                  <a:lnTo>
                    <a:pt x="56197" y="45911"/>
                  </a:lnTo>
                  <a:lnTo>
                    <a:pt x="26479" y="30861"/>
                  </a:lnTo>
                  <a:lnTo>
                    <a:pt x="0" y="26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0" name="Freeform: Shape 2640">
              <a:extLst>
                <a:ext uri="{FF2B5EF4-FFF2-40B4-BE49-F238E27FC236}">
                  <a16:creationId xmlns:a16="http://schemas.microsoft.com/office/drawing/2014/main" id="{DBD37F66-9E73-5620-5605-4CCB4167FD75}"/>
                </a:ext>
              </a:extLst>
            </p:cNvPr>
            <p:cNvSpPr/>
            <p:nvPr/>
          </p:nvSpPr>
          <p:spPr>
            <a:xfrm>
              <a:off x="4803457" y="4709001"/>
              <a:ext cx="26003" cy="37242"/>
            </a:xfrm>
            <a:custGeom>
              <a:avLst/>
              <a:gdLst>
                <a:gd name="connsiteX0" fmla="*/ 1334 w 26003"/>
                <a:gd name="connsiteY0" fmla="*/ 16859 h 37242"/>
                <a:gd name="connsiteX1" fmla="*/ 12383 w 26003"/>
                <a:gd name="connsiteY1" fmla="*/ 26289 h 37242"/>
                <a:gd name="connsiteX2" fmla="*/ 11906 w 26003"/>
                <a:gd name="connsiteY2" fmla="*/ 31337 h 37242"/>
                <a:gd name="connsiteX3" fmla="*/ 22574 w 26003"/>
                <a:gd name="connsiteY3" fmla="*/ 37243 h 37242"/>
                <a:gd name="connsiteX4" fmla="*/ 26003 w 26003"/>
                <a:gd name="connsiteY4" fmla="*/ 30194 h 37242"/>
                <a:gd name="connsiteX5" fmla="*/ 0 w 26003"/>
                <a:gd name="connsiteY5" fmla="*/ 0 h 37242"/>
                <a:gd name="connsiteX6" fmla="*/ 1334 w 26003"/>
                <a:gd name="connsiteY6" fmla="*/ 16859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03" h="37242">
                  <a:moveTo>
                    <a:pt x="1334" y="16859"/>
                  </a:moveTo>
                  <a:lnTo>
                    <a:pt x="12383" y="26289"/>
                  </a:lnTo>
                  <a:lnTo>
                    <a:pt x="11906" y="31337"/>
                  </a:lnTo>
                  <a:lnTo>
                    <a:pt x="22574" y="37243"/>
                  </a:lnTo>
                  <a:lnTo>
                    <a:pt x="26003" y="30194"/>
                  </a:lnTo>
                  <a:lnTo>
                    <a:pt x="0" y="0"/>
                  </a:lnTo>
                  <a:lnTo>
                    <a:pt x="1334" y="1685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1" name="Freeform: Shape 2641">
              <a:extLst>
                <a:ext uri="{FF2B5EF4-FFF2-40B4-BE49-F238E27FC236}">
                  <a16:creationId xmlns:a16="http://schemas.microsoft.com/office/drawing/2014/main" id="{89D2B9B3-F812-7AAB-DC6D-30B6889FD119}"/>
                </a:ext>
              </a:extLst>
            </p:cNvPr>
            <p:cNvSpPr/>
            <p:nvPr/>
          </p:nvSpPr>
          <p:spPr>
            <a:xfrm>
              <a:off x="4898516" y="4792059"/>
              <a:ext cx="28289" cy="15811"/>
            </a:xfrm>
            <a:custGeom>
              <a:avLst/>
              <a:gdLst>
                <a:gd name="connsiteX0" fmla="*/ 0 w 28289"/>
                <a:gd name="connsiteY0" fmla="*/ 0 h 15811"/>
                <a:gd name="connsiteX1" fmla="*/ 16669 w 28289"/>
                <a:gd name="connsiteY1" fmla="*/ 2667 h 15811"/>
                <a:gd name="connsiteX2" fmla="*/ 28289 w 28289"/>
                <a:gd name="connsiteY2" fmla="*/ 12478 h 15811"/>
                <a:gd name="connsiteX3" fmla="*/ 22670 w 28289"/>
                <a:gd name="connsiteY3" fmla="*/ 15812 h 15811"/>
                <a:gd name="connsiteX4" fmla="*/ 6096 w 28289"/>
                <a:gd name="connsiteY4" fmla="*/ 10287 h 15811"/>
                <a:gd name="connsiteX5" fmla="*/ 0 w 28289"/>
                <a:gd name="connsiteY5" fmla="*/ 0 h 1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89" h="15811">
                  <a:moveTo>
                    <a:pt x="0" y="0"/>
                  </a:moveTo>
                  <a:lnTo>
                    <a:pt x="16669" y="2667"/>
                  </a:lnTo>
                  <a:lnTo>
                    <a:pt x="28289" y="12478"/>
                  </a:lnTo>
                  <a:lnTo>
                    <a:pt x="22670" y="15812"/>
                  </a:lnTo>
                  <a:lnTo>
                    <a:pt x="6096" y="10287"/>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2" name="Freeform: Shape 2642">
              <a:extLst>
                <a:ext uri="{FF2B5EF4-FFF2-40B4-BE49-F238E27FC236}">
                  <a16:creationId xmlns:a16="http://schemas.microsoft.com/office/drawing/2014/main" id="{D7B23E87-0D51-4BDF-AC36-F6F3A08DB897}"/>
                </a:ext>
              </a:extLst>
            </p:cNvPr>
            <p:cNvSpPr/>
            <p:nvPr/>
          </p:nvSpPr>
          <p:spPr>
            <a:xfrm>
              <a:off x="4875657" y="4754816"/>
              <a:ext cx="32384" cy="28194"/>
            </a:xfrm>
            <a:custGeom>
              <a:avLst/>
              <a:gdLst>
                <a:gd name="connsiteX0" fmla="*/ 0 w 32384"/>
                <a:gd name="connsiteY0" fmla="*/ 0 h 28194"/>
                <a:gd name="connsiteX1" fmla="*/ 32385 w 32384"/>
                <a:gd name="connsiteY1" fmla="*/ 17621 h 28194"/>
                <a:gd name="connsiteX2" fmla="*/ 32385 w 32384"/>
                <a:gd name="connsiteY2" fmla="*/ 28194 h 28194"/>
                <a:gd name="connsiteX3" fmla="*/ 1810 w 32384"/>
                <a:gd name="connsiteY3" fmla="*/ 9525 h 28194"/>
                <a:gd name="connsiteX4" fmla="*/ 0 w 32384"/>
                <a:gd name="connsiteY4" fmla="*/ 0 h 28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4" h="28194">
                  <a:moveTo>
                    <a:pt x="0" y="0"/>
                  </a:moveTo>
                  <a:lnTo>
                    <a:pt x="32385" y="17621"/>
                  </a:lnTo>
                  <a:lnTo>
                    <a:pt x="32385" y="28194"/>
                  </a:lnTo>
                  <a:lnTo>
                    <a:pt x="1810" y="9525"/>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3" name="Freeform: Shape 2643">
              <a:extLst>
                <a:ext uri="{FF2B5EF4-FFF2-40B4-BE49-F238E27FC236}">
                  <a16:creationId xmlns:a16="http://schemas.microsoft.com/office/drawing/2014/main" id="{E2791F06-AF4E-4203-4CDC-8153EEC56279}"/>
                </a:ext>
              </a:extLst>
            </p:cNvPr>
            <p:cNvSpPr/>
            <p:nvPr/>
          </p:nvSpPr>
          <p:spPr>
            <a:xfrm>
              <a:off x="4840700" y="4757864"/>
              <a:ext cx="35909" cy="26003"/>
            </a:xfrm>
            <a:custGeom>
              <a:avLst/>
              <a:gdLst>
                <a:gd name="connsiteX0" fmla="*/ 0 w 35909"/>
                <a:gd name="connsiteY0" fmla="*/ 0 h 26003"/>
                <a:gd name="connsiteX1" fmla="*/ 12763 w 35909"/>
                <a:gd name="connsiteY1" fmla="*/ 7525 h 26003"/>
                <a:gd name="connsiteX2" fmla="*/ 13145 w 35909"/>
                <a:gd name="connsiteY2" fmla="*/ 12763 h 26003"/>
                <a:gd name="connsiteX3" fmla="*/ 25432 w 35909"/>
                <a:gd name="connsiteY3" fmla="*/ 11335 h 26003"/>
                <a:gd name="connsiteX4" fmla="*/ 35909 w 35909"/>
                <a:gd name="connsiteY4" fmla="*/ 21812 h 26003"/>
                <a:gd name="connsiteX5" fmla="*/ 30099 w 35909"/>
                <a:gd name="connsiteY5" fmla="*/ 26003 h 26003"/>
                <a:gd name="connsiteX6" fmla="*/ 9144 w 35909"/>
                <a:gd name="connsiteY6" fmla="*/ 14573 h 26003"/>
                <a:gd name="connsiteX7" fmla="*/ 0 w 35909"/>
                <a:gd name="connsiteY7" fmla="*/ 0 h 2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09" h="26003">
                  <a:moveTo>
                    <a:pt x="0" y="0"/>
                  </a:moveTo>
                  <a:lnTo>
                    <a:pt x="12763" y="7525"/>
                  </a:lnTo>
                  <a:lnTo>
                    <a:pt x="13145" y="12763"/>
                  </a:lnTo>
                  <a:lnTo>
                    <a:pt x="25432" y="11335"/>
                  </a:lnTo>
                  <a:lnTo>
                    <a:pt x="35909" y="21812"/>
                  </a:lnTo>
                  <a:lnTo>
                    <a:pt x="30099" y="26003"/>
                  </a:lnTo>
                  <a:lnTo>
                    <a:pt x="9144" y="14573"/>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4" name="Freeform: Shape 2644">
              <a:extLst>
                <a:ext uri="{FF2B5EF4-FFF2-40B4-BE49-F238E27FC236}">
                  <a16:creationId xmlns:a16="http://schemas.microsoft.com/office/drawing/2014/main" id="{213E140B-5C6A-61CD-6AA7-D9D171ECA31E}"/>
                </a:ext>
              </a:extLst>
            </p:cNvPr>
            <p:cNvSpPr/>
            <p:nvPr/>
          </p:nvSpPr>
          <p:spPr>
            <a:xfrm>
              <a:off x="4942236" y="4814633"/>
              <a:ext cx="18764" cy="11334"/>
            </a:xfrm>
            <a:custGeom>
              <a:avLst/>
              <a:gdLst>
                <a:gd name="connsiteX0" fmla="*/ 0 w 18764"/>
                <a:gd name="connsiteY0" fmla="*/ 0 h 11334"/>
                <a:gd name="connsiteX1" fmla="*/ 0 w 18764"/>
                <a:gd name="connsiteY1" fmla="*/ 11335 h 11334"/>
                <a:gd name="connsiteX2" fmla="*/ 18764 w 18764"/>
                <a:gd name="connsiteY2" fmla="*/ 11335 h 11334"/>
                <a:gd name="connsiteX3" fmla="*/ 0 w 18764"/>
                <a:gd name="connsiteY3" fmla="*/ 0 h 11334"/>
              </a:gdLst>
              <a:ahLst/>
              <a:cxnLst>
                <a:cxn ang="0">
                  <a:pos x="connsiteX0" y="connsiteY0"/>
                </a:cxn>
                <a:cxn ang="0">
                  <a:pos x="connsiteX1" y="connsiteY1"/>
                </a:cxn>
                <a:cxn ang="0">
                  <a:pos x="connsiteX2" y="connsiteY2"/>
                </a:cxn>
                <a:cxn ang="0">
                  <a:pos x="connsiteX3" y="connsiteY3"/>
                </a:cxn>
              </a:cxnLst>
              <a:rect l="l" t="t" r="r" b="b"/>
              <a:pathLst>
                <a:path w="18764" h="11334">
                  <a:moveTo>
                    <a:pt x="0" y="0"/>
                  </a:moveTo>
                  <a:lnTo>
                    <a:pt x="0" y="11335"/>
                  </a:lnTo>
                  <a:lnTo>
                    <a:pt x="18764" y="11335"/>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5" name="Freeform: Shape 2645">
              <a:extLst>
                <a:ext uri="{FF2B5EF4-FFF2-40B4-BE49-F238E27FC236}">
                  <a16:creationId xmlns:a16="http://schemas.microsoft.com/office/drawing/2014/main" id="{BDB6B14D-0B3B-A092-08FB-0122B1069D97}"/>
                </a:ext>
              </a:extLst>
            </p:cNvPr>
            <p:cNvSpPr/>
            <p:nvPr/>
          </p:nvSpPr>
          <p:spPr>
            <a:xfrm>
              <a:off x="4921567" y="4772437"/>
              <a:ext cx="19145" cy="31718"/>
            </a:xfrm>
            <a:custGeom>
              <a:avLst/>
              <a:gdLst>
                <a:gd name="connsiteX0" fmla="*/ 0 w 19145"/>
                <a:gd name="connsiteY0" fmla="*/ 0 h 31718"/>
                <a:gd name="connsiteX1" fmla="*/ 9430 w 19145"/>
                <a:gd name="connsiteY1" fmla="*/ 0 h 31718"/>
                <a:gd name="connsiteX2" fmla="*/ 19145 w 19145"/>
                <a:gd name="connsiteY2" fmla="*/ 31718 h 31718"/>
                <a:gd name="connsiteX3" fmla="*/ 3429 w 19145"/>
                <a:gd name="connsiteY3" fmla="*/ 16288 h 31718"/>
                <a:gd name="connsiteX4" fmla="*/ 0 w 19145"/>
                <a:gd name="connsiteY4" fmla="*/ 0 h 31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5" h="31718">
                  <a:moveTo>
                    <a:pt x="0" y="0"/>
                  </a:moveTo>
                  <a:lnTo>
                    <a:pt x="9430" y="0"/>
                  </a:lnTo>
                  <a:lnTo>
                    <a:pt x="19145" y="31718"/>
                  </a:lnTo>
                  <a:lnTo>
                    <a:pt x="3429" y="16288"/>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6" name="Freeform: Shape 2646">
              <a:extLst>
                <a:ext uri="{FF2B5EF4-FFF2-40B4-BE49-F238E27FC236}">
                  <a16:creationId xmlns:a16="http://schemas.microsoft.com/office/drawing/2014/main" id="{A3DAD07E-FB8C-D653-5DF0-195B161F6C7B}"/>
                </a:ext>
              </a:extLst>
            </p:cNvPr>
            <p:cNvSpPr/>
            <p:nvPr/>
          </p:nvSpPr>
          <p:spPr>
            <a:xfrm>
              <a:off x="5250084" y="4956746"/>
              <a:ext cx="34480" cy="17811"/>
            </a:xfrm>
            <a:custGeom>
              <a:avLst/>
              <a:gdLst>
                <a:gd name="connsiteX0" fmla="*/ 20669 w 34480"/>
                <a:gd name="connsiteY0" fmla="*/ 17812 h 17811"/>
                <a:gd name="connsiteX1" fmla="*/ 20669 w 34480"/>
                <a:gd name="connsiteY1" fmla="*/ 17812 h 17811"/>
                <a:gd name="connsiteX2" fmla="*/ 0 w 34480"/>
                <a:gd name="connsiteY2" fmla="*/ 8763 h 17811"/>
                <a:gd name="connsiteX3" fmla="*/ 16669 w 34480"/>
                <a:gd name="connsiteY3" fmla="*/ 0 h 17811"/>
                <a:gd name="connsiteX4" fmla="*/ 34480 w 34480"/>
                <a:gd name="connsiteY4" fmla="*/ 12478 h 17811"/>
                <a:gd name="connsiteX5" fmla="*/ 20669 w 34480"/>
                <a:gd name="connsiteY5" fmla="*/ 17812 h 1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80" h="17811">
                  <a:moveTo>
                    <a:pt x="20669" y="17812"/>
                  </a:moveTo>
                  <a:lnTo>
                    <a:pt x="20669" y="17812"/>
                  </a:lnTo>
                  <a:lnTo>
                    <a:pt x="0" y="8763"/>
                  </a:lnTo>
                  <a:lnTo>
                    <a:pt x="16669" y="0"/>
                  </a:lnTo>
                  <a:lnTo>
                    <a:pt x="34480" y="12478"/>
                  </a:lnTo>
                  <a:lnTo>
                    <a:pt x="20669" y="1781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7" name="Freeform: Shape 2647">
              <a:extLst>
                <a:ext uri="{FF2B5EF4-FFF2-40B4-BE49-F238E27FC236}">
                  <a16:creationId xmlns:a16="http://schemas.microsoft.com/office/drawing/2014/main" id="{57FE1D32-51DE-D784-EA08-15545A6C4194}"/>
                </a:ext>
              </a:extLst>
            </p:cNvPr>
            <p:cNvSpPr/>
            <p:nvPr/>
          </p:nvSpPr>
          <p:spPr>
            <a:xfrm>
              <a:off x="5277802" y="4923599"/>
              <a:ext cx="31432" cy="23431"/>
            </a:xfrm>
            <a:custGeom>
              <a:avLst/>
              <a:gdLst>
                <a:gd name="connsiteX0" fmla="*/ 0 w 31432"/>
                <a:gd name="connsiteY0" fmla="*/ 12573 h 23431"/>
                <a:gd name="connsiteX1" fmla="*/ 31432 w 31432"/>
                <a:gd name="connsiteY1" fmla="*/ 0 h 23431"/>
                <a:gd name="connsiteX2" fmla="*/ 23908 w 31432"/>
                <a:gd name="connsiteY2" fmla="*/ 15907 h 23431"/>
                <a:gd name="connsiteX3" fmla="*/ 571 w 31432"/>
                <a:gd name="connsiteY3" fmla="*/ 23431 h 23431"/>
                <a:gd name="connsiteX4" fmla="*/ 0 w 31432"/>
                <a:gd name="connsiteY4" fmla="*/ 12573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 h="23431">
                  <a:moveTo>
                    <a:pt x="0" y="12573"/>
                  </a:moveTo>
                  <a:lnTo>
                    <a:pt x="31432" y="0"/>
                  </a:lnTo>
                  <a:lnTo>
                    <a:pt x="23908" y="15907"/>
                  </a:lnTo>
                  <a:lnTo>
                    <a:pt x="571" y="23431"/>
                  </a:lnTo>
                  <a:lnTo>
                    <a:pt x="0" y="1257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8" name="Freeform: Shape 2648">
              <a:extLst>
                <a:ext uri="{FF2B5EF4-FFF2-40B4-BE49-F238E27FC236}">
                  <a16:creationId xmlns:a16="http://schemas.microsoft.com/office/drawing/2014/main" id="{93F814FE-8F21-811F-6EF4-5F6A042931A5}"/>
                </a:ext>
              </a:extLst>
            </p:cNvPr>
            <p:cNvSpPr/>
            <p:nvPr/>
          </p:nvSpPr>
          <p:spPr>
            <a:xfrm>
              <a:off x="4610290" y="5456809"/>
              <a:ext cx="73628" cy="73247"/>
            </a:xfrm>
            <a:custGeom>
              <a:avLst/>
              <a:gdLst>
                <a:gd name="connsiteX0" fmla="*/ 21812 w 73628"/>
                <a:gd name="connsiteY0" fmla="*/ 64294 h 73247"/>
                <a:gd name="connsiteX1" fmla="*/ 21812 w 73628"/>
                <a:gd name="connsiteY1" fmla="*/ 64294 h 73247"/>
                <a:gd name="connsiteX2" fmla="*/ 10954 w 73628"/>
                <a:gd name="connsiteY2" fmla="*/ 47530 h 73247"/>
                <a:gd name="connsiteX3" fmla="*/ 10287 w 73628"/>
                <a:gd name="connsiteY3" fmla="*/ 41053 h 73247"/>
                <a:gd name="connsiteX4" fmla="*/ 17812 w 73628"/>
                <a:gd name="connsiteY4" fmla="*/ 45053 h 73247"/>
                <a:gd name="connsiteX5" fmla="*/ 0 w 73628"/>
                <a:gd name="connsiteY5" fmla="*/ 17336 h 73247"/>
                <a:gd name="connsiteX6" fmla="*/ 1238 w 73628"/>
                <a:gd name="connsiteY6" fmla="*/ 0 h 73247"/>
                <a:gd name="connsiteX7" fmla="*/ 9430 w 73628"/>
                <a:gd name="connsiteY7" fmla="*/ 11525 h 73247"/>
                <a:gd name="connsiteX8" fmla="*/ 11906 w 73628"/>
                <a:gd name="connsiteY8" fmla="*/ 5144 h 73247"/>
                <a:gd name="connsiteX9" fmla="*/ 48578 w 73628"/>
                <a:gd name="connsiteY9" fmla="*/ 21812 h 73247"/>
                <a:gd name="connsiteX10" fmla="*/ 73057 w 73628"/>
                <a:gd name="connsiteY10" fmla="*/ 10858 h 73247"/>
                <a:gd name="connsiteX11" fmla="*/ 73628 w 73628"/>
                <a:gd name="connsiteY11" fmla="*/ 40577 h 73247"/>
                <a:gd name="connsiteX12" fmla="*/ 65723 w 73628"/>
                <a:gd name="connsiteY12" fmla="*/ 65056 h 73247"/>
                <a:gd name="connsiteX13" fmla="*/ 52197 w 73628"/>
                <a:gd name="connsiteY13" fmla="*/ 55245 h 73247"/>
                <a:gd name="connsiteX14" fmla="*/ 46101 w 73628"/>
                <a:gd name="connsiteY14" fmla="*/ 73247 h 73247"/>
                <a:gd name="connsiteX15" fmla="*/ 21812 w 73628"/>
                <a:gd name="connsiteY15" fmla="*/ 64294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628" h="73247">
                  <a:moveTo>
                    <a:pt x="21812" y="64294"/>
                  </a:moveTo>
                  <a:lnTo>
                    <a:pt x="21812" y="64294"/>
                  </a:lnTo>
                  <a:lnTo>
                    <a:pt x="10954" y="47530"/>
                  </a:lnTo>
                  <a:lnTo>
                    <a:pt x="10287" y="41053"/>
                  </a:lnTo>
                  <a:lnTo>
                    <a:pt x="17812" y="45053"/>
                  </a:lnTo>
                  <a:lnTo>
                    <a:pt x="0" y="17336"/>
                  </a:lnTo>
                  <a:lnTo>
                    <a:pt x="1238" y="0"/>
                  </a:lnTo>
                  <a:lnTo>
                    <a:pt x="9430" y="11525"/>
                  </a:lnTo>
                  <a:lnTo>
                    <a:pt x="11906" y="5144"/>
                  </a:lnTo>
                  <a:lnTo>
                    <a:pt x="48578" y="21812"/>
                  </a:lnTo>
                  <a:lnTo>
                    <a:pt x="73057" y="10858"/>
                  </a:lnTo>
                  <a:lnTo>
                    <a:pt x="73628" y="40577"/>
                  </a:lnTo>
                  <a:lnTo>
                    <a:pt x="65723" y="65056"/>
                  </a:lnTo>
                  <a:lnTo>
                    <a:pt x="52197" y="55245"/>
                  </a:lnTo>
                  <a:lnTo>
                    <a:pt x="46101" y="73247"/>
                  </a:lnTo>
                  <a:lnTo>
                    <a:pt x="21812" y="6429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59" name="Freeform: Shape 2649">
              <a:extLst>
                <a:ext uri="{FF2B5EF4-FFF2-40B4-BE49-F238E27FC236}">
                  <a16:creationId xmlns:a16="http://schemas.microsoft.com/office/drawing/2014/main" id="{5F1BC0DC-A348-9FA0-996B-730258C6D32B}"/>
                </a:ext>
              </a:extLst>
            </p:cNvPr>
            <p:cNvSpPr/>
            <p:nvPr/>
          </p:nvSpPr>
          <p:spPr>
            <a:xfrm>
              <a:off x="4327302" y="4831492"/>
              <a:ext cx="20859" cy="14858"/>
            </a:xfrm>
            <a:custGeom>
              <a:avLst/>
              <a:gdLst>
                <a:gd name="connsiteX0" fmla="*/ 10954 w 20859"/>
                <a:gd name="connsiteY0" fmla="*/ 14859 h 14858"/>
                <a:gd name="connsiteX1" fmla="*/ 20860 w 20859"/>
                <a:gd name="connsiteY1" fmla="*/ 2000 h 14858"/>
                <a:gd name="connsiteX2" fmla="*/ 0 w 20859"/>
                <a:gd name="connsiteY2" fmla="*/ 0 h 14858"/>
                <a:gd name="connsiteX3" fmla="*/ 10954 w 20859"/>
                <a:gd name="connsiteY3" fmla="*/ 14859 h 14858"/>
              </a:gdLst>
              <a:ahLst/>
              <a:cxnLst>
                <a:cxn ang="0">
                  <a:pos x="connsiteX0" y="connsiteY0"/>
                </a:cxn>
                <a:cxn ang="0">
                  <a:pos x="connsiteX1" y="connsiteY1"/>
                </a:cxn>
                <a:cxn ang="0">
                  <a:pos x="connsiteX2" y="connsiteY2"/>
                </a:cxn>
                <a:cxn ang="0">
                  <a:pos x="connsiteX3" y="connsiteY3"/>
                </a:cxn>
              </a:cxnLst>
              <a:rect l="l" t="t" r="r" b="b"/>
              <a:pathLst>
                <a:path w="20859" h="14858">
                  <a:moveTo>
                    <a:pt x="10954" y="14859"/>
                  </a:moveTo>
                  <a:lnTo>
                    <a:pt x="20860" y="2000"/>
                  </a:lnTo>
                  <a:lnTo>
                    <a:pt x="0" y="0"/>
                  </a:lnTo>
                  <a:lnTo>
                    <a:pt x="10954" y="1485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0" name="Freeform: Shape 2650">
              <a:extLst>
                <a:ext uri="{FF2B5EF4-FFF2-40B4-BE49-F238E27FC236}">
                  <a16:creationId xmlns:a16="http://schemas.microsoft.com/office/drawing/2014/main" id="{163F203C-B07E-BC94-6D35-C1542A6910AB}"/>
                </a:ext>
              </a:extLst>
            </p:cNvPr>
            <p:cNvSpPr/>
            <p:nvPr/>
          </p:nvSpPr>
          <p:spPr>
            <a:xfrm>
              <a:off x="3983640" y="4822729"/>
              <a:ext cx="804005" cy="602456"/>
            </a:xfrm>
            <a:custGeom>
              <a:avLst/>
              <a:gdLst>
                <a:gd name="connsiteX0" fmla="*/ 799529 w 804005"/>
                <a:gd name="connsiteY0" fmla="*/ 354711 h 602456"/>
                <a:gd name="connsiteX1" fmla="*/ 799052 w 804005"/>
                <a:gd name="connsiteY1" fmla="*/ 352996 h 602456"/>
                <a:gd name="connsiteX2" fmla="*/ 792099 w 804005"/>
                <a:gd name="connsiteY2" fmla="*/ 340995 h 602456"/>
                <a:gd name="connsiteX3" fmla="*/ 795433 w 804005"/>
                <a:gd name="connsiteY3" fmla="*/ 312611 h 602456"/>
                <a:gd name="connsiteX4" fmla="*/ 790099 w 804005"/>
                <a:gd name="connsiteY4" fmla="*/ 298609 h 602456"/>
                <a:gd name="connsiteX5" fmla="*/ 782860 w 804005"/>
                <a:gd name="connsiteY5" fmla="*/ 295846 h 602456"/>
                <a:gd name="connsiteX6" fmla="*/ 769620 w 804005"/>
                <a:gd name="connsiteY6" fmla="*/ 275463 h 602456"/>
                <a:gd name="connsiteX7" fmla="*/ 745236 w 804005"/>
                <a:gd name="connsiteY7" fmla="*/ 261080 h 602456"/>
                <a:gd name="connsiteX8" fmla="*/ 750189 w 804005"/>
                <a:gd name="connsiteY8" fmla="*/ 257365 h 602456"/>
                <a:gd name="connsiteX9" fmla="*/ 748189 w 804005"/>
                <a:gd name="connsiteY9" fmla="*/ 240411 h 602456"/>
                <a:gd name="connsiteX10" fmla="*/ 732568 w 804005"/>
                <a:gd name="connsiteY10" fmla="*/ 231553 h 602456"/>
                <a:gd name="connsiteX11" fmla="*/ 730567 w 804005"/>
                <a:gd name="connsiteY11" fmla="*/ 240887 h 602456"/>
                <a:gd name="connsiteX12" fmla="*/ 722471 w 804005"/>
                <a:gd name="connsiteY12" fmla="*/ 219361 h 602456"/>
                <a:gd name="connsiteX13" fmla="*/ 716471 w 804005"/>
                <a:gd name="connsiteY13" fmla="*/ 209264 h 602456"/>
                <a:gd name="connsiteX14" fmla="*/ 706279 w 804005"/>
                <a:gd name="connsiteY14" fmla="*/ 201168 h 602456"/>
                <a:gd name="connsiteX15" fmla="*/ 708279 w 804005"/>
                <a:gd name="connsiteY15" fmla="*/ 192405 h 602456"/>
                <a:gd name="connsiteX16" fmla="*/ 684847 w 804005"/>
                <a:gd name="connsiteY16" fmla="*/ 181832 h 602456"/>
                <a:gd name="connsiteX17" fmla="*/ 681799 w 804005"/>
                <a:gd name="connsiteY17" fmla="*/ 173164 h 602456"/>
                <a:gd name="connsiteX18" fmla="*/ 675513 w 804005"/>
                <a:gd name="connsiteY18" fmla="*/ 175165 h 602456"/>
                <a:gd name="connsiteX19" fmla="*/ 658749 w 804005"/>
                <a:gd name="connsiteY19" fmla="*/ 164306 h 602456"/>
                <a:gd name="connsiteX20" fmla="*/ 655701 w 804005"/>
                <a:gd name="connsiteY20" fmla="*/ 139732 h 602456"/>
                <a:gd name="connsiteX21" fmla="*/ 651796 w 804005"/>
                <a:gd name="connsiteY21" fmla="*/ 123825 h 602456"/>
                <a:gd name="connsiteX22" fmla="*/ 641223 w 804005"/>
                <a:gd name="connsiteY22" fmla="*/ 115062 h 602456"/>
                <a:gd name="connsiteX23" fmla="*/ 640556 w 804005"/>
                <a:gd name="connsiteY23" fmla="*/ 85058 h 602456"/>
                <a:gd name="connsiteX24" fmla="*/ 623697 w 804005"/>
                <a:gd name="connsiteY24" fmla="*/ 68866 h 602456"/>
                <a:gd name="connsiteX25" fmla="*/ 609219 w 804005"/>
                <a:gd name="connsiteY25" fmla="*/ 73247 h 602456"/>
                <a:gd name="connsiteX26" fmla="*/ 604552 w 804005"/>
                <a:gd name="connsiteY26" fmla="*/ 61436 h 602456"/>
                <a:gd name="connsiteX27" fmla="*/ 604552 w 804005"/>
                <a:gd name="connsiteY27" fmla="*/ 42863 h 602456"/>
                <a:gd name="connsiteX28" fmla="*/ 598456 w 804005"/>
                <a:gd name="connsiteY28" fmla="*/ 44101 h 602456"/>
                <a:gd name="connsiteX29" fmla="*/ 583787 w 804005"/>
                <a:gd name="connsiteY29" fmla="*/ 5429 h 602456"/>
                <a:gd name="connsiteX30" fmla="*/ 584454 w 804005"/>
                <a:gd name="connsiteY30" fmla="*/ 0 h 602456"/>
                <a:gd name="connsiteX31" fmla="*/ 576453 w 804005"/>
                <a:gd name="connsiteY31" fmla="*/ 5429 h 602456"/>
                <a:gd name="connsiteX32" fmla="*/ 565880 w 804005"/>
                <a:gd name="connsiteY32" fmla="*/ 36767 h 602456"/>
                <a:gd name="connsiteX33" fmla="*/ 574548 w 804005"/>
                <a:gd name="connsiteY33" fmla="*/ 36767 h 602456"/>
                <a:gd name="connsiteX34" fmla="*/ 565594 w 804005"/>
                <a:gd name="connsiteY34" fmla="*/ 45244 h 602456"/>
                <a:gd name="connsiteX35" fmla="*/ 562927 w 804005"/>
                <a:gd name="connsiteY35" fmla="*/ 62484 h 602456"/>
                <a:gd name="connsiteX36" fmla="*/ 568262 w 804005"/>
                <a:gd name="connsiteY36" fmla="*/ 90488 h 602456"/>
                <a:gd name="connsiteX37" fmla="*/ 551021 w 804005"/>
                <a:gd name="connsiteY37" fmla="*/ 134017 h 602456"/>
                <a:gd name="connsiteX38" fmla="*/ 536162 w 804005"/>
                <a:gd name="connsiteY38" fmla="*/ 140684 h 602456"/>
                <a:gd name="connsiteX39" fmla="*/ 516446 w 804005"/>
                <a:gd name="connsiteY39" fmla="*/ 127445 h 602456"/>
                <a:gd name="connsiteX40" fmla="*/ 517969 w 804005"/>
                <a:gd name="connsiteY40" fmla="*/ 116872 h 602456"/>
                <a:gd name="connsiteX41" fmla="*/ 505111 w 804005"/>
                <a:gd name="connsiteY41" fmla="*/ 121634 h 602456"/>
                <a:gd name="connsiteX42" fmla="*/ 468821 w 804005"/>
                <a:gd name="connsiteY42" fmla="*/ 104585 h 602456"/>
                <a:gd name="connsiteX43" fmla="*/ 458914 w 804005"/>
                <a:gd name="connsiteY43" fmla="*/ 94107 h 602456"/>
                <a:gd name="connsiteX44" fmla="*/ 444055 w 804005"/>
                <a:gd name="connsiteY44" fmla="*/ 85344 h 602456"/>
                <a:gd name="connsiteX45" fmla="*/ 451675 w 804005"/>
                <a:gd name="connsiteY45" fmla="*/ 57340 h 602456"/>
                <a:gd name="connsiteX46" fmla="*/ 461200 w 804005"/>
                <a:gd name="connsiteY46" fmla="*/ 46958 h 602456"/>
                <a:gd name="connsiteX47" fmla="*/ 463867 w 804005"/>
                <a:gd name="connsiteY47" fmla="*/ 50673 h 602456"/>
                <a:gd name="connsiteX48" fmla="*/ 470535 w 804005"/>
                <a:gd name="connsiteY48" fmla="*/ 47339 h 602456"/>
                <a:gd name="connsiteX49" fmla="*/ 464248 w 804005"/>
                <a:gd name="connsiteY49" fmla="*/ 41910 h 602456"/>
                <a:gd name="connsiteX50" fmla="*/ 474440 w 804005"/>
                <a:gd name="connsiteY50" fmla="*/ 33052 h 602456"/>
                <a:gd name="connsiteX51" fmla="*/ 467392 w 804005"/>
                <a:gd name="connsiteY51" fmla="*/ 25146 h 602456"/>
                <a:gd name="connsiteX52" fmla="*/ 464820 w 804005"/>
                <a:gd name="connsiteY52" fmla="*/ 32576 h 602456"/>
                <a:gd name="connsiteX53" fmla="*/ 418624 w 804005"/>
                <a:gd name="connsiteY53" fmla="*/ 28670 h 602456"/>
                <a:gd name="connsiteX54" fmla="*/ 413385 w 804005"/>
                <a:gd name="connsiteY54" fmla="*/ 20574 h 602456"/>
                <a:gd name="connsiteX55" fmla="*/ 405479 w 804005"/>
                <a:gd name="connsiteY55" fmla="*/ 23336 h 602456"/>
                <a:gd name="connsiteX56" fmla="*/ 393573 w 804005"/>
                <a:gd name="connsiteY56" fmla="*/ 12859 h 602456"/>
                <a:gd name="connsiteX57" fmla="*/ 388620 w 804005"/>
                <a:gd name="connsiteY57" fmla="*/ 15907 h 602456"/>
                <a:gd name="connsiteX58" fmla="*/ 378714 w 804005"/>
                <a:gd name="connsiteY58" fmla="*/ 8477 h 602456"/>
                <a:gd name="connsiteX59" fmla="*/ 369475 w 804005"/>
                <a:gd name="connsiteY59" fmla="*/ 15526 h 602456"/>
                <a:gd name="connsiteX60" fmla="*/ 381476 w 804005"/>
                <a:gd name="connsiteY60" fmla="*/ 17526 h 602456"/>
                <a:gd name="connsiteX61" fmla="*/ 389287 w 804005"/>
                <a:gd name="connsiteY61" fmla="*/ 28670 h 602456"/>
                <a:gd name="connsiteX62" fmla="*/ 362140 w 804005"/>
                <a:gd name="connsiteY62" fmla="*/ 27051 h 602456"/>
                <a:gd name="connsiteX63" fmla="*/ 355949 w 804005"/>
                <a:gd name="connsiteY63" fmla="*/ 28385 h 602456"/>
                <a:gd name="connsiteX64" fmla="*/ 342424 w 804005"/>
                <a:gd name="connsiteY64" fmla="*/ 52959 h 602456"/>
                <a:gd name="connsiteX65" fmla="*/ 332518 w 804005"/>
                <a:gd name="connsiteY65" fmla="*/ 55340 h 602456"/>
                <a:gd name="connsiteX66" fmla="*/ 328898 w 804005"/>
                <a:gd name="connsiteY66" fmla="*/ 78772 h 602456"/>
                <a:gd name="connsiteX67" fmla="*/ 336994 w 804005"/>
                <a:gd name="connsiteY67" fmla="*/ 91440 h 602456"/>
                <a:gd name="connsiteX68" fmla="*/ 324993 w 804005"/>
                <a:gd name="connsiteY68" fmla="*/ 85154 h 602456"/>
                <a:gd name="connsiteX69" fmla="*/ 307562 w 804005"/>
                <a:gd name="connsiteY69" fmla="*/ 81534 h 602456"/>
                <a:gd name="connsiteX70" fmla="*/ 296799 w 804005"/>
                <a:gd name="connsiteY70" fmla="*/ 93821 h 602456"/>
                <a:gd name="connsiteX71" fmla="*/ 300418 w 804005"/>
                <a:gd name="connsiteY71" fmla="*/ 80010 h 602456"/>
                <a:gd name="connsiteX72" fmla="*/ 284893 w 804005"/>
                <a:gd name="connsiteY72" fmla="*/ 64484 h 602456"/>
                <a:gd name="connsiteX73" fmla="*/ 257175 w 804005"/>
                <a:gd name="connsiteY73" fmla="*/ 63437 h 602456"/>
                <a:gd name="connsiteX74" fmla="*/ 245650 w 804005"/>
                <a:gd name="connsiteY74" fmla="*/ 88106 h 602456"/>
                <a:gd name="connsiteX75" fmla="*/ 233458 w 804005"/>
                <a:gd name="connsiteY75" fmla="*/ 88392 h 602456"/>
                <a:gd name="connsiteX76" fmla="*/ 234696 w 804005"/>
                <a:gd name="connsiteY76" fmla="*/ 92107 h 602456"/>
                <a:gd name="connsiteX77" fmla="*/ 242030 w 804005"/>
                <a:gd name="connsiteY77" fmla="*/ 97536 h 602456"/>
                <a:gd name="connsiteX78" fmla="*/ 216598 w 804005"/>
                <a:gd name="connsiteY78" fmla="*/ 110014 h 602456"/>
                <a:gd name="connsiteX79" fmla="*/ 203168 w 804005"/>
                <a:gd name="connsiteY79" fmla="*/ 108871 h 602456"/>
                <a:gd name="connsiteX80" fmla="*/ 210502 w 804005"/>
                <a:gd name="connsiteY80" fmla="*/ 121063 h 602456"/>
                <a:gd name="connsiteX81" fmla="*/ 212598 w 804005"/>
                <a:gd name="connsiteY81" fmla="*/ 144113 h 602456"/>
                <a:gd name="connsiteX82" fmla="*/ 201835 w 804005"/>
                <a:gd name="connsiteY82" fmla="*/ 122587 h 602456"/>
                <a:gd name="connsiteX83" fmla="*/ 197263 w 804005"/>
                <a:gd name="connsiteY83" fmla="*/ 120301 h 602456"/>
                <a:gd name="connsiteX84" fmla="*/ 196120 w 804005"/>
                <a:gd name="connsiteY84" fmla="*/ 113347 h 602456"/>
                <a:gd name="connsiteX85" fmla="*/ 180880 w 804005"/>
                <a:gd name="connsiteY85" fmla="*/ 130588 h 602456"/>
                <a:gd name="connsiteX86" fmla="*/ 184880 w 804005"/>
                <a:gd name="connsiteY86" fmla="*/ 148114 h 602456"/>
                <a:gd name="connsiteX87" fmla="*/ 173641 w 804005"/>
                <a:gd name="connsiteY87" fmla="*/ 154591 h 602456"/>
                <a:gd name="connsiteX88" fmla="*/ 158496 w 804005"/>
                <a:gd name="connsiteY88" fmla="*/ 177451 h 602456"/>
                <a:gd name="connsiteX89" fmla="*/ 140970 w 804005"/>
                <a:gd name="connsiteY89" fmla="*/ 184595 h 602456"/>
                <a:gd name="connsiteX90" fmla="*/ 120777 w 804005"/>
                <a:gd name="connsiteY90" fmla="*/ 185642 h 602456"/>
                <a:gd name="connsiteX91" fmla="*/ 84868 w 804005"/>
                <a:gd name="connsiteY91" fmla="*/ 202216 h 602456"/>
                <a:gd name="connsiteX92" fmla="*/ 74962 w 804005"/>
                <a:gd name="connsiteY92" fmla="*/ 197644 h 602456"/>
                <a:gd name="connsiteX93" fmla="*/ 56388 w 804005"/>
                <a:gd name="connsiteY93" fmla="*/ 209264 h 602456"/>
                <a:gd name="connsiteX94" fmla="*/ 48482 w 804005"/>
                <a:gd name="connsiteY94" fmla="*/ 218027 h 602456"/>
                <a:gd name="connsiteX95" fmla="*/ 32671 w 804005"/>
                <a:gd name="connsiteY95" fmla="*/ 224695 h 602456"/>
                <a:gd name="connsiteX96" fmla="*/ 25527 w 804005"/>
                <a:gd name="connsiteY96" fmla="*/ 238696 h 602456"/>
                <a:gd name="connsiteX97" fmla="*/ 22003 w 804005"/>
                <a:gd name="connsiteY97" fmla="*/ 228029 h 602456"/>
                <a:gd name="connsiteX98" fmla="*/ 14478 w 804005"/>
                <a:gd name="connsiteY98" fmla="*/ 260032 h 602456"/>
                <a:gd name="connsiteX99" fmla="*/ 6191 w 804005"/>
                <a:gd name="connsiteY99" fmla="*/ 278987 h 602456"/>
                <a:gd name="connsiteX100" fmla="*/ 23717 w 804005"/>
                <a:gd name="connsiteY100" fmla="*/ 310515 h 602456"/>
                <a:gd name="connsiteX101" fmla="*/ 23717 w 804005"/>
                <a:gd name="connsiteY101" fmla="*/ 316135 h 602456"/>
                <a:gd name="connsiteX102" fmla="*/ 13144 w 804005"/>
                <a:gd name="connsiteY102" fmla="*/ 305276 h 602456"/>
                <a:gd name="connsiteX103" fmla="*/ 12763 w 804005"/>
                <a:gd name="connsiteY103" fmla="*/ 318802 h 602456"/>
                <a:gd name="connsiteX104" fmla="*/ 2286 w 804005"/>
                <a:gd name="connsiteY104" fmla="*/ 301562 h 602456"/>
                <a:gd name="connsiteX105" fmla="*/ 0 w 804005"/>
                <a:gd name="connsiteY105" fmla="*/ 308134 h 602456"/>
                <a:gd name="connsiteX106" fmla="*/ 4191 w 804005"/>
                <a:gd name="connsiteY106" fmla="*/ 320040 h 602456"/>
                <a:gd name="connsiteX107" fmla="*/ 19145 w 804005"/>
                <a:gd name="connsiteY107" fmla="*/ 340709 h 602456"/>
                <a:gd name="connsiteX108" fmla="*/ 21717 w 804005"/>
                <a:gd name="connsiteY108" fmla="*/ 357188 h 602456"/>
                <a:gd name="connsiteX109" fmla="*/ 36290 w 804005"/>
                <a:gd name="connsiteY109" fmla="*/ 380619 h 602456"/>
                <a:gd name="connsiteX110" fmla="*/ 39624 w 804005"/>
                <a:gd name="connsiteY110" fmla="*/ 408908 h 602456"/>
                <a:gd name="connsiteX111" fmla="*/ 53435 w 804005"/>
                <a:gd name="connsiteY111" fmla="*/ 439864 h 602456"/>
                <a:gd name="connsiteX112" fmla="*/ 53149 w 804005"/>
                <a:gd name="connsiteY112" fmla="*/ 485585 h 602456"/>
                <a:gd name="connsiteX113" fmla="*/ 44863 w 804005"/>
                <a:gd name="connsiteY113" fmla="*/ 482060 h 602456"/>
                <a:gd name="connsiteX114" fmla="*/ 51054 w 804005"/>
                <a:gd name="connsiteY114" fmla="*/ 498920 h 602456"/>
                <a:gd name="connsiteX115" fmla="*/ 62960 w 804005"/>
                <a:gd name="connsiteY115" fmla="*/ 503015 h 602456"/>
                <a:gd name="connsiteX116" fmla="*/ 68008 w 804005"/>
                <a:gd name="connsiteY116" fmla="*/ 510159 h 602456"/>
                <a:gd name="connsiteX117" fmla="*/ 97346 w 804005"/>
                <a:gd name="connsiteY117" fmla="*/ 512731 h 602456"/>
                <a:gd name="connsiteX118" fmla="*/ 138303 w 804005"/>
                <a:gd name="connsiteY118" fmla="*/ 485489 h 602456"/>
                <a:gd name="connsiteX119" fmla="*/ 197739 w 804005"/>
                <a:gd name="connsiteY119" fmla="*/ 484346 h 602456"/>
                <a:gd name="connsiteX120" fmla="*/ 207359 w 804005"/>
                <a:gd name="connsiteY120" fmla="*/ 486632 h 602456"/>
                <a:gd name="connsiteX121" fmla="*/ 220218 w 804005"/>
                <a:gd name="connsiteY121" fmla="*/ 465677 h 602456"/>
                <a:gd name="connsiteX122" fmla="*/ 256508 w 804005"/>
                <a:gd name="connsiteY122" fmla="*/ 449199 h 602456"/>
                <a:gd name="connsiteX123" fmla="*/ 281940 w 804005"/>
                <a:gd name="connsiteY123" fmla="*/ 448818 h 602456"/>
                <a:gd name="connsiteX124" fmla="*/ 318611 w 804005"/>
                <a:gd name="connsiteY124" fmla="*/ 434626 h 602456"/>
                <a:gd name="connsiteX125" fmla="*/ 352615 w 804005"/>
                <a:gd name="connsiteY125" fmla="*/ 433959 h 602456"/>
                <a:gd name="connsiteX126" fmla="*/ 359855 w 804005"/>
                <a:gd name="connsiteY126" fmla="*/ 430530 h 602456"/>
                <a:gd name="connsiteX127" fmla="*/ 378714 w 804005"/>
                <a:gd name="connsiteY127" fmla="*/ 442151 h 602456"/>
                <a:gd name="connsiteX128" fmla="*/ 411099 w 804005"/>
                <a:gd name="connsiteY128" fmla="*/ 447008 h 602456"/>
                <a:gd name="connsiteX129" fmla="*/ 444722 w 804005"/>
                <a:gd name="connsiteY129" fmla="*/ 497777 h 602456"/>
                <a:gd name="connsiteX130" fmla="*/ 437197 w 804005"/>
                <a:gd name="connsiteY130" fmla="*/ 500444 h 602456"/>
                <a:gd name="connsiteX131" fmla="*/ 453962 w 804005"/>
                <a:gd name="connsiteY131" fmla="*/ 509016 h 602456"/>
                <a:gd name="connsiteX132" fmla="*/ 452056 w 804005"/>
                <a:gd name="connsiteY132" fmla="*/ 501587 h 602456"/>
                <a:gd name="connsiteX133" fmla="*/ 463201 w 804005"/>
                <a:gd name="connsiteY133" fmla="*/ 487299 h 602456"/>
                <a:gd name="connsiteX134" fmla="*/ 478726 w 804005"/>
                <a:gd name="connsiteY134" fmla="*/ 478727 h 602456"/>
                <a:gd name="connsiteX135" fmla="*/ 489966 w 804005"/>
                <a:gd name="connsiteY135" fmla="*/ 453676 h 602456"/>
                <a:gd name="connsiteX136" fmla="*/ 493585 w 804005"/>
                <a:gd name="connsiteY136" fmla="*/ 476917 h 602456"/>
                <a:gd name="connsiteX137" fmla="*/ 483394 w 804005"/>
                <a:gd name="connsiteY137" fmla="*/ 489966 h 602456"/>
                <a:gd name="connsiteX138" fmla="*/ 483394 w 804005"/>
                <a:gd name="connsiteY138" fmla="*/ 507206 h 602456"/>
                <a:gd name="connsiteX139" fmla="*/ 474440 w 804005"/>
                <a:gd name="connsiteY139" fmla="*/ 507587 h 602456"/>
                <a:gd name="connsiteX140" fmla="*/ 471488 w 804005"/>
                <a:gd name="connsiteY140" fmla="*/ 516160 h 602456"/>
                <a:gd name="connsiteX141" fmla="*/ 489299 w 804005"/>
                <a:gd name="connsiteY141" fmla="*/ 512350 h 602456"/>
                <a:gd name="connsiteX142" fmla="*/ 496252 w 804005"/>
                <a:gd name="connsiteY142" fmla="*/ 490347 h 602456"/>
                <a:gd name="connsiteX143" fmla="*/ 505492 w 804005"/>
                <a:gd name="connsiteY143" fmla="*/ 504539 h 602456"/>
                <a:gd name="connsiteX144" fmla="*/ 496633 w 804005"/>
                <a:gd name="connsiteY144" fmla="*/ 523970 h 602456"/>
                <a:gd name="connsiteX145" fmla="*/ 512445 w 804005"/>
                <a:gd name="connsiteY145" fmla="*/ 520637 h 602456"/>
                <a:gd name="connsiteX146" fmla="*/ 523970 w 804005"/>
                <a:gd name="connsiteY146" fmla="*/ 529971 h 602456"/>
                <a:gd name="connsiteX147" fmla="*/ 527971 w 804005"/>
                <a:gd name="connsiteY147" fmla="*/ 558737 h 602456"/>
                <a:gd name="connsiteX148" fmla="*/ 541496 w 804005"/>
                <a:gd name="connsiteY148" fmla="*/ 575501 h 602456"/>
                <a:gd name="connsiteX149" fmla="*/ 561022 w 804005"/>
                <a:gd name="connsiteY149" fmla="*/ 585597 h 602456"/>
                <a:gd name="connsiteX150" fmla="*/ 583787 w 804005"/>
                <a:gd name="connsiteY150" fmla="*/ 585597 h 602456"/>
                <a:gd name="connsiteX151" fmla="*/ 604552 w 804005"/>
                <a:gd name="connsiteY151" fmla="*/ 596075 h 602456"/>
                <a:gd name="connsiteX152" fmla="*/ 625983 w 804005"/>
                <a:gd name="connsiteY152" fmla="*/ 584168 h 602456"/>
                <a:gd name="connsiteX153" fmla="*/ 655701 w 804005"/>
                <a:gd name="connsiteY153" fmla="*/ 594551 h 602456"/>
                <a:gd name="connsiteX154" fmla="*/ 660368 w 804005"/>
                <a:gd name="connsiteY154" fmla="*/ 602456 h 602456"/>
                <a:gd name="connsiteX155" fmla="*/ 670274 w 804005"/>
                <a:gd name="connsiteY155" fmla="*/ 591217 h 602456"/>
                <a:gd name="connsiteX156" fmla="*/ 691039 w 804005"/>
                <a:gd name="connsiteY156" fmla="*/ 574834 h 602456"/>
                <a:gd name="connsiteX157" fmla="*/ 722090 w 804005"/>
                <a:gd name="connsiteY157" fmla="*/ 571405 h 602456"/>
                <a:gd name="connsiteX158" fmla="*/ 731710 w 804005"/>
                <a:gd name="connsiteY158" fmla="*/ 565118 h 602456"/>
                <a:gd name="connsiteX159" fmla="*/ 730377 w 804005"/>
                <a:gd name="connsiteY159" fmla="*/ 552736 h 602456"/>
                <a:gd name="connsiteX160" fmla="*/ 736663 w 804005"/>
                <a:gd name="connsiteY160" fmla="*/ 525875 h 602456"/>
                <a:gd name="connsiteX161" fmla="*/ 758095 w 804005"/>
                <a:gd name="connsiteY161" fmla="*/ 482441 h 602456"/>
                <a:gd name="connsiteX162" fmla="*/ 757142 w 804005"/>
                <a:gd name="connsiteY162" fmla="*/ 476155 h 602456"/>
                <a:gd name="connsiteX163" fmla="*/ 775240 w 804005"/>
                <a:gd name="connsiteY163" fmla="*/ 459296 h 602456"/>
                <a:gd name="connsiteX164" fmla="*/ 770954 w 804005"/>
                <a:gd name="connsiteY164" fmla="*/ 457486 h 602456"/>
                <a:gd name="connsiteX165" fmla="*/ 782574 w 804005"/>
                <a:gd name="connsiteY165" fmla="*/ 452628 h 602456"/>
                <a:gd name="connsiteX166" fmla="*/ 793147 w 804005"/>
                <a:gd name="connsiteY166" fmla="*/ 421196 h 602456"/>
                <a:gd name="connsiteX167" fmla="*/ 792099 w 804005"/>
                <a:gd name="connsiteY167" fmla="*/ 413004 h 602456"/>
                <a:gd name="connsiteX168" fmla="*/ 804005 w 804005"/>
                <a:gd name="connsiteY168" fmla="*/ 371856 h 602456"/>
                <a:gd name="connsiteX169" fmla="*/ 799529 w 804005"/>
                <a:gd name="connsiteY169" fmla="*/ 354711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04005" h="602456">
                  <a:moveTo>
                    <a:pt x="799529" y="354711"/>
                  </a:moveTo>
                  <a:lnTo>
                    <a:pt x="799052" y="352996"/>
                  </a:lnTo>
                  <a:lnTo>
                    <a:pt x="792099" y="340995"/>
                  </a:lnTo>
                  <a:lnTo>
                    <a:pt x="795433" y="312611"/>
                  </a:lnTo>
                  <a:lnTo>
                    <a:pt x="790099" y="298609"/>
                  </a:lnTo>
                  <a:lnTo>
                    <a:pt x="782860" y="295846"/>
                  </a:lnTo>
                  <a:lnTo>
                    <a:pt x="769620" y="275463"/>
                  </a:lnTo>
                  <a:lnTo>
                    <a:pt x="745236" y="261080"/>
                  </a:lnTo>
                  <a:lnTo>
                    <a:pt x="750189" y="257365"/>
                  </a:lnTo>
                  <a:lnTo>
                    <a:pt x="748189" y="240411"/>
                  </a:lnTo>
                  <a:lnTo>
                    <a:pt x="732568" y="231553"/>
                  </a:lnTo>
                  <a:lnTo>
                    <a:pt x="730567" y="240887"/>
                  </a:lnTo>
                  <a:lnTo>
                    <a:pt x="722471" y="219361"/>
                  </a:lnTo>
                  <a:lnTo>
                    <a:pt x="716471" y="209264"/>
                  </a:lnTo>
                  <a:lnTo>
                    <a:pt x="706279" y="201168"/>
                  </a:lnTo>
                  <a:lnTo>
                    <a:pt x="708279" y="192405"/>
                  </a:lnTo>
                  <a:lnTo>
                    <a:pt x="684847" y="181832"/>
                  </a:lnTo>
                  <a:lnTo>
                    <a:pt x="681799" y="173164"/>
                  </a:lnTo>
                  <a:lnTo>
                    <a:pt x="675513" y="175165"/>
                  </a:lnTo>
                  <a:lnTo>
                    <a:pt x="658749" y="164306"/>
                  </a:lnTo>
                  <a:lnTo>
                    <a:pt x="655701" y="139732"/>
                  </a:lnTo>
                  <a:lnTo>
                    <a:pt x="651796" y="123825"/>
                  </a:lnTo>
                  <a:lnTo>
                    <a:pt x="641223" y="115062"/>
                  </a:lnTo>
                  <a:lnTo>
                    <a:pt x="640556" y="85058"/>
                  </a:lnTo>
                  <a:lnTo>
                    <a:pt x="623697" y="68866"/>
                  </a:lnTo>
                  <a:lnTo>
                    <a:pt x="609219" y="73247"/>
                  </a:lnTo>
                  <a:lnTo>
                    <a:pt x="604552" y="61436"/>
                  </a:lnTo>
                  <a:lnTo>
                    <a:pt x="604552" y="42863"/>
                  </a:lnTo>
                  <a:lnTo>
                    <a:pt x="598456" y="44101"/>
                  </a:lnTo>
                  <a:lnTo>
                    <a:pt x="583787" y="5429"/>
                  </a:lnTo>
                  <a:lnTo>
                    <a:pt x="584454" y="0"/>
                  </a:lnTo>
                  <a:lnTo>
                    <a:pt x="576453" y="5429"/>
                  </a:lnTo>
                  <a:lnTo>
                    <a:pt x="565880" y="36767"/>
                  </a:lnTo>
                  <a:lnTo>
                    <a:pt x="574548" y="36767"/>
                  </a:lnTo>
                  <a:lnTo>
                    <a:pt x="565594" y="45244"/>
                  </a:lnTo>
                  <a:lnTo>
                    <a:pt x="562927" y="62484"/>
                  </a:lnTo>
                  <a:lnTo>
                    <a:pt x="568262" y="90488"/>
                  </a:lnTo>
                  <a:lnTo>
                    <a:pt x="551021" y="134017"/>
                  </a:lnTo>
                  <a:lnTo>
                    <a:pt x="536162" y="140684"/>
                  </a:lnTo>
                  <a:lnTo>
                    <a:pt x="516446" y="127445"/>
                  </a:lnTo>
                  <a:lnTo>
                    <a:pt x="517969" y="116872"/>
                  </a:lnTo>
                  <a:lnTo>
                    <a:pt x="505111" y="121634"/>
                  </a:lnTo>
                  <a:lnTo>
                    <a:pt x="468821" y="104585"/>
                  </a:lnTo>
                  <a:lnTo>
                    <a:pt x="458914" y="94107"/>
                  </a:lnTo>
                  <a:lnTo>
                    <a:pt x="444055" y="85344"/>
                  </a:lnTo>
                  <a:lnTo>
                    <a:pt x="451675" y="57340"/>
                  </a:lnTo>
                  <a:lnTo>
                    <a:pt x="461200" y="46958"/>
                  </a:lnTo>
                  <a:lnTo>
                    <a:pt x="463867" y="50673"/>
                  </a:lnTo>
                  <a:lnTo>
                    <a:pt x="470535" y="47339"/>
                  </a:lnTo>
                  <a:lnTo>
                    <a:pt x="464248" y="41910"/>
                  </a:lnTo>
                  <a:lnTo>
                    <a:pt x="474440" y="33052"/>
                  </a:lnTo>
                  <a:lnTo>
                    <a:pt x="467392" y="25146"/>
                  </a:lnTo>
                  <a:lnTo>
                    <a:pt x="464820" y="32576"/>
                  </a:lnTo>
                  <a:lnTo>
                    <a:pt x="418624" y="28670"/>
                  </a:lnTo>
                  <a:lnTo>
                    <a:pt x="413385" y="20574"/>
                  </a:lnTo>
                  <a:lnTo>
                    <a:pt x="405479" y="23336"/>
                  </a:lnTo>
                  <a:lnTo>
                    <a:pt x="393573" y="12859"/>
                  </a:lnTo>
                  <a:lnTo>
                    <a:pt x="388620" y="15907"/>
                  </a:lnTo>
                  <a:lnTo>
                    <a:pt x="378714" y="8477"/>
                  </a:lnTo>
                  <a:lnTo>
                    <a:pt x="369475" y="15526"/>
                  </a:lnTo>
                  <a:lnTo>
                    <a:pt x="381476" y="17526"/>
                  </a:lnTo>
                  <a:lnTo>
                    <a:pt x="389287" y="28670"/>
                  </a:lnTo>
                  <a:lnTo>
                    <a:pt x="362140" y="27051"/>
                  </a:lnTo>
                  <a:lnTo>
                    <a:pt x="355949" y="28385"/>
                  </a:lnTo>
                  <a:lnTo>
                    <a:pt x="342424" y="52959"/>
                  </a:lnTo>
                  <a:lnTo>
                    <a:pt x="332518" y="55340"/>
                  </a:lnTo>
                  <a:lnTo>
                    <a:pt x="328898" y="78772"/>
                  </a:lnTo>
                  <a:lnTo>
                    <a:pt x="336994" y="91440"/>
                  </a:lnTo>
                  <a:lnTo>
                    <a:pt x="324993" y="85154"/>
                  </a:lnTo>
                  <a:lnTo>
                    <a:pt x="307562" y="81534"/>
                  </a:lnTo>
                  <a:lnTo>
                    <a:pt x="296799" y="93821"/>
                  </a:lnTo>
                  <a:lnTo>
                    <a:pt x="300418" y="80010"/>
                  </a:lnTo>
                  <a:lnTo>
                    <a:pt x="284893" y="64484"/>
                  </a:lnTo>
                  <a:lnTo>
                    <a:pt x="257175" y="63437"/>
                  </a:lnTo>
                  <a:lnTo>
                    <a:pt x="245650" y="88106"/>
                  </a:lnTo>
                  <a:lnTo>
                    <a:pt x="233458" y="88392"/>
                  </a:lnTo>
                  <a:lnTo>
                    <a:pt x="234696" y="92107"/>
                  </a:lnTo>
                  <a:lnTo>
                    <a:pt x="242030" y="97536"/>
                  </a:lnTo>
                  <a:lnTo>
                    <a:pt x="216598" y="110014"/>
                  </a:lnTo>
                  <a:lnTo>
                    <a:pt x="203168" y="108871"/>
                  </a:lnTo>
                  <a:lnTo>
                    <a:pt x="210502" y="121063"/>
                  </a:lnTo>
                  <a:lnTo>
                    <a:pt x="212598" y="144113"/>
                  </a:lnTo>
                  <a:lnTo>
                    <a:pt x="201835" y="122587"/>
                  </a:lnTo>
                  <a:lnTo>
                    <a:pt x="197263" y="120301"/>
                  </a:lnTo>
                  <a:lnTo>
                    <a:pt x="196120" y="113347"/>
                  </a:lnTo>
                  <a:lnTo>
                    <a:pt x="180880" y="130588"/>
                  </a:lnTo>
                  <a:lnTo>
                    <a:pt x="184880" y="148114"/>
                  </a:lnTo>
                  <a:lnTo>
                    <a:pt x="173641" y="154591"/>
                  </a:lnTo>
                  <a:lnTo>
                    <a:pt x="158496" y="177451"/>
                  </a:lnTo>
                  <a:lnTo>
                    <a:pt x="140970" y="184595"/>
                  </a:lnTo>
                  <a:lnTo>
                    <a:pt x="120777" y="185642"/>
                  </a:lnTo>
                  <a:lnTo>
                    <a:pt x="84868" y="202216"/>
                  </a:lnTo>
                  <a:lnTo>
                    <a:pt x="74962" y="197644"/>
                  </a:lnTo>
                  <a:lnTo>
                    <a:pt x="56388" y="209264"/>
                  </a:lnTo>
                  <a:lnTo>
                    <a:pt x="48482" y="218027"/>
                  </a:lnTo>
                  <a:lnTo>
                    <a:pt x="32671" y="224695"/>
                  </a:lnTo>
                  <a:lnTo>
                    <a:pt x="25527" y="238696"/>
                  </a:lnTo>
                  <a:lnTo>
                    <a:pt x="22003" y="228029"/>
                  </a:lnTo>
                  <a:lnTo>
                    <a:pt x="14478" y="260032"/>
                  </a:lnTo>
                  <a:lnTo>
                    <a:pt x="6191" y="278987"/>
                  </a:lnTo>
                  <a:lnTo>
                    <a:pt x="23717" y="310515"/>
                  </a:lnTo>
                  <a:lnTo>
                    <a:pt x="23717" y="316135"/>
                  </a:lnTo>
                  <a:lnTo>
                    <a:pt x="13144" y="305276"/>
                  </a:lnTo>
                  <a:lnTo>
                    <a:pt x="12763" y="318802"/>
                  </a:lnTo>
                  <a:lnTo>
                    <a:pt x="2286" y="301562"/>
                  </a:lnTo>
                  <a:lnTo>
                    <a:pt x="0" y="308134"/>
                  </a:lnTo>
                  <a:lnTo>
                    <a:pt x="4191" y="320040"/>
                  </a:lnTo>
                  <a:lnTo>
                    <a:pt x="19145" y="340709"/>
                  </a:lnTo>
                  <a:lnTo>
                    <a:pt x="21717" y="357188"/>
                  </a:lnTo>
                  <a:lnTo>
                    <a:pt x="36290" y="380619"/>
                  </a:lnTo>
                  <a:lnTo>
                    <a:pt x="39624" y="408908"/>
                  </a:lnTo>
                  <a:lnTo>
                    <a:pt x="53435" y="439864"/>
                  </a:lnTo>
                  <a:lnTo>
                    <a:pt x="53149" y="485585"/>
                  </a:lnTo>
                  <a:lnTo>
                    <a:pt x="44863" y="482060"/>
                  </a:lnTo>
                  <a:lnTo>
                    <a:pt x="51054" y="498920"/>
                  </a:lnTo>
                  <a:lnTo>
                    <a:pt x="62960" y="503015"/>
                  </a:lnTo>
                  <a:lnTo>
                    <a:pt x="68008" y="510159"/>
                  </a:lnTo>
                  <a:lnTo>
                    <a:pt x="97346" y="512731"/>
                  </a:lnTo>
                  <a:lnTo>
                    <a:pt x="138303" y="485489"/>
                  </a:lnTo>
                  <a:lnTo>
                    <a:pt x="197739" y="484346"/>
                  </a:lnTo>
                  <a:lnTo>
                    <a:pt x="207359" y="486632"/>
                  </a:lnTo>
                  <a:lnTo>
                    <a:pt x="220218" y="465677"/>
                  </a:lnTo>
                  <a:lnTo>
                    <a:pt x="256508" y="449199"/>
                  </a:lnTo>
                  <a:lnTo>
                    <a:pt x="281940" y="448818"/>
                  </a:lnTo>
                  <a:lnTo>
                    <a:pt x="318611" y="434626"/>
                  </a:lnTo>
                  <a:lnTo>
                    <a:pt x="352615" y="433959"/>
                  </a:lnTo>
                  <a:lnTo>
                    <a:pt x="359855" y="430530"/>
                  </a:lnTo>
                  <a:lnTo>
                    <a:pt x="378714" y="442151"/>
                  </a:lnTo>
                  <a:lnTo>
                    <a:pt x="411099" y="447008"/>
                  </a:lnTo>
                  <a:lnTo>
                    <a:pt x="444722" y="497777"/>
                  </a:lnTo>
                  <a:lnTo>
                    <a:pt x="437197" y="500444"/>
                  </a:lnTo>
                  <a:lnTo>
                    <a:pt x="453962" y="509016"/>
                  </a:lnTo>
                  <a:lnTo>
                    <a:pt x="452056" y="501587"/>
                  </a:lnTo>
                  <a:lnTo>
                    <a:pt x="463201" y="487299"/>
                  </a:lnTo>
                  <a:lnTo>
                    <a:pt x="478726" y="478727"/>
                  </a:lnTo>
                  <a:lnTo>
                    <a:pt x="489966" y="453676"/>
                  </a:lnTo>
                  <a:lnTo>
                    <a:pt x="493585" y="476917"/>
                  </a:lnTo>
                  <a:lnTo>
                    <a:pt x="483394" y="489966"/>
                  </a:lnTo>
                  <a:lnTo>
                    <a:pt x="483394" y="507206"/>
                  </a:lnTo>
                  <a:lnTo>
                    <a:pt x="474440" y="507587"/>
                  </a:lnTo>
                  <a:lnTo>
                    <a:pt x="471488" y="516160"/>
                  </a:lnTo>
                  <a:lnTo>
                    <a:pt x="489299" y="512350"/>
                  </a:lnTo>
                  <a:lnTo>
                    <a:pt x="496252" y="490347"/>
                  </a:lnTo>
                  <a:lnTo>
                    <a:pt x="505492" y="504539"/>
                  </a:lnTo>
                  <a:lnTo>
                    <a:pt x="496633" y="523970"/>
                  </a:lnTo>
                  <a:lnTo>
                    <a:pt x="512445" y="520637"/>
                  </a:lnTo>
                  <a:lnTo>
                    <a:pt x="523970" y="529971"/>
                  </a:lnTo>
                  <a:lnTo>
                    <a:pt x="527971" y="558737"/>
                  </a:lnTo>
                  <a:lnTo>
                    <a:pt x="541496" y="575501"/>
                  </a:lnTo>
                  <a:lnTo>
                    <a:pt x="561022" y="585597"/>
                  </a:lnTo>
                  <a:lnTo>
                    <a:pt x="583787" y="585597"/>
                  </a:lnTo>
                  <a:lnTo>
                    <a:pt x="604552" y="596075"/>
                  </a:lnTo>
                  <a:lnTo>
                    <a:pt x="625983" y="584168"/>
                  </a:lnTo>
                  <a:lnTo>
                    <a:pt x="655701" y="594551"/>
                  </a:lnTo>
                  <a:lnTo>
                    <a:pt x="660368" y="602456"/>
                  </a:lnTo>
                  <a:lnTo>
                    <a:pt x="670274" y="591217"/>
                  </a:lnTo>
                  <a:lnTo>
                    <a:pt x="691039" y="574834"/>
                  </a:lnTo>
                  <a:lnTo>
                    <a:pt x="722090" y="571405"/>
                  </a:lnTo>
                  <a:lnTo>
                    <a:pt x="731710" y="565118"/>
                  </a:lnTo>
                  <a:lnTo>
                    <a:pt x="730377" y="552736"/>
                  </a:lnTo>
                  <a:lnTo>
                    <a:pt x="736663" y="525875"/>
                  </a:lnTo>
                  <a:lnTo>
                    <a:pt x="758095" y="482441"/>
                  </a:lnTo>
                  <a:lnTo>
                    <a:pt x="757142" y="476155"/>
                  </a:lnTo>
                  <a:lnTo>
                    <a:pt x="775240" y="459296"/>
                  </a:lnTo>
                  <a:lnTo>
                    <a:pt x="770954" y="457486"/>
                  </a:lnTo>
                  <a:lnTo>
                    <a:pt x="782574" y="452628"/>
                  </a:lnTo>
                  <a:lnTo>
                    <a:pt x="793147" y="421196"/>
                  </a:lnTo>
                  <a:lnTo>
                    <a:pt x="792099" y="413004"/>
                  </a:lnTo>
                  <a:lnTo>
                    <a:pt x="804005" y="371856"/>
                  </a:lnTo>
                  <a:lnTo>
                    <a:pt x="799529" y="35471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1" name="Freeform: Shape 2651">
              <a:extLst>
                <a:ext uri="{FF2B5EF4-FFF2-40B4-BE49-F238E27FC236}">
                  <a16:creationId xmlns:a16="http://schemas.microsoft.com/office/drawing/2014/main" id="{AD8CD39E-CB30-0A8D-28E3-D355D6E63DA2}"/>
                </a:ext>
              </a:extLst>
            </p:cNvPr>
            <p:cNvSpPr/>
            <p:nvPr/>
          </p:nvSpPr>
          <p:spPr>
            <a:xfrm>
              <a:off x="2591847" y="4229227"/>
              <a:ext cx="204025" cy="127920"/>
            </a:xfrm>
            <a:custGeom>
              <a:avLst/>
              <a:gdLst>
                <a:gd name="connsiteX0" fmla="*/ 195263 w 204025"/>
                <a:gd name="connsiteY0" fmla="*/ 38862 h 127920"/>
                <a:gd name="connsiteX1" fmla="*/ 197263 w 204025"/>
                <a:gd name="connsiteY1" fmla="*/ 33433 h 127920"/>
                <a:gd name="connsiteX2" fmla="*/ 180594 w 204025"/>
                <a:gd name="connsiteY2" fmla="*/ 9144 h 127920"/>
                <a:gd name="connsiteX3" fmla="*/ 182594 w 204025"/>
                <a:gd name="connsiteY3" fmla="*/ 0 h 127920"/>
                <a:gd name="connsiteX4" fmla="*/ 118491 w 204025"/>
                <a:gd name="connsiteY4" fmla="*/ 14859 h 127920"/>
                <a:gd name="connsiteX5" fmla="*/ 101441 w 204025"/>
                <a:gd name="connsiteY5" fmla="*/ 28385 h 127920"/>
                <a:gd name="connsiteX6" fmla="*/ 90011 w 204025"/>
                <a:gd name="connsiteY6" fmla="*/ 41720 h 127920"/>
                <a:gd name="connsiteX7" fmla="*/ 82296 w 204025"/>
                <a:gd name="connsiteY7" fmla="*/ 55150 h 127920"/>
                <a:gd name="connsiteX8" fmla="*/ 76009 w 204025"/>
                <a:gd name="connsiteY8" fmla="*/ 54959 h 127920"/>
                <a:gd name="connsiteX9" fmla="*/ 67342 w 204025"/>
                <a:gd name="connsiteY9" fmla="*/ 46101 h 127920"/>
                <a:gd name="connsiteX10" fmla="*/ 30671 w 204025"/>
                <a:gd name="connsiteY10" fmla="*/ 32099 h 127920"/>
                <a:gd name="connsiteX11" fmla="*/ 23050 w 204025"/>
                <a:gd name="connsiteY11" fmla="*/ 34480 h 127920"/>
                <a:gd name="connsiteX12" fmla="*/ 13145 w 204025"/>
                <a:gd name="connsiteY12" fmla="*/ 29718 h 127920"/>
                <a:gd name="connsiteX13" fmla="*/ 8382 w 204025"/>
                <a:gd name="connsiteY13" fmla="*/ 32956 h 127920"/>
                <a:gd name="connsiteX14" fmla="*/ 7429 w 204025"/>
                <a:gd name="connsiteY14" fmla="*/ 39719 h 127920"/>
                <a:gd name="connsiteX15" fmla="*/ 11906 w 204025"/>
                <a:gd name="connsiteY15" fmla="*/ 44863 h 127920"/>
                <a:gd name="connsiteX16" fmla="*/ 0 w 204025"/>
                <a:gd name="connsiteY16" fmla="*/ 52959 h 127920"/>
                <a:gd name="connsiteX17" fmla="*/ 14859 w 204025"/>
                <a:gd name="connsiteY17" fmla="*/ 127921 h 127920"/>
                <a:gd name="connsiteX18" fmla="*/ 44863 w 204025"/>
                <a:gd name="connsiteY18" fmla="*/ 126587 h 127920"/>
                <a:gd name="connsiteX19" fmla="*/ 56769 w 204025"/>
                <a:gd name="connsiteY19" fmla="*/ 114776 h 127920"/>
                <a:gd name="connsiteX20" fmla="*/ 103346 w 204025"/>
                <a:gd name="connsiteY20" fmla="*/ 100203 h 127920"/>
                <a:gd name="connsiteX21" fmla="*/ 117158 w 204025"/>
                <a:gd name="connsiteY21" fmla="*/ 100584 h 127920"/>
                <a:gd name="connsiteX22" fmla="*/ 130397 w 204025"/>
                <a:gd name="connsiteY22" fmla="*/ 88392 h 127920"/>
                <a:gd name="connsiteX23" fmla="*/ 186880 w 204025"/>
                <a:gd name="connsiteY23" fmla="*/ 68485 h 127920"/>
                <a:gd name="connsiteX24" fmla="*/ 188500 w 204025"/>
                <a:gd name="connsiteY24" fmla="*/ 55340 h 127920"/>
                <a:gd name="connsiteX25" fmla="*/ 204025 w 204025"/>
                <a:gd name="connsiteY25" fmla="*/ 48768 h 127920"/>
                <a:gd name="connsiteX26" fmla="*/ 204025 w 204025"/>
                <a:gd name="connsiteY26" fmla="*/ 48768 h 127920"/>
                <a:gd name="connsiteX27" fmla="*/ 195263 w 204025"/>
                <a:gd name="connsiteY27" fmla="*/ 38862 h 12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4025" h="127920">
                  <a:moveTo>
                    <a:pt x="195263" y="38862"/>
                  </a:moveTo>
                  <a:lnTo>
                    <a:pt x="197263" y="33433"/>
                  </a:lnTo>
                  <a:lnTo>
                    <a:pt x="180594" y="9144"/>
                  </a:lnTo>
                  <a:lnTo>
                    <a:pt x="182594" y="0"/>
                  </a:lnTo>
                  <a:lnTo>
                    <a:pt x="118491" y="14859"/>
                  </a:lnTo>
                  <a:lnTo>
                    <a:pt x="101441" y="28385"/>
                  </a:lnTo>
                  <a:lnTo>
                    <a:pt x="90011" y="41720"/>
                  </a:lnTo>
                  <a:lnTo>
                    <a:pt x="82296" y="55150"/>
                  </a:lnTo>
                  <a:lnTo>
                    <a:pt x="76009" y="54959"/>
                  </a:lnTo>
                  <a:lnTo>
                    <a:pt x="67342" y="46101"/>
                  </a:lnTo>
                  <a:lnTo>
                    <a:pt x="30671" y="32099"/>
                  </a:lnTo>
                  <a:lnTo>
                    <a:pt x="23050" y="34480"/>
                  </a:lnTo>
                  <a:lnTo>
                    <a:pt x="13145" y="29718"/>
                  </a:lnTo>
                  <a:lnTo>
                    <a:pt x="8382" y="32956"/>
                  </a:lnTo>
                  <a:lnTo>
                    <a:pt x="7429" y="39719"/>
                  </a:lnTo>
                  <a:lnTo>
                    <a:pt x="11906" y="44863"/>
                  </a:lnTo>
                  <a:lnTo>
                    <a:pt x="0" y="52959"/>
                  </a:lnTo>
                  <a:lnTo>
                    <a:pt x="14859" y="127921"/>
                  </a:lnTo>
                  <a:lnTo>
                    <a:pt x="44863" y="126587"/>
                  </a:lnTo>
                  <a:lnTo>
                    <a:pt x="56769" y="114776"/>
                  </a:lnTo>
                  <a:lnTo>
                    <a:pt x="103346" y="100203"/>
                  </a:lnTo>
                  <a:lnTo>
                    <a:pt x="117158" y="100584"/>
                  </a:lnTo>
                  <a:lnTo>
                    <a:pt x="130397" y="88392"/>
                  </a:lnTo>
                  <a:lnTo>
                    <a:pt x="186880" y="68485"/>
                  </a:lnTo>
                  <a:lnTo>
                    <a:pt x="188500" y="55340"/>
                  </a:lnTo>
                  <a:lnTo>
                    <a:pt x="204025" y="48768"/>
                  </a:lnTo>
                  <a:lnTo>
                    <a:pt x="204025" y="48768"/>
                  </a:lnTo>
                  <a:lnTo>
                    <a:pt x="195263" y="3886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2" name="Freeform: Shape 2652">
              <a:extLst>
                <a:ext uri="{FF2B5EF4-FFF2-40B4-BE49-F238E27FC236}">
                  <a16:creationId xmlns:a16="http://schemas.microsoft.com/office/drawing/2014/main" id="{CAB140C0-5E3D-E011-95C3-4C25DBBB7FDA}"/>
                </a:ext>
              </a:extLst>
            </p:cNvPr>
            <p:cNvSpPr/>
            <p:nvPr/>
          </p:nvSpPr>
          <p:spPr>
            <a:xfrm>
              <a:off x="3767994" y="4138263"/>
              <a:ext cx="145827" cy="297560"/>
            </a:xfrm>
            <a:custGeom>
              <a:avLst/>
              <a:gdLst>
                <a:gd name="connsiteX0" fmla="*/ 142018 w 145827"/>
                <a:gd name="connsiteY0" fmla="*/ 194596 h 297560"/>
                <a:gd name="connsiteX1" fmla="*/ 133540 w 145827"/>
                <a:gd name="connsiteY1" fmla="*/ 173355 h 297560"/>
                <a:gd name="connsiteX2" fmla="*/ 134684 w 145827"/>
                <a:gd name="connsiteY2" fmla="*/ 166878 h 297560"/>
                <a:gd name="connsiteX3" fmla="*/ 122492 w 145827"/>
                <a:gd name="connsiteY3" fmla="*/ 148685 h 297560"/>
                <a:gd name="connsiteX4" fmla="*/ 112300 w 145827"/>
                <a:gd name="connsiteY4" fmla="*/ 145637 h 297560"/>
                <a:gd name="connsiteX5" fmla="*/ 87821 w 145827"/>
                <a:gd name="connsiteY5" fmla="*/ 120015 h 297560"/>
                <a:gd name="connsiteX6" fmla="*/ 84868 w 145827"/>
                <a:gd name="connsiteY6" fmla="*/ 108871 h 297560"/>
                <a:gd name="connsiteX7" fmla="*/ 68961 w 145827"/>
                <a:gd name="connsiteY7" fmla="*/ 93059 h 297560"/>
                <a:gd name="connsiteX8" fmla="*/ 72009 w 145827"/>
                <a:gd name="connsiteY8" fmla="*/ 78867 h 297560"/>
                <a:gd name="connsiteX9" fmla="*/ 92107 w 145827"/>
                <a:gd name="connsiteY9" fmla="*/ 56388 h 297560"/>
                <a:gd name="connsiteX10" fmla="*/ 89154 w 145827"/>
                <a:gd name="connsiteY10" fmla="*/ 49339 h 297560"/>
                <a:gd name="connsiteX11" fmla="*/ 103346 w 145827"/>
                <a:gd name="connsiteY11" fmla="*/ 49339 h 297560"/>
                <a:gd name="connsiteX12" fmla="*/ 104299 w 145827"/>
                <a:gd name="connsiteY12" fmla="*/ 42672 h 297560"/>
                <a:gd name="connsiteX13" fmla="*/ 115538 w 145827"/>
                <a:gd name="connsiteY13" fmla="*/ 38195 h 297560"/>
                <a:gd name="connsiteX14" fmla="*/ 116872 w 145827"/>
                <a:gd name="connsiteY14" fmla="*/ 38195 h 297560"/>
                <a:gd name="connsiteX15" fmla="*/ 111919 w 145827"/>
                <a:gd name="connsiteY15" fmla="*/ 33433 h 297560"/>
                <a:gd name="connsiteX16" fmla="*/ 105728 w 145827"/>
                <a:gd name="connsiteY16" fmla="*/ 36481 h 297560"/>
                <a:gd name="connsiteX17" fmla="*/ 102108 w 145827"/>
                <a:gd name="connsiteY17" fmla="*/ 32956 h 297560"/>
                <a:gd name="connsiteX18" fmla="*/ 89630 w 145827"/>
                <a:gd name="connsiteY18" fmla="*/ 28099 h 297560"/>
                <a:gd name="connsiteX19" fmla="*/ 86487 w 145827"/>
                <a:gd name="connsiteY19" fmla="*/ 18574 h 297560"/>
                <a:gd name="connsiteX20" fmla="*/ 90678 w 145827"/>
                <a:gd name="connsiteY20" fmla="*/ 16669 h 297560"/>
                <a:gd name="connsiteX21" fmla="*/ 91916 w 145827"/>
                <a:gd name="connsiteY21" fmla="*/ 9811 h 297560"/>
                <a:gd name="connsiteX22" fmla="*/ 82391 w 145827"/>
                <a:gd name="connsiteY22" fmla="*/ 10954 h 297560"/>
                <a:gd name="connsiteX23" fmla="*/ 80010 w 145827"/>
                <a:gd name="connsiteY23" fmla="*/ 7620 h 297560"/>
                <a:gd name="connsiteX24" fmla="*/ 73819 w 145827"/>
                <a:gd name="connsiteY24" fmla="*/ 9811 h 297560"/>
                <a:gd name="connsiteX25" fmla="*/ 72009 w 145827"/>
                <a:gd name="connsiteY25" fmla="*/ 6858 h 297560"/>
                <a:gd name="connsiteX26" fmla="*/ 67151 w 145827"/>
                <a:gd name="connsiteY26" fmla="*/ 6001 h 297560"/>
                <a:gd name="connsiteX27" fmla="*/ 62675 w 145827"/>
                <a:gd name="connsiteY27" fmla="*/ 0 h 297560"/>
                <a:gd name="connsiteX28" fmla="*/ 53150 w 145827"/>
                <a:gd name="connsiteY28" fmla="*/ 4953 h 297560"/>
                <a:gd name="connsiteX29" fmla="*/ 53912 w 145827"/>
                <a:gd name="connsiteY29" fmla="*/ 9334 h 297560"/>
                <a:gd name="connsiteX30" fmla="*/ 43720 w 145827"/>
                <a:gd name="connsiteY30" fmla="*/ 14478 h 297560"/>
                <a:gd name="connsiteX31" fmla="*/ 42291 w 145827"/>
                <a:gd name="connsiteY31" fmla="*/ 10382 h 297560"/>
                <a:gd name="connsiteX32" fmla="*/ 38576 w 145827"/>
                <a:gd name="connsiteY32" fmla="*/ 11430 h 297560"/>
                <a:gd name="connsiteX33" fmla="*/ 36386 w 145827"/>
                <a:gd name="connsiteY33" fmla="*/ 18192 h 297560"/>
                <a:gd name="connsiteX34" fmla="*/ 30480 w 145827"/>
                <a:gd name="connsiteY34" fmla="*/ 12382 h 297560"/>
                <a:gd name="connsiteX35" fmla="*/ 27813 w 145827"/>
                <a:gd name="connsiteY35" fmla="*/ 15621 h 297560"/>
                <a:gd name="connsiteX36" fmla="*/ 23336 w 145827"/>
                <a:gd name="connsiteY36" fmla="*/ 12097 h 297560"/>
                <a:gd name="connsiteX37" fmla="*/ 17621 w 145827"/>
                <a:gd name="connsiteY37" fmla="*/ 20098 h 297560"/>
                <a:gd name="connsiteX38" fmla="*/ 13526 w 145827"/>
                <a:gd name="connsiteY38" fmla="*/ 15621 h 297560"/>
                <a:gd name="connsiteX39" fmla="*/ 6382 w 145827"/>
                <a:gd name="connsiteY39" fmla="*/ 12382 h 297560"/>
                <a:gd name="connsiteX40" fmla="*/ 2477 w 145827"/>
                <a:gd name="connsiteY40" fmla="*/ 19907 h 297560"/>
                <a:gd name="connsiteX41" fmla="*/ 0 w 145827"/>
                <a:gd name="connsiteY41" fmla="*/ 19907 h 297560"/>
                <a:gd name="connsiteX42" fmla="*/ 0 w 145827"/>
                <a:gd name="connsiteY42" fmla="*/ 19907 h 297560"/>
                <a:gd name="connsiteX43" fmla="*/ 9525 w 145827"/>
                <a:gd name="connsiteY43" fmla="*/ 34385 h 297560"/>
                <a:gd name="connsiteX44" fmla="*/ 14669 w 145827"/>
                <a:gd name="connsiteY44" fmla="*/ 31337 h 297560"/>
                <a:gd name="connsiteX45" fmla="*/ 17812 w 145827"/>
                <a:gd name="connsiteY45" fmla="*/ 34957 h 297560"/>
                <a:gd name="connsiteX46" fmla="*/ 14478 w 145827"/>
                <a:gd name="connsiteY46" fmla="*/ 44482 h 297560"/>
                <a:gd name="connsiteX47" fmla="*/ 21146 w 145827"/>
                <a:gd name="connsiteY47" fmla="*/ 53054 h 297560"/>
                <a:gd name="connsiteX48" fmla="*/ 25813 w 145827"/>
                <a:gd name="connsiteY48" fmla="*/ 52483 h 297560"/>
                <a:gd name="connsiteX49" fmla="*/ 31433 w 145827"/>
                <a:gd name="connsiteY49" fmla="*/ 56579 h 297560"/>
                <a:gd name="connsiteX50" fmla="*/ 32766 w 145827"/>
                <a:gd name="connsiteY50" fmla="*/ 52197 h 297560"/>
                <a:gd name="connsiteX51" fmla="*/ 39243 w 145827"/>
                <a:gd name="connsiteY51" fmla="*/ 49435 h 297560"/>
                <a:gd name="connsiteX52" fmla="*/ 50292 w 145827"/>
                <a:gd name="connsiteY52" fmla="*/ 57150 h 297560"/>
                <a:gd name="connsiteX53" fmla="*/ 43339 w 145827"/>
                <a:gd name="connsiteY53" fmla="*/ 61817 h 297560"/>
                <a:gd name="connsiteX54" fmla="*/ 50292 w 145827"/>
                <a:gd name="connsiteY54" fmla="*/ 63151 h 297560"/>
                <a:gd name="connsiteX55" fmla="*/ 51340 w 145827"/>
                <a:gd name="connsiteY55" fmla="*/ 66580 h 297560"/>
                <a:gd name="connsiteX56" fmla="*/ 55721 w 145827"/>
                <a:gd name="connsiteY56" fmla="*/ 66580 h 297560"/>
                <a:gd name="connsiteX57" fmla="*/ 56483 w 145827"/>
                <a:gd name="connsiteY57" fmla="*/ 71628 h 297560"/>
                <a:gd name="connsiteX58" fmla="*/ 47435 w 145827"/>
                <a:gd name="connsiteY58" fmla="*/ 79534 h 297560"/>
                <a:gd name="connsiteX59" fmla="*/ 45148 w 145827"/>
                <a:gd name="connsiteY59" fmla="*/ 76390 h 297560"/>
                <a:gd name="connsiteX60" fmla="*/ 37433 w 145827"/>
                <a:gd name="connsiteY60" fmla="*/ 77152 h 297560"/>
                <a:gd name="connsiteX61" fmla="*/ 39243 w 145827"/>
                <a:gd name="connsiteY61" fmla="*/ 81343 h 297560"/>
                <a:gd name="connsiteX62" fmla="*/ 34766 w 145827"/>
                <a:gd name="connsiteY62" fmla="*/ 84772 h 297560"/>
                <a:gd name="connsiteX63" fmla="*/ 51054 w 145827"/>
                <a:gd name="connsiteY63" fmla="*/ 94297 h 297560"/>
                <a:gd name="connsiteX64" fmla="*/ 61151 w 145827"/>
                <a:gd name="connsiteY64" fmla="*/ 97250 h 297560"/>
                <a:gd name="connsiteX65" fmla="*/ 58579 w 145827"/>
                <a:gd name="connsiteY65" fmla="*/ 101727 h 297560"/>
                <a:gd name="connsiteX66" fmla="*/ 64008 w 145827"/>
                <a:gd name="connsiteY66" fmla="*/ 107823 h 297560"/>
                <a:gd name="connsiteX67" fmla="*/ 66294 w 145827"/>
                <a:gd name="connsiteY67" fmla="*/ 105918 h 297560"/>
                <a:gd name="connsiteX68" fmla="*/ 69342 w 145827"/>
                <a:gd name="connsiteY68" fmla="*/ 114871 h 297560"/>
                <a:gd name="connsiteX69" fmla="*/ 87439 w 145827"/>
                <a:gd name="connsiteY69" fmla="*/ 131540 h 297560"/>
                <a:gd name="connsiteX70" fmla="*/ 88963 w 145827"/>
                <a:gd name="connsiteY70" fmla="*/ 143065 h 297560"/>
                <a:gd name="connsiteX71" fmla="*/ 93917 w 145827"/>
                <a:gd name="connsiteY71" fmla="*/ 139446 h 297560"/>
                <a:gd name="connsiteX72" fmla="*/ 96488 w 145827"/>
                <a:gd name="connsiteY72" fmla="*/ 144971 h 297560"/>
                <a:gd name="connsiteX73" fmla="*/ 106013 w 145827"/>
                <a:gd name="connsiteY73" fmla="*/ 150781 h 297560"/>
                <a:gd name="connsiteX74" fmla="*/ 100394 w 145827"/>
                <a:gd name="connsiteY74" fmla="*/ 154972 h 297560"/>
                <a:gd name="connsiteX75" fmla="*/ 107823 w 145827"/>
                <a:gd name="connsiteY75" fmla="*/ 163354 h 297560"/>
                <a:gd name="connsiteX76" fmla="*/ 110395 w 145827"/>
                <a:gd name="connsiteY76" fmla="*/ 166306 h 297560"/>
                <a:gd name="connsiteX77" fmla="*/ 106585 w 145827"/>
                <a:gd name="connsiteY77" fmla="*/ 171069 h 297560"/>
                <a:gd name="connsiteX78" fmla="*/ 107537 w 145827"/>
                <a:gd name="connsiteY78" fmla="*/ 176879 h 297560"/>
                <a:gd name="connsiteX79" fmla="*/ 108395 w 145827"/>
                <a:gd name="connsiteY79" fmla="*/ 181546 h 297560"/>
                <a:gd name="connsiteX80" fmla="*/ 104204 w 145827"/>
                <a:gd name="connsiteY80" fmla="*/ 185261 h 297560"/>
                <a:gd name="connsiteX81" fmla="*/ 105823 w 145827"/>
                <a:gd name="connsiteY81" fmla="*/ 195548 h 297560"/>
                <a:gd name="connsiteX82" fmla="*/ 109919 w 145827"/>
                <a:gd name="connsiteY82" fmla="*/ 202406 h 297560"/>
                <a:gd name="connsiteX83" fmla="*/ 106299 w 145827"/>
                <a:gd name="connsiteY83" fmla="*/ 211931 h 297560"/>
                <a:gd name="connsiteX84" fmla="*/ 108585 w 145827"/>
                <a:gd name="connsiteY84" fmla="*/ 224123 h 297560"/>
                <a:gd name="connsiteX85" fmla="*/ 104965 w 145827"/>
                <a:gd name="connsiteY85" fmla="*/ 228029 h 297560"/>
                <a:gd name="connsiteX86" fmla="*/ 101632 w 145827"/>
                <a:gd name="connsiteY86" fmla="*/ 225457 h 297560"/>
                <a:gd name="connsiteX87" fmla="*/ 86201 w 145827"/>
                <a:gd name="connsiteY87" fmla="*/ 232791 h 297560"/>
                <a:gd name="connsiteX88" fmla="*/ 86201 w 145827"/>
                <a:gd name="connsiteY88" fmla="*/ 238887 h 297560"/>
                <a:gd name="connsiteX89" fmla="*/ 77724 w 145827"/>
                <a:gd name="connsiteY89" fmla="*/ 236791 h 297560"/>
                <a:gd name="connsiteX90" fmla="*/ 74104 w 145827"/>
                <a:gd name="connsiteY90" fmla="*/ 240697 h 297560"/>
                <a:gd name="connsiteX91" fmla="*/ 76390 w 145827"/>
                <a:gd name="connsiteY91" fmla="*/ 247840 h 297560"/>
                <a:gd name="connsiteX92" fmla="*/ 82296 w 145827"/>
                <a:gd name="connsiteY92" fmla="*/ 253079 h 297560"/>
                <a:gd name="connsiteX93" fmla="*/ 75152 w 145827"/>
                <a:gd name="connsiteY93" fmla="*/ 256508 h 297560"/>
                <a:gd name="connsiteX94" fmla="*/ 70485 w 145827"/>
                <a:gd name="connsiteY94" fmla="*/ 250698 h 297560"/>
                <a:gd name="connsiteX95" fmla="*/ 58579 w 145827"/>
                <a:gd name="connsiteY95" fmla="*/ 253841 h 297560"/>
                <a:gd name="connsiteX96" fmla="*/ 59912 w 145827"/>
                <a:gd name="connsiteY96" fmla="*/ 258889 h 297560"/>
                <a:gd name="connsiteX97" fmla="*/ 55245 w 145827"/>
                <a:gd name="connsiteY97" fmla="*/ 263366 h 297560"/>
                <a:gd name="connsiteX98" fmla="*/ 49054 w 145827"/>
                <a:gd name="connsiteY98" fmla="*/ 261556 h 297560"/>
                <a:gd name="connsiteX99" fmla="*/ 45720 w 145827"/>
                <a:gd name="connsiteY99" fmla="*/ 264605 h 297560"/>
                <a:gd name="connsiteX100" fmla="*/ 45720 w 145827"/>
                <a:gd name="connsiteY100" fmla="*/ 264605 h 297560"/>
                <a:gd name="connsiteX101" fmla="*/ 46387 w 145827"/>
                <a:gd name="connsiteY101" fmla="*/ 264605 h 297560"/>
                <a:gd name="connsiteX102" fmla="*/ 54673 w 145827"/>
                <a:gd name="connsiteY102" fmla="*/ 278511 h 297560"/>
                <a:gd name="connsiteX103" fmla="*/ 56674 w 145827"/>
                <a:gd name="connsiteY103" fmla="*/ 297561 h 297560"/>
                <a:gd name="connsiteX104" fmla="*/ 67913 w 145827"/>
                <a:gd name="connsiteY104" fmla="*/ 289274 h 297560"/>
                <a:gd name="connsiteX105" fmla="*/ 81058 w 145827"/>
                <a:gd name="connsiteY105" fmla="*/ 284702 h 297560"/>
                <a:gd name="connsiteX106" fmla="*/ 73533 w 145827"/>
                <a:gd name="connsiteY106" fmla="*/ 272129 h 297560"/>
                <a:gd name="connsiteX107" fmla="*/ 88011 w 145827"/>
                <a:gd name="connsiteY107" fmla="*/ 280416 h 297560"/>
                <a:gd name="connsiteX108" fmla="*/ 101918 w 145827"/>
                <a:gd name="connsiteY108" fmla="*/ 264509 h 297560"/>
                <a:gd name="connsiteX109" fmla="*/ 116777 w 145827"/>
                <a:gd name="connsiteY109" fmla="*/ 257937 h 297560"/>
                <a:gd name="connsiteX110" fmla="*/ 136874 w 145827"/>
                <a:gd name="connsiteY110" fmla="*/ 238887 h 297560"/>
                <a:gd name="connsiteX111" fmla="*/ 141542 w 145827"/>
                <a:gd name="connsiteY111" fmla="*/ 237172 h 297560"/>
                <a:gd name="connsiteX112" fmla="*/ 145828 w 145827"/>
                <a:gd name="connsiteY112" fmla="*/ 213265 h 29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45827" h="297560">
                  <a:moveTo>
                    <a:pt x="142018" y="194596"/>
                  </a:moveTo>
                  <a:lnTo>
                    <a:pt x="133540" y="173355"/>
                  </a:lnTo>
                  <a:lnTo>
                    <a:pt x="134684" y="166878"/>
                  </a:lnTo>
                  <a:lnTo>
                    <a:pt x="122492" y="148685"/>
                  </a:lnTo>
                  <a:lnTo>
                    <a:pt x="112300" y="145637"/>
                  </a:lnTo>
                  <a:lnTo>
                    <a:pt x="87821" y="120015"/>
                  </a:lnTo>
                  <a:lnTo>
                    <a:pt x="84868" y="108871"/>
                  </a:lnTo>
                  <a:lnTo>
                    <a:pt x="68961" y="93059"/>
                  </a:lnTo>
                  <a:lnTo>
                    <a:pt x="72009" y="78867"/>
                  </a:lnTo>
                  <a:lnTo>
                    <a:pt x="92107" y="56388"/>
                  </a:lnTo>
                  <a:lnTo>
                    <a:pt x="89154" y="49339"/>
                  </a:lnTo>
                  <a:lnTo>
                    <a:pt x="103346" y="49339"/>
                  </a:lnTo>
                  <a:lnTo>
                    <a:pt x="104299" y="42672"/>
                  </a:lnTo>
                  <a:lnTo>
                    <a:pt x="115538" y="38195"/>
                  </a:lnTo>
                  <a:lnTo>
                    <a:pt x="116872" y="38195"/>
                  </a:lnTo>
                  <a:lnTo>
                    <a:pt x="111919" y="33433"/>
                  </a:lnTo>
                  <a:lnTo>
                    <a:pt x="105728" y="36481"/>
                  </a:lnTo>
                  <a:lnTo>
                    <a:pt x="102108" y="32956"/>
                  </a:lnTo>
                  <a:lnTo>
                    <a:pt x="89630" y="28099"/>
                  </a:lnTo>
                  <a:lnTo>
                    <a:pt x="86487" y="18574"/>
                  </a:lnTo>
                  <a:lnTo>
                    <a:pt x="90678" y="16669"/>
                  </a:lnTo>
                  <a:lnTo>
                    <a:pt x="91916" y="9811"/>
                  </a:lnTo>
                  <a:lnTo>
                    <a:pt x="82391" y="10954"/>
                  </a:lnTo>
                  <a:lnTo>
                    <a:pt x="80010" y="7620"/>
                  </a:lnTo>
                  <a:lnTo>
                    <a:pt x="73819" y="9811"/>
                  </a:lnTo>
                  <a:lnTo>
                    <a:pt x="72009" y="6858"/>
                  </a:lnTo>
                  <a:lnTo>
                    <a:pt x="67151" y="6001"/>
                  </a:lnTo>
                  <a:lnTo>
                    <a:pt x="62675" y="0"/>
                  </a:lnTo>
                  <a:lnTo>
                    <a:pt x="53150" y="4953"/>
                  </a:lnTo>
                  <a:lnTo>
                    <a:pt x="53912" y="9334"/>
                  </a:lnTo>
                  <a:lnTo>
                    <a:pt x="43720" y="14478"/>
                  </a:lnTo>
                  <a:lnTo>
                    <a:pt x="42291" y="10382"/>
                  </a:lnTo>
                  <a:lnTo>
                    <a:pt x="38576" y="11430"/>
                  </a:lnTo>
                  <a:lnTo>
                    <a:pt x="36386" y="18192"/>
                  </a:lnTo>
                  <a:lnTo>
                    <a:pt x="30480" y="12382"/>
                  </a:lnTo>
                  <a:lnTo>
                    <a:pt x="27813" y="15621"/>
                  </a:lnTo>
                  <a:lnTo>
                    <a:pt x="23336" y="12097"/>
                  </a:lnTo>
                  <a:lnTo>
                    <a:pt x="17621" y="20098"/>
                  </a:lnTo>
                  <a:lnTo>
                    <a:pt x="13526" y="15621"/>
                  </a:lnTo>
                  <a:lnTo>
                    <a:pt x="6382" y="12382"/>
                  </a:lnTo>
                  <a:lnTo>
                    <a:pt x="2477" y="19907"/>
                  </a:lnTo>
                  <a:lnTo>
                    <a:pt x="0" y="19907"/>
                  </a:lnTo>
                  <a:lnTo>
                    <a:pt x="0" y="19907"/>
                  </a:lnTo>
                  <a:lnTo>
                    <a:pt x="9525" y="34385"/>
                  </a:lnTo>
                  <a:lnTo>
                    <a:pt x="14669" y="31337"/>
                  </a:lnTo>
                  <a:lnTo>
                    <a:pt x="17812" y="34957"/>
                  </a:lnTo>
                  <a:lnTo>
                    <a:pt x="14478" y="44482"/>
                  </a:lnTo>
                  <a:lnTo>
                    <a:pt x="21146" y="53054"/>
                  </a:lnTo>
                  <a:lnTo>
                    <a:pt x="25813" y="52483"/>
                  </a:lnTo>
                  <a:lnTo>
                    <a:pt x="31433" y="56579"/>
                  </a:lnTo>
                  <a:lnTo>
                    <a:pt x="32766" y="52197"/>
                  </a:lnTo>
                  <a:lnTo>
                    <a:pt x="39243" y="49435"/>
                  </a:lnTo>
                  <a:lnTo>
                    <a:pt x="50292" y="57150"/>
                  </a:lnTo>
                  <a:lnTo>
                    <a:pt x="43339" y="61817"/>
                  </a:lnTo>
                  <a:lnTo>
                    <a:pt x="50292" y="63151"/>
                  </a:lnTo>
                  <a:lnTo>
                    <a:pt x="51340" y="66580"/>
                  </a:lnTo>
                  <a:lnTo>
                    <a:pt x="55721" y="66580"/>
                  </a:lnTo>
                  <a:lnTo>
                    <a:pt x="56483" y="71628"/>
                  </a:lnTo>
                  <a:lnTo>
                    <a:pt x="47435" y="79534"/>
                  </a:lnTo>
                  <a:lnTo>
                    <a:pt x="45148" y="76390"/>
                  </a:lnTo>
                  <a:lnTo>
                    <a:pt x="37433" y="77152"/>
                  </a:lnTo>
                  <a:lnTo>
                    <a:pt x="39243" y="81343"/>
                  </a:lnTo>
                  <a:lnTo>
                    <a:pt x="34766" y="84772"/>
                  </a:lnTo>
                  <a:lnTo>
                    <a:pt x="51054" y="94297"/>
                  </a:lnTo>
                  <a:lnTo>
                    <a:pt x="61151" y="97250"/>
                  </a:lnTo>
                  <a:lnTo>
                    <a:pt x="58579" y="101727"/>
                  </a:lnTo>
                  <a:lnTo>
                    <a:pt x="64008" y="107823"/>
                  </a:lnTo>
                  <a:lnTo>
                    <a:pt x="66294" y="105918"/>
                  </a:lnTo>
                  <a:lnTo>
                    <a:pt x="69342" y="114871"/>
                  </a:lnTo>
                  <a:lnTo>
                    <a:pt x="87439" y="131540"/>
                  </a:lnTo>
                  <a:lnTo>
                    <a:pt x="88963" y="143065"/>
                  </a:lnTo>
                  <a:lnTo>
                    <a:pt x="93917" y="139446"/>
                  </a:lnTo>
                  <a:lnTo>
                    <a:pt x="96488" y="144971"/>
                  </a:lnTo>
                  <a:lnTo>
                    <a:pt x="106013" y="150781"/>
                  </a:lnTo>
                  <a:lnTo>
                    <a:pt x="100394" y="154972"/>
                  </a:lnTo>
                  <a:lnTo>
                    <a:pt x="107823" y="163354"/>
                  </a:lnTo>
                  <a:lnTo>
                    <a:pt x="110395" y="166306"/>
                  </a:lnTo>
                  <a:lnTo>
                    <a:pt x="106585" y="171069"/>
                  </a:lnTo>
                  <a:lnTo>
                    <a:pt x="107537" y="176879"/>
                  </a:lnTo>
                  <a:lnTo>
                    <a:pt x="108395" y="181546"/>
                  </a:lnTo>
                  <a:lnTo>
                    <a:pt x="104204" y="185261"/>
                  </a:lnTo>
                  <a:lnTo>
                    <a:pt x="105823" y="195548"/>
                  </a:lnTo>
                  <a:lnTo>
                    <a:pt x="109919" y="202406"/>
                  </a:lnTo>
                  <a:cubicBezTo>
                    <a:pt x="109919" y="202406"/>
                    <a:pt x="106013" y="211931"/>
                    <a:pt x="106299" y="211931"/>
                  </a:cubicBezTo>
                  <a:cubicBezTo>
                    <a:pt x="106585" y="211931"/>
                    <a:pt x="108585" y="224123"/>
                    <a:pt x="108585" y="224123"/>
                  </a:cubicBezTo>
                  <a:lnTo>
                    <a:pt x="104965" y="228029"/>
                  </a:lnTo>
                  <a:lnTo>
                    <a:pt x="101632" y="225457"/>
                  </a:lnTo>
                  <a:lnTo>
                    <a:pt x="86201" y="232791"/>
                  </a:lnTo>
                  <a:lnTo>
                    <a:pt x="86201" y="238887"/>
                  </a:lnTo>
                  <a:lnTo>
                    <a:pt x="77724" y="236791"/>
                  </a:lnTo>
                  <a:lnTo>
                    <a:pt x="74104" y="240697"/>
                  </a:lnTo>
                  <a:lnTo>
                    <a:pt x="76390" y="247840"/>
                  </a:lnTo>
                  <a:lnTo>
                    <a:pt x="82296" y="253079"/>
                  </a:lnTo>
                  <a:lnTo>
                    <a:pt x="75152" y="256508"/>
                  </a:lnTo>
                  <a:lnTo>
                    <a:pt x="70485" y="250698"/>
                  </a:lnTo>
                  <a:lnTo>
                    <a:pt x="58579" y="253841"/>
                  </a:lnTo>
                  <a:lnTo>
                    <a:pt x="59912" y="258889"/>
                  </a:lnTo>
                  <a:lnTo>
                    <a:pt x="55245" y="263366"/>
                  </a:lnTo>
                  <a:lnTo>
                    <a:pt x="49054" y="261556"/>
                  </a:lnTo>
                  <a:lnTo>
                    <a:pt x="45720" y="264605"/>
                  </a:lnTo>
                  <a:lnTo>
                    <a:pt x="45720" y="264605"/>
                  </a:lnTo>
                  <a:lnTo>
                    <a:pt x="46387" y="264605"/>
                  </a:lnTo>
                  <a:lnTo>
                    <a:pt x="54673" y="278511"/>
                  </a:lnTo>
                  <a:lnTo>
                    <a:pt x="56674" y="297561"/>
                  </a:lnTo>
                  <a:lnTo>
                    <a:pt x="67913" y="289274"/>
                  </a:lnTo>
                  <a:lnTo>
                    <a:pt x="81058" y="284702"/>
                  </a:lnTo>
                  <a:lnTo>
                    <a:pt x="73533" y="272129"/>
                  </a:lnTo>
                  <a:lnTo>
                    <a:pt x="88011" y="280416"/>
                  </a:lnTo>
                  <a:lnTo>
                    <a:pt x="101918" y="264509"/>
                  </a:lnTo>
                  <a:lnTo>
                    <a:pt x="116777" y="257937"/>
                  </a:lnTo>
                  <a:lnTo>
                    <a:pt x="136874" y="238887"/>
                  </a:lnTo>
                  <a:lnTo>
                    <a:pt x="141542" y="237172"/>
                  </a:lnTo>
                  <a:lnTo>
                    <a:pt x="145828" y="21326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3" name="Freeform: Shape 2653">
              <a:extLst>
                <a:ext uri="{FF2B5EF4-FFF2-40B4-BE49-F238E27FC236}">
                  <a16:creationId xmlns:a16="http://schemas.microsoft.com/office/drawing/2014/main" id="{7D90757A-1D09-8E1A-3183-138C841E137B}"/>
                </a:ext>
              </a:extLst>
            </p:cNvPr>
            <p:cNvSpPr/>
            <p:nvPr/>
          </p:nvSpPr>
          <p:spPr>
            <a:xfrm>
              <a:off x="2760249" y="4079779"/>
              <a:ext cx="102584" cy="77533"/>
            </a:xfrm>
            <a:custGeom>
              <a:avLst/>
              <a:gdLst>
                <a:gd name="connsiteX0" fmla="*/ 9239 w 102584"/>
                <a:gd name="connsiteY0" fmla="*/ 51245 h 77533"/>
                <a:gd name="connsiteX1" fmla="*/ 14192 w 102584"/>
                <a:gd name="connsiteY1" fmla="*/ 66104 h 77533"/>
                <a:gd name="connsiteX2" fmla="*/ 72771 w 102584"/>
                <a:gd name="connsiteY2" fmla="*/ 77534 h 77533"/>
                <a:gd name="connsiteX3" fmla="*/ 77533 w 102584"/>
                <a:gd name="connsiteY3" fmla="*/ 72485 h 77533"/>
                <a:gd name="connsiteX4" fmla="*/ 78200 w 102584"/>
                <a:gd name="connsiteY4" fmla="*/ 64008 h 77533"/>
                <a:gd name="connsiteX5" fmla="*/ 82868 w 102584"/>
                <a:gd name="connsiteY5" fmla="*/ 45815 h 77533"/>
                <a:gd name="connsiteX6" fmla="*/ 93726 w 102584"/>
                <a:gd name="connsiteY6" fmla="*/ 43339 h 77533"/>
                <a:gd name="connsiteX7" fmla="*/ 89440 w 102584"/>
                <a:gd name="connsiteY7" fmla="*/ 26575 h 77533"/>
                <a:gd name="connsiteX8" fmla="*/ 96012 w 102584"/>
                <a:gd name="connsiteY8" fmla="*/ 29718 h 77533"/>
                <a:gd name="connsiteX9" fmla="*/ 100013 w 102584"/>
                <a:gd name="connsiteY9" fmla="*/ 26194 h 77533"/>
                <a:gd name="connsiteX10" fmla="*/ 102584 w 102584"/>
                <a:gd name="connsiteY10" fmla="*/ 7620 h 77533"/>
                <a:gd name="connsiteX11" fmla="*/ 96583 w 102584"/>
                <a:gd name="connsiteY11" fmla="*/ 0 h 77533"/>
                <a:gd name="connsiteX12" fmla="*/ 96583 w 102584"/>
                <a:gd name="connsiteY12" fmla="*/ 0 h 77533"/>
                <a:gd name="connsiteX13" fmla="*/ 80201 w 102584"/>
                <a:gd name="connsiteY13" fmla="*/ 19907 h 77533"/>
                <a:gd name="connsiteX14" fmla="*/ 67628 w 102584"/>
                <a:gd name="connsiteY14" fmla="*/ 28289 h 77533"/>
                <a:gd name="connsiteX15" fmla="*/ 56102 w 102584"/>
                <a:gd name="connsiteY15" fmla="*/ 42291 h 77533"/>
                <a:gd name="connsiteX16" fmla="*/ 24765 w 102584"/>
                <a:gd name="connsiteY16" fmla="*/ 42291 h 77533"/>
                <a:gd name="connsiteX17" fmla="*/ 15812 w 102584"/>
                <a:gd name="connsiteY17" fmla="*/ 46196 h 77533"/>
                <a:gd name="connsiteX18" fmla="*/ 9525 w 102584"/>
                <a:gd name="connsiteY18" fmla="*/ 42672 h 77533"/>
                <a:gd name="connsiteX19" fmla="*/ 5906 w 102584"/>
                <a:gd name="connsiteY19" fmla="*/ 37052 h 77533"/>
                <a:gd name="connsiteX20" fmla="*/ 0 w 102584"/>
                <a:gd name="connsiteY20" fmla="*/ 38767 h 77533"/>
                <a:gd name="connsiteX21" fmla="*/ 953 w 102584"/>
                <a:gd name="connsiteY21" fmla="*/ 42386 h 77533"/>
                <a:gd name="connsiteX22" fmla="*/ 9239 w 102584"/>
                <a:gd name="connsiteY22" fmla="*/ 51245 h 7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2584" h="77533">
                  <a:moveTo>
                    <a:pt x="9239" y="51245"/>
                  </a:moveTo>
                  <a:lnTo>
                    <a:pt x="14192" y="66104"/>
                  </a:lnTo>
                  <a:lnTo>
                    <a:pt x="72771" y="77534"/>
                  </a:lnTo>
                  <a:lnTo>
                    <a:pt x="77533" y="72485"/>
                  </a:lnTo>
                  <a:lnTo>
                    <a:pt x="78200" y="64008"/>
                  </a:lnTo>
                  <a:lnTo>
                    <a:pt x="82868" y="45815"/>
                  </a:lnTo>
                  <a:lnTo>
                    <a:pt x="93726" y="43339"/>
                  </a:lnTo>
                  <a:lnTo>
                    <a:pt x="89440" y="26575"/>
                  </a:lnTo>
                  <a:lnTo>
                    <a:pt x="96012" y="29718"/>
                  </a:lnTo>
                  <a:lnTo>
                    <a:pt x="100013" y="26194"/>
                  </a:lnTo>
                  <a:lnTo>
                    <a:pt x="102584" y="7620"/>
                  </a:lnTo>
                  <a:lnTo>
                    <a:pt x="96583" y="0"/>
                  </a:lnTo>
                  <a:lnTo>
                    <a:pt x="96583" y="0"/>
                  </a:lnTo>
                  <a:lnTo>
                    <a:pt x="80201" y="19907"/>
                  </a:lnTo>
                  <a:lnTo>
                    <a:pt x="67628" y="28289"/>
                  </a:lnTo>
                  <a:lnTo>
                    <a:pt x="56102" y="42291"/>
                  </a:lnTo>
                  <a:lnTo>
                    <a:pt x="24765" y="42291"/>
                  </a:lnTo>
                  <a:lnTo>
                    <a:pt x="15812" y="46196"/>
                  </a:lnTo>
                  <a:lnTo>
                    <a:pt x="9525" y="42672"/>
                  </a:lnTo>
                  <a:lnTo>
                    <a:pt x="5906" y="37052"/>
                  </a:lnTo>
                  <a:lnTo>
                    <a:pt x="0" y="38767"/>
                  </a:lnTo>
                  <a:lnTo>
                    <a:pt x="953" y="42386"/>
                  </a:lnTo>
                  <a:lnTo>
                    <a:pt x="9239" y="5124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4" name="Freeform: Shape 2654">
              <a:extLst>
                <a:ext uri="{FF2B5EF4-FFF2-40B4-BE49-F238E27FC236}">
                  <a16:creationId xmlns:a16="http://schemas.microsoft.com/office/drawing/2014/main" id="{33BEF8E7-F454-098B-839D-2C082D75E6B8}"/>
                </a:ext>
              </a:extLst>
            </p:cNvPr>
            <p:cNvSpPr/>
            <p:nvPr/>
          </p:nvSpPr>
          <p:spPr>
            <a:xfrm>
              <a:off x="2784538" y="3706018"/>
              <a:ext cx="280416" cy="178593"/>
            </a:xfrm>
            <a:custGeom>
              <a:avLst/>
              <a:gdLst>
                <a:gd name="connsiteX0" fmla="*/ 280416 w 280416"/>
                <a:gd name="connsiteY0" fmla="*/ 114109 h 178593"/>
                <a:gd name="connsiteX1" fmla="*/ 268891 w 280416"/>
                <a:gd name="connsiteY1" fmla="*/ 108109 h 178593"/>
                <a:gd name="connsiteX2" fmla="*/ 259271 w 280416"/>
                <a:gd name="connsiteY2" fmla="*/ 107728 h 178593"/>
                <a:gd name="connsiteX3" fmla="*/ 235363 w 280416"/>
                <a:gd name="connsiteY3" fmla="*/ 90297 h 178593"/>
                <a:gd name="connsiteX4" fmla="*/ 228695 w 280416"/>
                <a:gd name="connsiteY4" fmla="*/ 90297 h 178593"/>
                <a:gd name="connsiteX5" fmla="*/ 196882 w 280416"/>
                <a:gd name="connsiteY5" fmla="*/ 67723 h 178593"/>
                <a:gd name="connsiteX6" fmla="*/ 194977 w 280416"/>
                <a:gd name="connsiteY6" fmla="*/ 58293 h 178593"/>
                <a:gd name="connsiteX7" fmla="*/ 188786 w 280416"/>
                <a:gd name="connsiteY7" fmla="*/ 54197 h 178593"/>
                <a:gd name="connsiteX8" fmla="*/ 185642 w 280416"/>
                <a:gd name="connsiteY8" fmla="*/ 41148 h 178593"/>
                <a:gd name="connsiteX9" fmla="*/ 183642 w 280416"/>
                <a:gd name="connsiteY9" fmla="*/ 40005 h 178593"/>
                <a:gd name="connsiteX10" fmla="*/ 176117 w 280416"/>
                <a:gd name="connsiteY10" fmla="*/ 35909 h 178593"/>
                <a:gd name="connsiteX11" fmla="*/ 174117 w 280416"/>
                <a:gd name="connsiteY11" fmla="*/ 40005 h 178593"/>
                <a:gd name="connsiteX12" fmla="*/ 158591 w 280416"/>
                <a:gd name="connsiteY12" fmla="*/ 38767 h 178593"/>
                <a:gd name="connsiteX13" fmla="*/ 150019 w 280416"/>
                <a:gd name="connsiteY13" fmla="*/ 33433 h 178593"/>
                <a:gd name="connsiteX14" fmla="*/ 155067 w 280416"/>
                <a:gd name="connsiteY14" fmla="*/ 26670 h 178593"/>
                <a:gd name="connsiteX15" fmla="*/ 148685 w 280416"/>
                <a:gd name="connsiteY15" fmla="*/ 19621 h 178593"/>
                <a:gd name="connsiteX16" fmla="*/ 150400 w 280416"/>
                <a:gd name="connsiteY16" fmla="*/ 14192 h 178593"/>
                <a:gd name="connsiteX17" fmla="*/ 147066 w 280416"/>
                <a:gd name="connsiteY17" fmla="*/ 10096 h 178593"/>
                <a:gd name="connsiteX18" fmla="*/ 133826 w 280416"/>
                <a:gd name="connsiteY18" fmla="*/ 11049 h 178593"/>
                <a:gd name="connsiteX19" fmla="*/ 120967 w 280416"/>
                <a:gd name="connsiteY19" fmla="*/ 0 h 178593"/>
                <a:gd name="connsiteX20" fmla="*/ 114681 w 280416"/>
                <a:gd name="connsiteY20" fmla="*/ 2476 h 178593"/>
                <a:gd name="connsiteX21" fmla="*/ 118967 w 280416"/>
                <a:gd name="connsiteY21" fmla="*/ 12287 h 178593"/>
                <a:gd name="connsiteX22" fmla="*/ 107061 w 280416"/>
                <a:gd name="connsiteY22" fmla="*/ 8572 h 178593"/>
                <a:gd name="connsiteX23" fmla="*/ 106108 w 280416"/>
                <a:gd name="connsiteY23" fmla="*/ 14668 h 178593"/>
                <a:gd name="connsiteX24" fmla="*/ 97822 w 280416"/>
                <a:gd name="connsiteY24" fmla="*/ 15526 h 178593"/>
                <a:gd name="connsiteX25" fmla="*/ 89154 w 280416"/>
                <a:gd name="connsiteY25" fmla="*/ 21907 h 178593"/>
                <a:gd name="connsiteX26" fmla="*/ 89154 w 280416"/>
                <a:gd name="connsiteY26" fmla="*/ 29718 h 178593"/>
                <a:gd name="connsiteX27" fmla="*/ 93917 w 280416"/>
                <a:gd name="connsiteY27" fmla="*/ 37529 h 178593"/>
                <a:gd name="connsiteX28" fmla="*/ 69152 w 280416"/>
                <a:gd name="connsiteY28" fmla="*/ 35909 h 178593"/>
                <a:gd name="connsiteX29" fmla="*/ 60198 w 280416"/>
                <a:gd name="connsiteY29" fmla="*/ 39148 h 178593"/>
                <a:gd name="connsiteX30" fmla="*/ 50102 w 280416"/>
                <a:gd name="connsiteY30" fmla="*/ 25813 h 178593"/>
                <a:gd name="connsiteX31" fmla="*/ 48673 w 280416"/>
                <a:gd name="connsiteY31" fmla="*/ 17907 h 178593"/>
                <a:gd name="connsiteX32" fmla="*/ 29337 w 280416"/>
                <a:gd name="connsiteY32" fmla="*/ 8287 h 178593"/>
                <a:gd name="connsiteX33" fmla="*/ 8001 w 280416"/>
                <a:gd name="connsiteY33" fmla="*/ 12859 h 178593"/>
                <a:gd name="connsiteX34" fmla="*/ 0 w 280416"/>
                <a:gd name="connsiteY34" fmla="*/ 22765 h 178593"/>
                <a:gd name="connsiteX35" fmla="*/ 4572 w 280416"/>
                <a:gd name="connsiteY35" fmla="*/ 35242 h 178593"/>
                <a:gd name="connsiteX36" fmla="*/ 10001 w 280416"/>
                <a:gd name="connsiteY36" fmla="*/ 17050 h 178593"/>
                <a:gd name="connsiteX37" fmla="*/ 27813 w 280416"/>
                <a:gd name="connsiteY37" fmla="*/ 17050 h 178593"/>
                <a:gd name="connsiteX38" fmla="*/ 28575 w 280416"/>
                <a:gd name="connsiteY38" fmla="*/ 27622 h 178593"/>
                <a:gd name="connsiteX39" fmla="*/ 44006 w 280416"/>
                <a:gd name="connsiteY39" fmla="*/ 42863 h 178593"/>
                <a:gd name="connsiteX40" fmla="*/ 23146 w 280416"/>
                <a:gd name="connsiteY40" fmla="*/ 51435 h 178593"/>
                <a:gd name="connsiteX41" fmla="*/ 7620 w 280416"/>
                <a:gd name="connsiteY41" fmla="*/ 40957 h 178593"/>
                <a:gd name="connsiteX42" fmla="*/ 2191 w 280416"/>
                <a:gd name="connsiteY42" fmla="*/ 62960 h 178593"/>
                <a:gd name="connsiteX43" fmla="*/ 17717 w 280416"/>
                <a:gd name="connsiteY43" fmla="*/ 68675 h 178593"/>
                <a:gd name="connsiteX44" fmla="*/ 10763 w 280416"/>
                <a:gd name="connsiteY44" fmla="*/ 78296 h 178593"/>
                <a:gd name="connsiteX45" fmla="*/ 27051 w 280416"/>
                <a:gd name="connsiteY45" fmla="*/ 91440 h 178593"/>
                <a:gd name="connsiteX46" fmla="*/ 25432 w 280416"/>
                <a:gd name="connsiteY46" fmla="*/ 117729 h 178593"/>
                <a:gd name="connsiteX47" fmla="*/ 27051 w 280416"/>
                <a:gd name="connsiteY47" fmla="*/ 127825 h 178593"/>
                <a:gd name="connsiteX48" fmla="*/ 27146 w 280416"/>
                <a:gd name="connsiteY48" fmla="*/ 127921 h 178593"/>
                <a:gd name="connsiteX49" fmla="*/ 34100 w 280416"/>
                <a:gd name="connsiteY49" fmla="*/ 128302 h 178593"/>
                <a:gd name="connsiteX50" fmla="*/ 43339 w 280416"/>
                <a:gd name="connsiteY50" fmla="*/ 125254 h 178593"/>
                <a:gd name="connsiteX51" fmla="*/ 46006 w 280416"/>
                <a:gd name="connsiteY51" fmla="*/ 118967 h 178593"/>
                <a:gd name="connsiteX52" fmla="*/ 59531 w 280416"/>
                <a:gd name="connsiteY52" fmla="*/ 109918 h 178593"/>
                <a:gd name="connsiteX53" fmla="*/ 75724 w 280416"/>
                <a:gd name="connsiteY53" fmla="*/ 111442 h 178593"/>
                <a:gd name="connsiteX54" fmla="*/ 76676 w 280416"/>
                <a:gd name="connsiteY54" fmla="*/ 105918 h 178593"/>
                <a:gd name="connsiteX55" fmla="*/ 87725 w 280416"/>
                <a:gd name="connsiteY55" fmla="*/ 108109 h 178593"/>
                <a:gd name="connsiteX56" fmla="*/ 93917 w 280416"/>
                <a:gd name="connsiteY56" fmla="*/ 104394 h 178593"/>
                <a:gd name="connsiteX57" fmla="*/ 96965 w 280416"/>
                <a:gd name="connsiteY57" fmla="*/ 113919 h 178593"/>
                <a:gd name="connsiteX58" fmla="*/ 111062 w 280416"/>
                <a:gd name="connsiteY58" fmla="*/ 117824 h 178593"/>
                <a:gd name="connsiteX59" fmla="*/ 115824 w 280416"/>
                <a:gd name="connsiteY59" fmla="*/ 123158 h 178593"/>
                <a:gd name="connsiteX60" fmla="*/ 124301 w 280416"/>
                <a:gd name="connsiteY60" fmla="*/ 120777 h 178593"/>
                <a:gd name="connsiteX61" fmla="*/ 135827 w 280416"/>
                <a:gd name="connsiteY61" fmla="*/ 124492 h 178593"/>
                <a:gd name="connsiteX62" fmla="*/ 140779 w 280416"/>
                <a:gd name="connsiteY62" fmla="*/ 132779 h 178593"/>
                <a:gd name="connsiteX63" fmla="*/ 149066 w 280416"/>
                <a:gd name="connsiteY63" fmla="*/ 134969 h 178593"/>
                <a:gd name="connsiteX64" fmla="*/ 155638 w 280416"/>
                <a:gd name="connsiteY64" fmla="*/ 143637 h 178593"/>
                <a:gd name="connsiteX65" fmla="*/ 171831 w 280416"/>
                <a:gd name="connsiteY65" fmla="*/ 145447 h 178593"/>
                <a:gd name="connsiteX66" fmla="*/ 172784 w 280416"/>
                <a:gd name="connsiteY66" fmla="*/ 165640 h 178593"/>
                <a:gd name="connsiteX67" fmla="*/ 172403 w 280416"/>
                <a:gd name="connsiteY67" fmla="*/ 166783 h 178593"/>
                <a:gd name="connsiteX68" fmla="*/ 173831 w 280416"/>
                <a:gd name="connsiteY68" fmla="*/ 167164 h 178593"/>
                <a:gd name="connsiteX69" fmla="*/ 181451 w 280416"/>
                <a:gd name="connsiteY69" fmla="*/ 170783 h 178593"/>
                <a:gd name="connsiteX70" fmla="*/ 190119 w 280416"/>
                <a:gd name="connsiteY70" fmla="*/ 170116 h 178593"/>
                <a:gd name="connsiteX71" fmla="*/ 193929 w 280416"/>
                <a:gd name="connsiteY71" fmla="*/ 178594 h 178593"/>
                <a:gd name="connsiteX72" fmla="*/ 210121 w 280416"/>
                <a:gd name="connsiteY72" fmla="*/ 169736 h 178593"/>
                <a:gd name="connsiteX73" fmla="*/ 210121 w 280416"/>
                <a:gd name="connsiteY73" fmla="*/ 162306 h 178593"/>
                <a:gd name="connsiteX74" fmla="*/ 228981 w 280416"/>
                <a:gd name="connsiteY74" fmla="*/ 158210 h 178593"/>
                <a:gd name="connsiteX75" fmla="*/ 240125 w 280416"/>
                <a:gd name="connsiteY75" fmla="*/ 147733 h 178593"/>
                <a:gd name="connsiteX76" fmla="*/ 239840 w 280416"/>
                <a:gd name="connsiteY76" fmla="*/ 140779 h 178593"/>
                <a:gd name="connsiteX77" fmla="*/ 244792 w 280416"/>
                <a:gd name="connsiteY77" fmla="*/ 131636 h 178593"/>
                <a:gd name="connsiteX78" fmla="*/ 259937 w 280416"/>
                <a:gd name="connsiteY78" fmla="*/ 130112 h 178593"/>
                <a:gd name="connsiteX79" fmla="*/ 261271 w 280416"/>
                <a:gd name="connsiteY79" fmla="*/ 122111 h 178593"/>
                <a:gd name="connsiteX80" fmla="*/ 273177 w 280416"/>
                <a:gd name="connsiteY80" fmla="*/ 128588 h 178593"/>
                <a:gd name="connsiteX81" fmla="*/ 277749 w 280416"/>
                <a:gd name="connsiteY81" fmla="*/ 128206 h 178593"/>
                <a:gd name="connsiteX82" fmla="*/ 277844 w 280416"/>
                <a:gd name="connsiteY82" fmla="*/ 128111 h 178593"/>
                <a:gd name="connsiteX83" fmla="*/ 277749 w 280416"/>
                <a:gd name="connsiteY83" fmla="*/ 119539 h 178593"/>
                <a:gd name="connsiteX84" fmla="*/ 280416 w 280416"/>
                <a:gd name="connsiteY84" fmla="*/ 114109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80416" h="178593">
                  <a:moveTo>
                    <a:pt x="280416" y="114109"/>
                  </a:moveTo>
                  <a:lnTo>
                    <a:pt x="268891" y="108109"/>
                  </a:lnTo>
                  <a:lnTo>
                    <a:pt x="259271" y="107728"/>
                  </a:lnTo>
                  <a:lnTo>
                    <a:pt x="235363" y="90297"/>
                  </a:lnTo>
                  <a:lnTo>
                    <a:pt x="228695" y="90297"/>
                  </a:lnTo>
                  <a:lnTo>
                    <a:pt x="196882" y="67723"/>
                  </a:lnTo>
                  <a:lnTo>
                    <a:pt x="194977" y="58293"/>
                  </a:lnTo>
                  <a:lnTo>
                    <a:pt x="188786" y="54197"/>
                  </a:lnTo>
                  <a:lnTo>
                    <a:pt x="185642" y="41148"/>
                  </a:lnTo>
                  <a:lnTo>
                    <a:pt x="183642" y="40005"/>
                  </a:lnTo>
                  <a:lnTo>
                    <a:pt x="176117" y="35909"/>
                  </a:lnTo>
                  <a:lnTo>
                    <a:pt x="174117" y="40005"/>
                  </a:lnTo>
                  <a:lnTo>
                    <a:pt x="158591" y="38767"/>
                  </a:lnTo>
                  <a:lnTo>
                    <a:pt x="150019" y="33433"/>
                  </a:lnTo>
                  <a:lnTo>
                    <a:pt x="155067" y="26670"/>
                  </a:lnTo>
                  <a:lnTo>
                    <a:pt x="148685" y="19621"/>
                  </a:lnTo>
                  <a:lnTo>
                    <a:pt x="150400" y="14192"/>
                  </a:lnTo>
                  <a:lnTo>
                    <a:pt x="147066" y="10096"/>
                  </a:lnTo>
                  <a:lnTo>
                    <a:pt x="133826" y="11049"/>
                  </a:lnTo>
                  <a:lnTo>
                    <a:pt x="120967" y="0"/>
                  </a:lnTo>
                  <a:lnTo>
                    <a:pt x="114681" y="2476"/>
                  </a:lnTo>
                  <a:lnTo>
                    <a:pt x="118967" y="12287"/>
                  </a:lnTo>
                  <a:lnTo>
                    <a:pt x="107061" y="8572"/>
                  </a:lnTo>
                  <a:lnTo>
                    <a:pt x="106108" y="14668"/>
                  </a:lnTo>
                  <a:lnTo>
                    <a:pt x="97822" y="15526"/>
                  </a:lnTo>
                  <a:lnTo>
                    <a:pt x="89154" y="21907"/>
                  </a:lnTo>
                  <a:lnTo>
                    <a:pt x="89154" y="29718"/>
                  </a:lnTo>
                  <a:lnTo>
                    <a:pt x="93917" y="37529"/>
                  </a:lnTo>
                  <a:lnTo>
                    <a:pt x="69152" y="35909"/>
                  </a:lnTo>
                  <a:lnTo>
                    <a:pt x="60198" y="39148"/>
                  </a:lnTo>
                  <a:lnTo>
                    <a:pt x="50102" y="25813"/>
                  </a:lnTo>
                  <a:lnTo>
                    <a:pt x="48673" y="17907"/>
                  </a:lnTo>
                  <a:lnTo>
                    <a:pt x="29337" y="8287"/>
                  </a:lnTo>
                  <a:lnTo>
                    <a:pt x="8001" y="12859"/>
                  </a:lnTo>
                  <a:lnTo>
                    <a:pt x="0" y="22765"/>
                  </a:lnTo>
                  <a:lnTo>
                    <a:pt x="4572" y="35242"/>
                  </a:lnTo>
                  <a:lnTo>
                    <a:pt x="10001" y="17050"/>
                  </a:lnTo>
                  <a:lnTo>
                    <a:pt x="27813" y="17050"/>
                  </a:lnTo>
                  <a:lnTo>
                    <a:pt x="28575" y="27622"/>
                  </a:lnTo>
                  <a:lnTo>
                    <a:pt x="44006" y="42863"/>
                  </a:lnTo>
                  <a:lnTo>
                    <a:pt x="23146" y="51435"/>
                  </a:lnTo>
                  <a:lnTo>
                    <a:pt x="7620" y="40957"/>
                  </a:lnTo>
                  <a:lnTo>
                    <a:pt x="2191" y="62960"/>
                  </a:lnTo>
                  <a:lnTo>
                    <a:pt x="17717" y="68675"/>
                  </a:lnTo>
                  <a:lnTo>
                    <a:pt x="10763" y="78296"/>
                  </a:lnTo>
                  <a:lnTo>
                    <a:pt x="27051" y="91440"/>
                  </a:lnTo>
                  <a:lnTo>
                    <a:pt x="25432" y="117729"/>
                  </a:lnTo>
                  <a:lnTo>
                    <a:pt x="27051" y="127825"/>
                  </a:lnTo>
                  <a:lnTo>
                    <a:pt x="27146" y="127921"/>
                  </a:lnTo>
                  <a:lnTo>
                    <a:pt x="34100" y="128302"/>
                  </a:lnTo>
                  <a:lnTo>
                    <a:pt x="43339" y="125254"/>
                  </a:lnTo>
                  <a:lnTo>
                    <a:pt x="46006" y="118967"/>
                  </a:lnTo>
                  <a:lnTo>
                    <a:pt x="59531" y="109918"/>
                  </a:lnTo>
                  <a:lnTo>
                    <a:pt x="75724" y="111442"/>
                  </a:lnTo>
                  <a:lnTo>
                    <a:pt x="76676" y="105918"/>
                  </a:lnTo>
                  <a:lnTo>
                    <a:pt x="87725" y="108109"/>
                  </a:lnTo>
                  <a:lnTo>
                    <a:pt x="93917" y="104394"/>
                  </a:lnTo>
                  <a:lnTo>
                    <a:pt x="96965" y="113919"/>
                  </a:lnTo>
                  <a:lnTo>
                    <a:pt x="111062" y="117824"/>
                  </a:lnTo>
                  <a:lnTo>
                    <a:pt x="115824" y="123158"/>
                  </a:lnTo>
                  <a:lnTo>
                    <a:pt x="124301" y="120777"/>
                  </a:lnTo>
                  <a:lnTo>
                    <a:pt x="135827" y="124492"/>
                  </a:lnTo>
                  <a:lnTo>
                    <a:pt x="140779" y="132779"/>
                  </a:lnTo>
                  <a:lnTo>
                    <a:pt x="149066" y="134969"/>
                  </a:lnTo>
                  <a:lnTo>
                    <a:pt x="155638" y="143637"/>
                  </a:lnTo>
                  <a:lnTo>
                    <a:pt x="171831" y="145447"/>
                  </a:lnTo>
                  <a:lnTo>
                    <a:pt x="172784" y="165640"/>
                  </a:lnTo>
                  <a:lnTo>
                    <a:pt x="172403" y="166783"/>
                  </a:lnTo>
                  <a:lnTo>
                    <a:pt x="173831" y="167164"/>
                  </a:lnTo>
                  <a:lnTo>
                    <a:pt x="181451" y="170783"/>
                  </a:lnTo>
                  <a:lnTo>
                    <a:pt x="190119" y="170116"/>
                  </a:lnTo>
                  <a:lnTo>
                    <a:pt x="193929" y="178594"/>
                  </a:lnTo>
                  <a:lnTo>
                    <a:pt x="210121" y="169736"/>
                  </a:lnTo>
                  <a:lnTo>
                    <a:pt x="210121" y="162306"/>
                  </a:lnTo>
                  <a:lnTo>
                    <a:pt x="228981" y="158210"/>
                  </a:lnTo>
                  <a:lnTo>
                    <a:pt x="240125" y="147733"/>
                  </a:lnTo>
                  <a:lnTo>
                    <a:pt x="239840" y="140779"/>
                  </a:lnTo>
                  <a:lnTo>
                    <a:pt x="244792" y="131636"/>
                  </a:lnTo>
                  <a:lnTo>
                    <a:pt x="259937" y="130112"/>
                  </a:lnTo>
                  <a:lnTo>
                    <a:pt x="261271" y="122111"/>
                  </a:lnTo>
                  <a:lnTo>
                    <a:pt x="273177" y="128588"/>
                  </a:lnTo>
                  <a:lnTo>
                    <a:pt x="277749" y="128206"/>
                  </a:lnTo>
                  <a:lnTo>
                    <a:pt x="277844" y="128111"/>
                  </a:lnTo>
                  <a:lnTo>
                    <a:pt x="277749" y="119539"/>
                  </a:lnTo>
                  <a:lnTo>
                    <a:pt x="280416" y="11410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5" name="Freeform: Shape 2655">
              <a:extLst>
                <a:ext uri="{FF2B5EF4-FFF2-40B4-BE49-F238E27FC236}">
                  <a16:creationId xmlns:a16="http://schemas.microsoft.com/office/drawing/2014/main" id="{573DFC0F-15C3-94DF-27A3-5F9ECDE25F93}"/>
                </a:ext>
              </a:extLst>
            </p:cNvPr>
            <p:cNvSpPr/>
            <p:nvPr/>
          </p:nvSpPr>
          <p:spPr>
            <a:xfrm>
              <a:off x="2262282" y="3723163"/>
              <a:ext cx="370617" cy="146018"/>
            </a:xfrm>
            <a:custGeom>
              <a:avLst/>
              <a:gdLst>
                <a:gd name="connsiteX0" fmla="*/ 329565 w 370617"/>
                <a:gd name="connsiteY0" fmla="*/ 110014 h 146018"/>
                <a:gd name="connsiteX1" fmla="*/ 338899 w 370617"/>
                <a:gd name="connsiteY1" fmla="*/ 110014 h 146018"/>
                <a:gd name="connsiteX2" fmla="*/ 349758 w 370617"/>
                <a:gd name="connsiteY2" fmla="*/ 114871 h 146018"/>
                <a:gd name="connsiteX3" fmla="*/ 354140 w 370617"/>
                <a:gd name="connsiteY3" fmla="*/ 109823 h 146018"/>
                <a:gd name="connsiteX4" fmla="*/ 358616 w 370617"/>
                <a:gd name="connsiteY4" fmla="*/ 118967 h 146018"/>
                <a:gd name="connsiteX5" fmla="*/ 364236 w 370617"/>
                <a:gd name="connsiteY5" fmla="*/ 116014 h 146018"/>
                <a:gd name="connsiteX6" fmla="*/ 368522 w 370617"/>
                <a:gd name="connsiteY6" fmla="*/ 117253 h 146018"/>
                <a:gd name="connsiteX7" fmla="*/ 370618 w 370617"/>
                <a:gd name="connsiteY7" fmla="*/ 111443 h 146018"/>
                <a:gd name="connsiteX8" fmla="*/ 365474 w 370617"/>
                <a:gd name="connsiteY8" fmla="*/ 108871 h 146018"/>
                <a:gd name="connsiteX9" fmla="*/ 365855 w 370617"/>
                <a:gd name="connsiteY9" fmla="*/ 102489 h 146018"/>
                <a:gd name="connsiteX10" fmla="*/ 357949 w 370617"/>
                <a:gd name="connsiteY10" fmla="*/ 98393 h 146018"/>
                <a:gd name="connsiteX11" fmla="*/ 363379 w 370617"/>
                <a:gd name="connsiteY11" fmla="*/ 87249 h 146018"/>
                <a:gd name="connsiteX12" fmla="*/ 357949 w 370617"/>
                <a:gd name="connsiteY12" fmla="*/ 85820 h 146018"/>
                <a:gd name="connsiteX13" fmla="*/ 359283 w 370617"/>
                <a:gd name="connsiteY13" fmla="*/ 76771 h 146018"/>
                <a:gd name="connsiteX14" fmla="*/ 354330 w 370617"/>
                <a:gd name="connsiteY14" fmla="*/ 65151 h 146018"/>
                <a:gd name="connsiteX15" fmla="*/ 360998 w 370617"/>
                <a:gd name="connsiteY15" fmla="*/ 65056 h 146018"/>
                <a:gd name="connsiteX16" fmla="*/ 362903 w 370617"/>
                <a:gd name="connsiteY16" fmla="*/ 58007 h 146018"/>
                <a:gd name="connsiteX17" fmla="*/ 367856 w 370617"/>
                <a:gd name="connsiteY17" fmla="*/ 58388 h 146018"/>
                <a:gd name="connsiteX18" fmla="*/ 369856 w 370617"/>
                <a:gd name="connsiteY18" fmla="*/ 54007 h 146018"/>
                <a:gd name="connsiteX19" fmla="*/ 359283 w 370617"/>
                <a:gd name="connsiteY19" fmla="*/ 50197 h 146018"/>
                <a:gd name="connsiteX20" fmla="*/ 353949 w 370617"/>
                <a:gd name="connsiteY20" fmla="*/ 50959 h 146018"/>
                <a:gd name="connsiteX21" fmla="*/ 346710 w 370617"/>
                <a:gd name="connsiteY21" fmla="*/ 48387 h 146018"/>
                <a:gd name="connsiteX22" fmla="*/ 345377 w 370617"/>
                <a:gd name="connsiteY22" fmla="*/ 41148 h 146018"/>
                <a:gd name="connsiteX23" fmla="*/ 348710 w 370617"/>
                <a:gd name="connsiteY23" fmla="*/ 34671 h 146018"/>
                <a:gd name="connsiteX24" fmla="*/ 343090 w 370617"/>
                <a:gd name="connsiteY24" fmla="*/ 29146 h 146018"/>
                <a:gd name="connsiteX25" fmla="*/ 343376 w 370617"/>
                <a:gd name="connsiteY25" fmla="*/ 24003 h 146018"/>
                <a:gd name="connsiteX26" fmla="*/ 334708 w 370617"/>
                <a:gd name="connsiteY26" fmla="*/ 22003 h 146018"/>
                <a:gd name="connsiteX27" fmla="*/ 336137 w 370617"/>
                <a:gd name="connsiteY27" fmla="*/ 17336 h 146018"/>
                <a:gd name="connsiteX28" fmla="*/ 330518 w 370617"/>
                <a:gd name="connsiteY28" fmla="*/ 12573 h 146018"/>
                <a:gd name="connsiteX29" fmla="*/ 323945 w 370617"/>
                <a:gd name="connsiteY29" fmla="*/ 15907 h 146018"/>
                <a:gd name="connsiteX30" fmla="*/ 314039 w 370617"/>
                <a:gd name="connsiteY30" fmla="*/ 14383 h 146018"/>
                <a:gd name="connsiteX31" fmla="*/ 311182 w 370617"/>
                <a:gd name="connsiteY31" fmla="*/ 17907 h 146018"/>
                <a:gd name="connsiteX32" fmla="*/ 304419 w 370617"/>
                <a:gd name="connsiteY32" fmla="*/ 14669 h 146018"/>
                <a:gd name="connsiteX33" fmla="*/ 277368 w 370617"/>
                <a:gd name="connsiteY33" fmla="*/ 28956 h 146018"/>
                <a:gd name="connsiteX34" fmla="*/ 262795 w 370617"/>
                <a:gd name="connsiteY34" fmla="*/ 24003 h 146018"/>
                <a:gd name="connsiteX35" fmla="*/ 242030 w 370617"/>
                <a:gd name="connsiteY35" fmla="*/ 28956 h 146018"/>
                <a:gd name="connsiteX36" fmla="*/ 215646 w 370617"/>
                <a:gd name="connsiteY36" fmla="*/ 20764 h 146018"/>
                <a:gd name="connsiteX37" fmla="*/ 207359 w 370617"/>
                <a:gd name="connsiteY37" fmla="*/ 17907 h 146018"/>
                <a:gd name="connsiteX38" fmla="*/ 203740 w 370617"/>
                <a:gd name="connsiteY38" fmla="*/ 20764 h 146018"/>
                <a:gd name="connsiteX39" fmla="*/ 196120 w 370617"/>
                <a:gd name="connsiteY39" fmla="*/ 10192 h 146018"/>
                <a:gd name="connsiteX40" fmla="*/ 180975 w 370617"/>
                <a:gd name="connsiteY40" fmla="*/ 9335 h 146018"/>
                <a:gd name="connsiteX41" fmla="*/ 174307 w 370617"/>
                <a:gd name="connsiteY41" fmla="*/ 0 h 146018"/>
                <a:gd name="connsiteX42" fmla="*/ 169736 w 370617"/>
                <a:gd name="connsiteY42" fmla="*/ 3620 h 146018"/>
                <a:gd name="connsiteX43" fmla="*/ 142303 w 370617"/>
                <a:gd name="connsiteY43" fmla="*/ 2000 h 146018"/>
                <a:gd name="connsiteX44" fmla="*/ 103346 w 370617"/>
                <a:gd name="connsiteY44" fmla="*/ 22860 h 146018"/>
                <a:gd name="connsiteX45" fmla="*/ 59531 w 370617"/>
                <a:gd name="connsiteY45" fmla="*/ 22098 h 146018"/>
                <a:gd name="connsiteX46" fmla="*/ 68294 w 370617"/>
                <a:gd name="connsiteY46" fmla="*/ 29813 h 146018"/>
                <a:gd name="connsiteX47" fmla="*/ 57817 w 370617"/>
                <a:gd name="connsiteY47" fmla="*/ 42386 h 146018"/>
                <a:gd name="connsiteX48" fmla="*/ 33338 w 370617"/>
                <a:gd name="connsiteY48" fmla="*/ 41529 h 146018"/>
                <a:gd name="connsiteX49" fmla="*/ 27718 w 370617"/>
                <a:gd name="connsiteY49" fmla="*/ 44005 h 146018"/>
                <a:gd name="connsiteX50" fmla="*/ 12192 w 370617"/>
                <a:gd name="connsiteY50" fmla="*/ 41529 h 146018"/>
                <a:gd name="connsiteX51" fmla="*/ 0 w 370617"/>
                <a:gd name="connsiteY51" fmla="*/ 52483 h 146018"/>
                <a:gd name="connsiteX52" fmla="*/ 10477 w 370617"/>
                <a:gd name="connsiteY52" fmla="*/ 78296 h 146018"/>
                <a:gd name="connsiteX53" fmla="*/ 20098 w 370617"/>
                <a:gd name="connsiteY53" fmla="*/ 86106 h 146018"/>
                <a:gd name="connsiteX54" fmla="*/ 3524 w 370617"/>
                <a:gd name="connsiteY54" fmla="*/ 88202 h 146018"/>
                <a:gd name="connsiteX55" fmla="*/ 20288 w 370617"/>
                <a:gd name="connsiteY55" fmla="*/ 94297 h 146018"/>
                <a:gd name="connsiteX56" fmla="*/ 16192 w 370617"/>
                <a:gd name="connsiteY56" fmla="*/ 107442 h 146018"/>
                <a:gd name="connsiteX57" fmla="*/ 30099 w 370617"/>
                <a:gd name="connsiteY57" fmla="*/ 108585 h 146018"/>
                <a:gd name="connsiteX58" fmla="*/ 21431 w 370617"/>
                <a:gd name="connsiteY58" fmla="*/ 117824 h 146018"/>
                <a:gd name="connsiteX59" fmla="*/ 43244 w 370617"/>
                <a:gd name="connsiteY59" fmla="*/ 117824 h 146018"/>
                <a:gd name="connsiteX60" fmla="*/ 30099 w 370617"/>
                <a:gd name="connsiteY60" fmla="*/ 126111 h 146018"/>
                <a:gd name="connsiteX61" fmla="*/ 53816 w 370617"/>
                <a:gd name="connsiteY61" fmla="*/ 126778 h 146018"/>
                <a:gd name="connsiteX62" fmla="*/ 70009 w 370617"/>
                <a:gd name="connsiteY62" fmla="*/ 138398 h 146018"/>
                <a:gd name="connsiteX63" fmla="*/ 88487 w 370617"/>
                <a:gd name="connsiteY63" fmla="*/ 121920 h 146018"/>
                <a:gd name="connsiteX64" fmla="*/ 97060 w 370617"/>
                <a:gd name="connsiteY64" fmla="*/ 121920 h 146018"/>
                <a:gd name="connsiteX65" fmla="*/ 131731 w 370617"/>
                <a:gd name="connsiteY65" fmla="*/ 140589 h 146018"/>
                <a:gd name="connsiteX66" fmla="*/ 154877 w 370617"/>
                <a:gd name="connsiteY66" fmla="*/ 136208 h 146018"/>
                <a:gd name="connsiteX67" fmla="*/ 168688 w 370617"/>
                <a:gd name="connsiteY67" fmla="*/ 123063 h 146018"/>
                <a:gd name="connsiteX68" fmla="*/ 181927 w 370617"/>
                <a:gd name="connsiteY68" fmla="*/ 129064 h 146018"/>
                <a:gd name="connsiteX69" fmla="*/ 195453 w 370617"/>
                <a:gd name="connsiteY69" fmla="*/ 120110 h 146018"/>
                <a:gd name="connsiteX70" fmla="*/ 194977 w 370617"/>
                <a:gd name="connsiteY70" fmla="*/ 143637 h 146018"/>
                <a:gd name="connsiteX71" fmla="*/ 199263 w 370617"/>
                <a:gd name="connsiteY71" fmla="*/ 146018 h 146018"/>
                <a:gd name="connsiteX72" fmla="*/ 203740 w 370617"/>
                <a:gd name="connsiteY72" fmla="*/ 136493 h 146018"/>
                <a:gd name="connsiteX73" fmla="*/ 209360 w 370617"/>
                <a:gd name="connsiteY73" fmla="*/ 136493 h 146018"/>
                <a:gd name="connsiteX74" fmla="*/ 206026 w 370617"/>
                <a:gd name="connsiteY74" fmla="*/ 129826 h 146018"/>
                <a:gd name="connsiteX75" fmla="*/ 208312 w 370617"/>
                <a:gd name="connsiteY75" fmla="*/ 122301 h 146018"/>
                <a:gd name="connsiteX76" fmla="*/ 222504 w 370617"/>
                <a:gd name="connsiteY76" fmla="*/ 126683 h 146018"/>
                <a:gd name="connsiteX77" fmla="*/ 239840 w 370617"/>
                <a:gd name="connsiteY77" fmla="*/ 120872 h 146018"/>
                <a:gd name="connsiteX78" fmla="*/ 249269 w 370617"/>
                <a:gd name="connsiteY78" fmla="*/ 125349 h 146018"/>
                <a:gd name="connsiteX79" fmla="*/ 270796 w 370617"/>
                <a:gd name="connsiteY79" fmla="*/ 124206 h 146018"/>
                <a:gd name="connsiteX80" fmla="*/ 289941 w 370617"/>
                <a:gd name="connsiteY80" fmla="*/ 116014 h 146018"/>
                <a:gd name="connsiteX81" fmla="*/ 306610 w 370617"/>
                <a:gd name="connsiteY81" fmla="*/ 116300 h 146018"/>
                <a:gd name="connsiteX82" fmla="*/ 312991 w 370617"/>
                <a:gd name="connsiteY82" fmla="*/ 114871 h 146018"/>
                <a:gd name="connsiteX83" fmla="*/ 319087 w 370617"/>
                <a:gd name="connsiteY83" fmla="*/ 109823 h 146018"/>
                <a:gd name="connsiteX84" fmla="*/ 320993 w 370617"/>
                <a:gd name="connsiteY84" fmla="*/ 116300 h 146018"/>
                <a:gd name="connsiteX85" fmla="*/ 325850 w 370617"/>
                <a:gd name="connsiteY85" fmla="*/ 114491 h 146018"/>
                <a:gd name="connsiteX86" fmla="*/ 329565 w 370617"/>
                <a:gd name="connsiteY86" fmla="*/ 110014 h 1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70617" h="146018">
                  <a:moveTo>
                    <a:pt x="329565" y="110014"/>
                  </a:moveTo>
                  <a:lnTo>
                    <a:pt x="338899" y="110014"/>
                  </a:lnTo>
                  <a:lnTo>
                    <a:pt x="349758" y="114871"/>
                  </a:lnTo>
                  <a:lnTo>
                    <a:pt x="354140" y="109823"/>
                  </a:lnTo>
                  <a:lnTo>
                    <a:pt x="358616" y="118967"/>
                  </a:lnTo>
                  <a:lnTo>
                    <a:pt x="364236" y="116014"/>
                  </a:lnTo>
                  <a:lnTo>
                    <a:pt x="368522" y="117253"/>
                  </a:lnTo>
                  <a:lnTo>
                    <a:pt x="370618" y="111443"/>
                  </a:lnTo>
                  <a:lnTo>
                    <a:pt x="365474" y="108871"/>
                  </a:lnTo>
                  <a:lnTo>
                    <a:pt x="365855" y="102489"/>
                  </a:lnTo>
                  <a:lnTo>
                    <a:pt x="357949" y="98393"/>
                  </a:lnTo>
                  <a:lnTo>
                    <a:pt x="363379" y="87249"/>
                  </a:lnTo>
                  <a:lnTo>
                    <a:pt x="357949" y="85820"/>
                  </a:lnTo>
                  <a:lnTo>
                    <a:pt x="359283" y="76771"/>
                  </a:lnTo>
                  <a:lnTo>
                    <a:pt x="354330" y="65151"/>
                  </a:lnTo>
                  <a:lnTo>
                    <a:pt x="360998" y="65056"/>
                  </a:lnTo>
                  <a:lnTo>
                    <a:pt x="362903" y="58007"/>
                  </a:lnTo>
                  <a:lnTo>
                    <a:pt x="367856" y="58388"/>
                  </a:lnTo>
                  <a:lnTo>
                    <a:pt x="369856" y="54007"/>
                  </a:lnTo>
                  <a:lnTo>
                    <a:pt x="359283" y="50197"/>
                  </a:lnTo>
                  <a:lnTo>
                    <a:pt x="353949" y="50959"/>
                  </a:lnTo>
                  <a:lnTo>
                    <a:pt x="346710" y="48387"/>
                  </a:lnTo>
                  <a:lnTo>
                    <a:pt x="345377" y="41148"/>
                  </a:lnTo>
                  <a:lnTo>
                    <a:pt x="348710" y="34671"/>
                  </a:lnTo>
                  <a:lnTo>
                    <a:pt x="343090" y="29146"/>
                  </a:lnTo>
                  <a:lnTo>
                    <a:pt x="343376" y="24003"/>
                  </a:lnTo>
                  <a:lnTo>
                    <a:pt x="334708" y="22003"/>
                  </a:lnTo>
                  <a:lnTo>
                    <a:pt x="336137" y="17336"/>
                  </a:lnTo>
                  <a:lnTo>
                    <a:pt x="330518" y="12573"/>
                  </a:lnTo>
                  <a:lnTo>
                    <a:pt x="323945" y="15907"/>
                  </a:lnTo>
                  <a:lnTo>
                    <a:pt x="314039" y="14383"/>
                  </a:lnTo>
                  <a:lnTo>
                    <a:pt x="311182" y="17907"/>
                  </a:lnTo>
                  <a:lnTo>
                    <a:pt x="304419" y="14669"/>
                  </a:lnTo>
                  <a:lnTo>
                    <a:pt x="277368" y="28956"/>
                  </a:lnTo>
                  <a:lnTo>
                    <a:pt x="262795" y="24003"/>
                  </a:lnTo>
                  <a:lnTo>
                    <a:pt x="242030" y="28956"/>
                  </a:lnTo>
                  <a:lnTo>
                    <a:pt x="215646" y="20764"/>
                  </a:lnTo>
                  <a:lnTo>
                    <a:pt x="207359" y="17907"/>
                  </a:lnTo>
                  <a:lnTo>
                    <a:pt x="203740" y="20764"/>
                  </a:lnTo>
                  <a:lnTo>
                    <a:pt x="196120" y="10192"/>
                  </a:lnTo>
                  <a:lnTo>
                    <a:pt x="180975" y="9335"/>
                  </a:lnTo>
                  <a:lnTo>
                    <a:pt x="174307" y="0"/>
                  </a:lnTo>
                  <a:lnTo>
                    <a:pt x="169736" y="3620"/>
                  </a:lnTo>
                  <a:lnTo>
                    <a:pt x="142303" y="2000"/>
                  </a:lnTo>
                  <a:lnTo>
                    <a:pt x="103346" y="22860"/>
                  </a:lnTo>
                  <a:lnTo>
                    <a:pt x="59531" y="22098"/>
                  </a:lnTo>
                  <a:lnTo>
                    <a:pt x="68294" y="29813"/>
                  </a:lnTo>
                  <a:lnTo>
                    <a:pt x="57817" y="42386"/>
                  </a:lnTo>
                  <a:lnTo>
                    <a:pt x="33338" y="41529"/>
                  </a:lnTo>
                  <a:lnTo>
                    <a:pt x="27718" y="44005"/>
                  </a:lnTo>
                  <a:lnTo>
                    <a:pt x="12192" y="41529"/>
                  </a:lnTo>
                  <a:lnTo>
                    <a:pt x="0" y="52483"/>
                  </a:lnTo>
                  <a:lnTo>
                    <a:pt x="10477" y="78296"/>
                  </a:lnTo>
                  <a:lnTo>
                    <a:pt x="20098" y="86106"/>
                  </a:lnTo>
                  <a:lnTo>
                    <a:pt x="3524" y="88202"/>
                  </a:lnTo>
                  <a:lnTo>
                    <a:pt x="20288" y="94297"/>
                  </a:lnTo>
                  <a:lnTo>
                    <a:pt x="16192" y="107442"/>
                  </a:lnTo>
                  <a:lnTo>
                    <a:pt x="30099" y="108585"/>
                  </a:lnTo>
                  <a:lnTo>
                    <a:pt x="21431" y="117824"/>
                  </a:lnTo>
                  <a:lnTo>
                    <a:pt x="43244" y="117824"/>
                  </a:lnTo>
                  <a:lnTo>
                    <a:pt x="30099" y="126111"/>
                  </a:lnTo>
                  <a:lnTo>
                    <a:pt x="53816" y="126778"/>
                  </a:lnTo>
                  <a:lnTo>
                    <a:pt x="70009" y="138398"/>
                  </a:lnTo>
                  <a:lnTo>
                    <a:pt x="88487" y="121920"/>
                  </a:lnTo>
                  <a:lnTo>
                    <a:pt x="97060" y="121920"/>
                  </a:lnTo>
                  <a:lnTo>
                    <a:pt x="131731" y="140589"/>
                  </a:lnTo>
                  <a:lnTo>
                    <a:pt x="154877" y="136208"/>
                  </a:lnTo>
                  <a:lnTo>
                    <a:pt x="168688" y="123063"/>
                  </a:lnTo>
                  <a:lnTo>
                    <a:pt x="181927" y="129064"/>
                  </a:lnTo>
                  <a:lnTo>
                    <a:pt x="195453" y="120110"/>
                  </a:lnTo>
                  <a:lnTo>
                    <a:pt x="194977" y="143637"/>
                  </a:lnTo>
                  <a:lnTo>
                    <a:pt x="199263" y="146018"/>
                  </a:lnTo>
                  <a:lnTo>
                    <a:pt x="203740" y="136493"/>
                  </a:lnTo>
                  <a:lnTo>
                    <a:pt x="209360" y="136493"/>
                  </a:lnTo>
                  <a:lnTo>
                    <a:pt x="206026" y="129826"/>
                  </a:lnTo>
                  <a:lnTo>
                    <a:pt x="208312" y="122301"/>
                  </a:lnTo>
                  <a:lnTo>
                    <a:pt x="222504" y="126683"/>
                  </a:lnTo>
                  <a:lnTo>
                    <a:pt x="239840" y="120872"/>
                  </a:lnTo>
                  <a:lnTo>
                    <a:pt x="249269" y="125349"/>
                  </a:lnTo>
                  <a:lnTo>
                    <a:pt x="270796" y="124206"/>
                  </a:lnTo>
                  <a:lnTo>
                    <a:pt x="289941" y="116014"/>
                  </a:lnTo>
                  <a:lnTo>
                    <a:pt x="306610" y="116300"/>
                  </a:lnTo>
                  <a:lnTo>
                    <a:pt x="312991" y="114871"/>
                  </a:lnTo>
                  <a:lnTo>
                    <a:pt x="319087" y="109823"/>
                  </a:lnTo>
                  <a:lnTo>
                    <a:pt x="320993" y="116300"/>
                  </a:lnTo>
                  <a:lnTo>
                    <a:pt x="325850" y="114491"/>
                  </a:lnTo>
                  <a:lnTo>
                    <a:pt x="329565" y="11001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6" name="Freeform: Shape 2656">
              <a:extLst>
                <a:ext uri="{FF2B5EF4-FFF2-40B4-BE49-F238E27FC236}">
                  <a16:creationId xmlns:a16="http://schemas.microsoft.com/office/drawing/2014/main" id="{DFF96334-B228-601F-BE33-B6337A198456}"/>
                </a:ext>
              </a:extLst>
            </p:cNvPr>
            <p:cNvSpPr/>
            <p:nvPr/>
          </p:nvSpPr>
          <p:spPr>
            <a:xfrm>
              <a:off x="4194238" y="4789963"/>
              <a:ext cx="15621" cy="10477"/>
            </a:xfrm>
            <a:custGeom>
              <a:avLst/>
              <a:gdLst>
                <a:gd name="connsiteX0" fmla="*/ 15621 w 15621"/>
                <a:gd name="connsiteY0" fmla="*/ 0 h 10477"/>
                <a:gd name="connsiteX1" fmla="*/ 0 w 15621"/>
                <a:gd name="connsiteY1" fmla="*/ 10478 h 10477"/>
                <a:gd name="connsiteX2" fmla="*/ 15621 w 15621"/>
                <a:gd name="connsiteY2" fmla="*/ 10287 h 10477"/>
                <a:gd name="connsiteX3" fmla="*/ 15621 w 15621"/>
                <a:gd name="connsiteY3" fmla="*/ 0 h 10477"/>
              </a:gdLst>
              <a:ahLst/>
              <a:cxnLst>
                <a:cxn ang="0">
                  <a:pos x="connsiteX0" y="connsiteY0"/>
                </a:cxn>
                <a:cxn ang="0">
                  <a:pos x="connsiteX1" y="connsiteY1"/>
                </a:cxn>
                <a:cxn ang="0">
                  <a:pos x="connsiteX2" y="connsiteY2"/>
                </a:cxn>
                <a:cxn ang="0">
                  <a:pos x="connsiteX3" y="connsiteY3"/>
                </a:cxn>
              </a:cxnLst>
              <a:rect l="l" t="t" r="r" b="b"/>
              <a:pathLst>
                <a:path w="15621" h="10477">
                  <a:moveTo>
                    <a:pt x="15621" y="0"/>
                  </a:moveTo>
                  <a:lnTo>
                    <a:pt x="0" y="10478"/>
                  </a:lnTo>
                  <a:lnTo>
                    <a:pt x="15621" y="10287"/>
                  </a:lnTo>
                  <a:lnTo>
                    <a:pt x="15621"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7" name="Freeform: Shape 2657">
              <a:extLst>
                <a:ext uri="{FF2B5EF4-FFF2-40B4-BE49-F238E27FC236}">
                  <a16:creationId xmlns:a16="http://schemas.microsoft.com/office/drawing/2014/main" id="{9DCD0ECB-36D1-2D3B-03E7-D7D0FB8F5B81}"/>
                </a:ext>
              </a:extLst>
            </p:cNvPr>
            <p:cNvSpPr/>
            <p:nvPr/>
          </p:nvSpPr>
          <p:spPr>
            <a:xfrm>
              <a:off x="4220527" y="4775961"/>
              <a:ext cx="45719" cy="21145"/>
            </a:xfrm>
            <a:custGeom>
              <a:avLst/>
              <a:gdLst>
                <a:gd name="connsiteX0" fmla="*/ 3143 w 45719"/>
                <a:gd name="connsiteY0" fmla="*/ 4667 h 21145"/>
                <a:gd name="connsiteX1" fmla="*/ 0 w 45719"/>
                <a:gd name="connsiteY1" fmla="*/ 6763 h 21145"/>
                <a:gd name="connsiteX2" fmla="*/ 0 w 45719"/>
                <a:gd name="connsiteY2" fmla="*/ 6763 h 21145"/>
                <a:gd name="connsiteX3" fmla="*/ 5334 w 45719"/>
                <a:gd name="connsiteY3" fmla="*/ 11716 h 21145"/>
                <a:gd name="connsiteX4" fmla="*/ 2096 w 45719"/>
                <a:gd name="connsiteY4" fmla="*/ 21146 h 21145"/>
                <a:gd name="connsiteX5" fmla="*/ 29242 w 45719"/>
                <a:gd name="connsiteY5" fmla="*/ 10954 h 21145"/>
                <a:gd name="connsiteX6" fmla="*/ 45720 w 45719"/>
                <a:gd name="connsiteY6" fmla="*/ 0 h 21145"/>
                <a:gd name="connsiteX7" fmla="*/ 3143 w 45719"/>
                <a:gd name="connsiteY7" fmla="*/ 4667 h 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19" h="21145">
                  <a:moveTo>
                    <a:pt x="3143" y="4667"/>
                  </a:moveTo>
                  <a:lnTo>
                    <a:pt x="0" y="6763"/>
                  </a:lnTo>
                  <a:lnTo>
                    <a:pt x="0" y="6763"/>
                  </a:lnTo>
                  <a:lnTo>
                    <a:pt x="5334" y="11716"/>
                  </a:lnTo>
                  <a:lnTo>
                    <a:pt x="2096" y="21146"/>
                  </a:lnTo>
                  <a:lnTo>
                    <a:pt x="29242" y="10954"/>
                  </a:lnTo>
                  <a:lnTo>
                    <a:pt x="45720" y="0"/>
                  </a:lnTo>
                  <a:lnTo>
                    <a:pt x="3143" y="46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8" name="Freeform: Shape 2658">
              <a:extLst>
                <a:ext uri="{FF2B5EF4-FFF2-40B4-BE49-F238E27FC236}">
                  <a16:creationId xmlns:a16="http://schemas.microsoft.com/office/drawing/2014/main" id="{37594DBB-F468-3F27-6153-DF664B466016}"/>
                </a:ext>
              </a:extLst>
            </p:cNvPr>
            <p:cNvSpPr/>
            <p:nvPr/>
          </p:nvSpPr>
          <p:spPr>
            <a:xfrm>
              <a:off x="3673030" y="4199318"/>
              <a:ext cx="163544" cy="299656"/>
            </a:xfrm>
            <a:custGeom>
              <a:avLst/>
              <a:gdLst>
                <a:gd name="connsiteX0" fmla="*/ 162782 w 163544"/>
                <a:gd name="connsiteY0" fmla="*/ 103346 h 299656"/>
                <a:gd name="connsiteX1" fmla="*/ 163544 w 163544"/>
                <a:gd name="connsiteY1" fmla="*/ 95917 h 299656"/>
                <a:gd name="connsiteX2" fmla="*/ 157829 w 163544"/>
                <a:gd name="connsiteY2" fmla="*/ 93821 h 299656"/>
                <a:gd name="connsiteX3" fmla="*/ 159448 w 163544"/>
                <a:gd name="connsiteY3" fmla="*/ 90392 h 299656"/>
                <a:gd name="connsiteX4" fmla="*/ 150876 w 163544"/>
                <a:gd name="connsiteY4" fmla="*/ 86201 h 299656"/>
                <a:gd name="connsiteX5" fmla="*/ 145733 w 163544"/>
                <a:gd name="connsiteY5" fmla="*/ 79058 h 299656"/>
                <a:gd name="connsiteX6" fmla="*/ 148114 w 163544"/>
                <a:gd name="connsiteY6" fmla="*/ 64008 h 299656"/>
                <a:gd name="connsiteX7" fmla="*/ 144494 w 163544"/>
                <a:gd name="connsiteY7" fmla="*/ 58008 h 299656"/>
                <a:gd name="connsiteX8" fmla="*/ 139065 w 163544"/>
                <a:gd name="connsiteY8" fmla="*/ 56388 h 299656"/>
                <a:gd name="connsiteX9" fmla="*/ 131254 w 163544"/>
                <a:gd name="connsiteY9" fmla="*/ 43720 h 299656"/>
                <a:gd name="connsiteX10" fmla="*/ 116110 w 163544"/>
                <a:gd name="connsiteY10" fmla="*/ 40291 h 299656"/>
                <a:gd name="connsiteX11" fmla="*/ 116872 w 163544"/>
                <a:gd name="connsiteY11" fmla="*/ 45339 h 299656"/>
                <a:gd name="connsiteX12" fmla="*/ 112681 w 163544"/>
                <a:gd name="connsiteY12" fmla="*/ 50578 h 299656"/>
                <a:gd name="connsiteX13" fmla="*/ 102965 w 163544"/>
                <a:gd name="connsiteY13" fmla="*/ 54007 h 299656"/>
                <a:gd name="connsiteX14" fmla="*/ 95726 w 163544"/>
                <a:gd name="connsiteY14" fmla="*/ 45053 h 299656"/>
                <a:gd name="connsiteX15" fmla="*/ 75533 w 163544"/>
                <a:gd name="connsiteY15" fmla="*/ 60389 h 299656"/>
                <a:gd name="connsiteX16" fmla="*/ 69342 w 163544"/>
                <a:gd name="connsiteY16" fmla="*/ 58484 h 299656"/>
                <a:gd name="connsiteX17" fmla="*/ 76581 w 163544"/>
                <a:gd name="connsiteY17" fmla="*/ 46958 h 299656"/>
                <a:gd name="connsiteX18" fmla="*/ 73819 w 163544"/>
                <a:gd name="connsiteY18" fmla="*/ 40862 h 299656"/>
                <a:gd name="connsiteX19" fmla="*/ 79915 w 163544"/>
                <a:gd name="connsiteY19" fmla="*/ 29528 h 299656"/>
                <a:gd name="connsiteX20" fmla="*/ 76581 w 163544"/>
                <a:gd name="connsiteY20" fmla="*/ 23241 h 299656"/>
                <a:gd name="connsiteX21" fmla="*/ 78391 w 163544"/>
                <a:gd name="connsiteY21" fmla="*/ 17431 h 299656"/>
                <a:gd name="connsiteX22" fmla="*/ 70199 w 163544"/>
                <a:gd name="connsiteY22" fmla="*/ 17145 h 299656"/>
                <a:gd name="connsiteX23" fmla="*/ 64961 w 163544"/>
                <a:gd name="connsiteY23" fmla="*/ 20288 h 299656"/>
                <a:gd name="connsiteX24" fmla="*/ 59341 w 163544"/>
                <a:gd name="connsiteY24" fmla="*/ 15050 h 299656"/>
                <a:gd name="connsiteX25" fmla="*/ 64484 w 163544"/>
                <a:gd name="connsiteY25" fmla="*/ 8954 h 299656"/>
                <a:gd name="connsiteX26" fmla="*/ 60865 w 163544"/>
                <a:gd name="connsiteY26" fmla="*/ 1619 h 299656"/>
                <a:gd name="connsiteX27" fmla="*/ 55245 w 163544"/>
                <a:gd name="connsiteY27" fmla="*/ 5049 h 299656"/>
                <a:gd name="connsiteX28" fmla="*/ 53912 w 163544"/>
                <a:gd name="connsiteY28" fmla="*/ 3620 h 299656"/>
                <a:gd name="connsiteX29" fmla="*/ 50578 w 163544"/>
                <a:gd name="connsiteY29" fmla="*/ 0 h 299656"/>
                <a:gd name="connsiteX30" fmla="*/ 41529 w 163544"/>
                <a:gd name="connsiteY30" fmla="*/ 2096 h 299656"/>
                <a:gd name="connsiteX31" fmla="*/ 43625 w 163544"/>
                <a:gd name="connsiteY31" fmla="*/ 7620 h 299656"/>
                <a:gd name="connsiteX32" fmla="*/ 34766 w 163544"/>
                <a:gd name="connsiteY32" fmla="*/ 7144 h 299656"/>
                <a:gd name="connsiteX33" fmla="*/ 32004 w 163544"/>
                <a:gd name="connsiteY33" fmla="*/ 14478 h 299656"/>
                <a:gd name="connsiteX34" fmla="*/ 19336 w 163544"/>
                <a:gd name="connsiteY34" fmla="*/ 15812 h 299656"/>
                <a:gd name="connsiteX35" fmla="*/ 13145 w 163544"/>
                <a:gd name="connsiteY35" fmla="*/ 11335 h 299656"/>
                <a:gd name="connsiteX36" fmla="*/ 8287 w 163544"/>
                <a:gd name="connsiteY36" fmla="*/ 21908 h 299656"/>
                <a:gd name="connsiteX37" fmla="*/ 8287 w 163544"/>
                <a:gd name="connsiteY37" fmla="*/ 38005 h 299656"/>
                <a:gd name="connsiteX38" fmla="*/ 0 w 163544"/>
                <a:gd name="connsiteY38" fmla="*/ 37719 h 299656"/>
                <a:gd name="connsiteX39" fmla="*/ 2286 w 163544"/>
                <a:gd name="connsiteY39" fmla="*/ 44291 h 299656"/>
                <a:gd name="connsiteX40" fmla="*/ 6953 w 163544"/>
                <a:gd name="connsiteY40" fmla="*/ 45339 h 299656"/>
                <a:gd name="connsiteX41" fmla="*/ 7239 w 163544"/>
                <a:gd name="connsiteY41" fmla="*/ 54578 h 299656"/>
                <a:gd name="connsiteX42" fmla="*/ 23431 w 163544"/>
                <a:gd name="connsiteY42" fmla="*/ 72485 h 299656"/>
                <a:gd name="connsiteX43" fmla="*/ 24479 w 163544"/>
                <a:gd name="connsiteY43" fmla="*/ 82772 h 299656"/>
                <a:gd name="connsiteX44" fmla="*/ 29146 w 163544"/>
                <a:gd name="connsiteY44" fmla="*/ 79629 h 299656"/>
                <a:gd name="connsiteX45" fmla="*/ 32004 w 163544"/>
                <a:gd name="connsiteY45" fmla="*/ 82772 h 299656"/>
                <a:gd name="connsiteX46" fmla="*/ 29146 w 163544"/>
                <a:gd name="connsiteY46" fmla="*/ 89916 h 299656"/>
                <a:gd name="connsiteX47" fmla="*/ 23717 w 163544"/>
                <a:gd name="connsiteY47" fmla="*/ 91440 h 299656"/>
                <a:gd name="connsiteX48" fmla="*/ 25051 w 163544"/>
                <a:gd name="connsiteY48" fmla="*/ 102775 h 299656"/>
                <a:gd name="connsiteX49" fmla="*/ 17812 w 163544"/>
                <a:gd name="connsiteY49" fmla="*/ 106013 h 299656"/>
                <a:gd name="connsiteX50" fmla="*/ 20764 w 163544"/>
                <a:gd name="connsiteY50" fmla="*/ 116681 h 299656"/>
                <a:gd name="connsiteX51" fmla="*/ 35052 w 163544"/>
                <a:gd name="connsiteY51" fmla="*/ 132017 h 299656"/>
                <a:gd name="connsiteX52" fmla="*/ 38195 w 163544"/>
                <a:gd name="connsiteY52" fmla="*/ 145923 h 299656"/>
                <a:gd name="connsiteX53" fmla="*/ 34290 w 163544"/>
                <a:gd name="connsiteY53" fmla="*/ 149447 h 299656"/>
                <a:gd name="connsiteX54" fmla="*/ 43529 w 163544"/>
                <a:gd name="connsiteY54" fmla="*/ 172403 h 299656"/>
                <a:gd name="connsiteX55" fmla="*/ 39338 w 163544"/>
                <a:gd name="connsiteY55" fmla="*/ 180689 h 299656"/>
                <a:gd name="connsiteX56" fmla="*/ 29623 w 163544"/>
                <a:gd name="connsiteY56" fmla="*/ 196882 h 299656"/>
                <a:gd name="connsiteX57" fmla="*/ 30004 w 163544"/>
                <a:gd name="connsiteY57" fmla="*/ 202692 h 299656"/>
                <a:gd name="connsiteX58" fmla="*/ 26194 w 163544"/>
                <a:gd name="connsiteY58" fmla="*/ 211169 h 299656"/>
                <a:gd name="connsiteX59" fmla="*/ 26003 w 163544"/>
                <a:gd name="connsiteY59" fmla="*/ 211360 h 299656"/>
                <a:gd name="connsiteX60" fmla="*/ 26289 w 163544"/>
                <a:gd name="connsiteY60" fmla="*/ 211169 h 299656"/>
                <a:gd name="connsiteX61" fmla="*/ 16478 w 163544"/>
                <a:gd name="connsiteY61" fmla="*/ 223552 h 299656"/>
                <a:gd name="connsiteX62" fmla="*/ 14002 w 163544"/>
                <a:gd name="connsiteY62" fmla="*/ 250984 h 299656"/>
                <a:gd name="connsiteX63" fmla="*/ 22765 w 163544"/>
                <a:gd name="connsiteY63" fmla="*/ 239554 h 299656"/>
                <a:gd name="connsiteX64" fmla="*/ 29432 w 163544"/>
                <a:gd name="connsiteY64" fmla="*/ 256604 h 299656"/>
                <a:gd name="connsiteX65" fmla="*/ 44482 w 163544"/>
                <a:gd name="connsiteY65" fmla="*/ 264319 h 299656"/>
                <a:gd name="connsiteX66" fmla="*/ 54578 w 163544"/>
                <a:gd name="connsiteY66" fmla="*/ 282893 h 299656"/>
                <a:gd name="connsiteX67" fmla="*/ 57531 w 163544"/>
                <a:gd name="connsiteY67" fmla="*/ 276987 h 299656"/>
                <a:gd name="connsiteX68" fmla="*/ 62960 w 163544"/>
                <a:gd name="connsiteY68" fmla="*/ 281369 h 299656"/>
                <a:gd name="connsiteX69" fmla="*/ 66770 w 163544"/>
                <a:gd name="connsiteY69" fmla="*/ 280321 h 299656"/>
                <a:gd name="connsiteX70" fmla="*/ 69628 w 163544"/>
                <a:gd name="connsiteY70" fmla="*/ 285750 h 299656"/>
                <a:gd name="connsiteX71" fmla="*/ 73819 w 163544"/>
                <a:gd name="connsiteY71" fmla="*/ 286988 h 299656"/>
                <a:gd name="connsiteX72" fmla="*/ 71152 w 163544"/>
                <a:gd name="connsiteY72" fmla="*/ 296037 h 299656"/>
                <a:gd name="connsiteX73" fmla="*/ 75819 w 163544"/>
                <a:gd name="connsiteY73" fmla="*/ 299657 h 299656"/>
                <a:gd name="connsiteX74" fmla="*/ 78677 w 163544"/>
                <a:gd name="connsiteY74" fmla="*/ 294513 h 299656"/>
                <a:gd name="connsiteX75" fmla="*/ 84392 w 163544"/>
                <a:gd name="connsiteY75" fmla="*/ 293466 h 299656"/>
                <a:gd name="connsiteX76" fmla="*/ 87916 w 163544"/>
                <a:gd name="connsiteY76" fmla="*/ 298323 h 299656"/>
                <a:gd name="connsiteX77" fmla="*/ 94869 w 163544"/>
                <a:gd name="connsiteY77" fmla="*/ 285179 h 299656"/>
                <a:gd name="connsiteX78" fmla="*/ 94964 w 163544"/>
                <a:gd name="connsiteY78" fmla="*/ 285083 h 299656"/>
                <a:gd name="connsiteX79" fmla="*/ 80963 w 163544"/>
                <a:gd name="connsiteY79" fmla="*/ 274606 h 299656"/>
                <a:gd name="connsiteX80" fmla="*/ 74771 w 163544"/>
                <a:gd name="connsiteY80" fmla="*/ 279273 h 299656"/>
                <a:gd name="connsiteX81" fmla="*/ 60579 w 163544"/>
                <a:gd name="connsiteY81" fmla="*/ 268319 h 299656"/>
                <a:gd name="connsiteX82" fmla="*/ 56674 w 163544"/>
                <a:gd name="connsiteY82" fmla="*/ 243174 h 299656"/>
                <a:gd name="connsiteX83" fmla="*/ 49435 w 163544"/>
                <a:gd name="connsiteY83" fmla="*/ 226028 h 299656"/>
                <a:gd name="connsiteX84" fmla="*/ 37147 w 163544"/>
                <a:gd name="connsiteY84" fmla="*/ 226981 h 299656"/>
                <a:gd name="connsiteX85" fmla="*/ 35528 w 163544"/>
                <a:gd name="connsiteY85" fmla="*/ 204883 h 299656"/>
                <a:gd name="connsiteX86" fmla="*/ 43815 w 163544"/>
                <a:gd name="connsiteY86" fmla="*/ 185452 h 299656"/>
                <a:gd name="connsiteX87" fmla="*/ 52673 w 163544"/>
                <a:gd name="connsiteY87" fmla="*/ 167926 h 299656"/>
                <a:gd name="connsiteX88" fmla="*/ 51340 w 163544"/>
                <a:gd name="connsiteY88" fmla="*/ 145352 h 299656"/>
                <a:gd name="connsiteX89" fmla="*/ 57626 w 163544"/>
                <a:gd name="connsiteY89" fmla="*/ 140970 h 299656"/>
                <a:gd name="connsiteX90" fmla="*/ 61055 w 163544"/>
                <a:gd name="connsiteY90" fmla="*/ 145923 h 299656"/>
                <a:gd name="connsiteX91" fmla="*/ 69533 w 163544"/>
                <a:gd name="connsiteY91" fmla="*/ 158496 h 299656"/>
                <a:gd name="connsiteX92" fmla="*/ 93345 w 163544"/>
                <a:gd name="connsiteY92" fmla="*/ 160211 h 299656"/>
                <a:gd name="connsiteX93" fmla="*/ 97917 w 163544"/>
                <a:gd name="connsiteY93" fmla="*/ 167926 h 299656"/>
                <a:gd name="connsiteX94" fmla="*/ 109442 w 163544"/>
                <a:gd name="connsiteY94" fmla="*/ 178403 h 299656"/>
                <a:gd name="connsiteX95" fmla="*/ 110109 w 163544"/>
                <a:gd name="connsiteY95" fmla="*/ 179070 h 299656"/>
                <a:gd name="connsiteX96" fmla="*/ 111347 w 163544"/>
                <a:gd name="connsiteY96" fmla="*/ 180308 h 299656"/>
                <a:gd name="connsiteX97" fmla="*/ 111347 w 163544"/>
                <a:gd name="connsiteY97" fmla="*/ 179927 h 299656"/>
                <a:gd name="connsiteX98" fmla="*/ 107061 w 163544"/>
                <a:gd name="connsiteY98" fmla="*/ 167259 h 299656"/>
                <a:gd name="connsiteX99" fmla="*/ 109347 w 163544"/>
                <a:gd name="connsiteY99" fmla="*/ 161735 h 299656"/>
                <a:gd name="connsiteX100" fmla="*/ 102013 w 163544"/>
                <a:gd name="connsiteY100" fmla="*/ 156972 h 299656"/>
                <a:gd name="connsiteX101" fmla="*/ 97727 w 163544"/>
                <a:gd name="connsiteY101" fmla="*/ 140018 h 299656"/>
                <a:gd name="connsiteX102" fmla="*/ 105918 w 163544"/>
                <a:gd name="connsiteY102" fmla="*/ 138779 h 299656"/>
                <a:gd name="connsiteX103" fmla="*/ 110871 w 163544"/>
                <a:gd name="connsiteY103" fmla="*/ 127730 h 299656"/>
                <a:gd name="connsiteX104" fmla="*/ 124492 w 163544"/>
                <a:gd name="connsiteY104" fmla="*/ 123349 h 299656"/>
                <a:gd name="connsiteX105" fmla="*/ 142304 w 163544"/>
                <a:gd name="connsiteY105" fmla="*/ 123349 h 299656"/>
                <a:gd name="connsiteX106" fmla="*/ 146113 w 163544"/>
                <a:gd name="connsiteY106" fmla="*/ 121730 h 299656"/>
                <a:gd name="connsiteX107" fmla="*/ 152305 w 163544"/>
                <a:gd name="connsiteY107" fmla="*/ 127349 h 299656"/>
                <a:gd name="connsiteX108" fmla="*/ 155543 w 163544"/>
                <a:gd name="connsiteY108" fmla="*/ 123635 h 299656"/>
                <a:gd name="connsiteX109" fmla="*/ 162020 w 163544"/>
                <a:gd name="connsiteY109" fmla="*/ 120206 h 299656"/>
                <a:gd name="connsiteX110" fmla="*/ 163259 w 163544"/>
                <a:gd name="connsiteY110" fmla="*/ 111252 h 299656"/>
                <a:gd name="connsiteX111" fmla="*/ 159639 w 163544"/>
                <a:gd name="connsiteY111" fmla="*/ 106490 h 299656"/>
                <a:gd name="connsiteX112" fmla="*/ 162782 w 163544"/>
                <a:gd name="connsiteY112" fmla="*/ 10334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63544" h="299656">
                  <a:moveTo>
                    <a:pt x="162782" y="103346"/>
                  </a:moveTo>
                  <a:lnTo>
                    <a:pt x="163544" y="95917"/>
                  </a:lnTo>
                  <a:lnTo>
                    <a:pt x="157829" y="93821"/>
                  </a:lnTo>
                  <a:lnTo>
                    <a:pt x="159448" y="90392"/>
                  </a:lnTo>
                  <a:lnTo>
                    <a:pt x="150876" y="86201"/>
                  </a:lnTo>
                  <a:lnTo>
                    <a:pt x="145733" y="79058"/>
                  </a:lnTo>
                  <a:lnTo>
                    <a:pt x="148114" y="64008"/>
                  </a:lnTo>
                  <a:lnTo>
                    <a:pt x="144494" y="58008"/>
                  </a:lnTo>
                  <a:lnTo>
                    <a:pt x="139065" y="56388"/>
                  </a:lnTo>
                  <a:lnTo>
                    <a:pt x="131254" y="43720"/>
                  </a:lnTo>
                  <a:lnTo>
                    <a:pt x="116110" y="40291"/>
                  </a:lnTo>
                  <a:lnTo>
                    <a:pt x="116872" y="45339"/>
                  </a:lnTo>
                  <a:lnTo>
                    <a:pt x="112681" y="50578"/>
                  </a:lnTo>
                  <a:lnTo>
                    <a:pt x="102965" y="54007"/>
                  </a:lnTo>
                  <a:lnTo>
                    <a:pt x="95726" y="45053"/>
                  </a:lnTo>
                  <a:lnTo>
                    <a:pt x="75533" y="60389"/>
                  </a:lnTo>
                  <a:lnTo>
                    <a:pt x="69342" y="58484"/>
                  </a:lnTo>
                  <a:lnTo>
                    <a:pt x="76581" y="46958"/>
                  </a:lnTo>
                  <a:lnTo>
                    <a:pt x="73819" y="40862"/>
                  </a:lnTo>
                  <a:lnTo>
                    <a:pt x="79915" y="29528"/>
                  </a:lnTo>
                  <a:lnTo>
                    <a:pt x="76581" y="23241"/>
                  </a:lnTo>
                  <a:lnTo>
                    <a:pt x="78391" y="17431"/>
                  </a:lnTo>
                  <a:lnTo>
                    <a:pt x="70199" y="17145"/>
                  </a:lnTo>
                  <a:lnTo>
                    <a:pt x="64961" y="20288"/>
                  </a:lnTo>
                  <a:lnTo>
                    <a:pt x="59341" y="15050"/>
                  </a:lnTo>
                  <a:lnTo>
                    <a:pt x="64484" y="8954"/>
                  </a:lnTo>
                  <a:lnTo>
                    <a:pt x="60865" y="1619"/>
                  </a:lnTo>
                  <a:lnTo>
                    <a:pt x="55245" y="5049"/>
                  </a:lnTo>
                  <a:lnTo>
                    <a:pt x="53912" y="3620"/>
                  </a:lnTo>
                  <a:lnTo>
                    <a:pt x="50578" y="0"/>
                  </a:lnTo>
                  <a:lnTo>
                    <a:pt x="41529" y="2096"/>
                  </a:lnTo>
                  <a:lnTo>
                    <a:pt x="43625" y="7620"/>
                  </a:lnTo>
                  <a:lnTo>
                    <a:pt x="34766" y="7144"/>
                  </a:lnTo>
                  <a:lnTo>
                    <a:pt x="32004" y="14478"/>
                  </a:lnTo>
                  <a:lnTo>
                    <a:pt x="19336" y="15812"/>
                  </a:lnTo>
                  <a:lnTo>
                    <a:pt x="13145" y="11335"/>
                  </a:lnTo>
                  <a:lnTo>
                    <a:pt x="8287" y="21908"/>
                  </a:lnTo>
                  <a:lnTo>
                    <a:pt x="8287" y="38005"/>
                  </a:lnTo>
                  <a:lnTo>
                    <a:pt x="0" y="37719"/>
                  </a:lnTo>
                  <a:lnTo>
                    <a:pt x="2286" y="44291"/>
                  </a:lnTo>
                  <a:lnTo>
                    <a:pt x="6953" y="45339"/>
                  </a:lnTo>
                  <a:lnTo>
                    <a:pt x="7239" y="54578"/>
                  </a:lnTo>
                  <a:lnTo>
                    <a:pt x="23431" y="72485"/>
                  </a:lnTo>
                  <a:lnTo>
                    <a:pt x="24479" y="82772"/>
                  </a:lnTo>
                  <a:lnTo>
                    <a:pt x="29146" y="79629"/>
                  </a:lnTo>
                  <a:lnTo>
                    <a:pt x="32004" y="82772"/>
                  </a:lnTo>
                  <a:lnTo>
                    <a:pt x="29146" y="89916"/>
                  </a:lnTo>
                  <a:lnTo>
                    <a:pt x="23717" y="91440"/>
                  </a:lnTo>
                  <a:lnTo>
                    <a:pt x="25051" y="102775"/>
                  </a:lnTo>
                  <a:lnTo>
                    <a:pt x="17812" y="106013"/>
                  </a:lnTo>
                  <a:lnTo>
                    <a:pt x="20764" y="116681"/>
                  </a:lnTo>
                  <a:lnTo>
                    <a:pt x="35052" y="132017"/>
                  </a:lnTo>
                  <a:lnTo>
                    <a:pt x="38195" y="145923"/>
                  </a:lnTo>
                  <a:lnTo>
                    <a:pt x="34290" y="149447"/>
                  </a:lnTo>
                  <a:lnTo>
                    <a:pt x="43529" y="172403"/>
                  </a:lnTo>
                  <a:lnTo>
                    <a:pt x="39338" y="180689"/>
                  </a:lnTo>
                  <a:lnTo>
                    <a:pt x="29623" y="196882"/>
                  </a:lnTo>
                  <a:lnTo>
                    <a:pt x="30004" y="202692"/>
                  </a:lnTo>
                  <a:lnTo>
                    <a:pt x="26194" y="211169"/>
                  </a:lnTo>
                  <a:lnTo>
                    <a:pt x="26003" y="211360"/>
                  </a:lnTo>
                  <a:lnTo>
                    <a:pt x="26289" y="211169"/>
                  </a:lnTo>
                  <a:lnTo>
                    <a:pt x="16478" y="223552"/>
                  </a:lnTo>
                  <a:lnTo>
                    <a:pt x="14002" y="250984"/>
                  </a:lnTo>
                  <a:lnTo>
                    <a:pt x="22765" y="239554"/>
                  </a:lnTo>
                  <a:lnTo>
                    <a:pt x="29432" y="256604"/>
                  </a:lnTo>
                  <a:lnTo>
                    <a:pt x="44482" y="264319"/>
                  </a:lnTo>
                  <a:lnTo>
                    <a:pt x="54578" y="282893"/>
                  </a:lnTo>
                  <a:lnTo>
                    <a:pt x="57531" y="276987"/>
                  </a:lnTo>
                  <a:lnTo>
                    <a:pt x="62960" y="281369"/>
                  </a:lnTo>
                  <a:lnTo>
                    <a:pt x="66770" y="280321"/>
                  </a:lnTo>
                  <a:lnTo>
                    <a:pt x="69628" y="285750"/>
                  </a:lnTo>
                  <a:lnTo>
                    <a:pt x="73819" y="286988"/>
                  </a:lnTo>
                  <a:lnTo>
                    <a:pt x="71152" y="296037"/>
                  </a:lnTo>
                  <a:lnTo>
                    <a:pt x="75819" y="299657"/>
                  </a:lnTo>
                  <a:lnTo>
                    <a:pt x="78677" y="294513"/>
                  </a:lnTo>
                  <a:lnTo>
                    <a:pt x="84392" y="293466"/>
                  </a:lnTo>
                  <a:lnTo>
                    <a:pt x="87916" y="298323"/>
                  </a:lnTo>
                  <a:lnTo>
                    <a:pt x="94869" y="285179"/>
                  </a:lnTo>
                  <a:lnTo>
                    <a:pt x="94964" y="285083"/>
                  </a:lnTo>
                  <a:lnTo>
                    <a:pt x="80963" y="274606"/>
                  </a:lnTo>
                  <a:lnTo>
                    <a:pt x="74771" y="279273"/>
                  </a:lnTo>
                  <a:lnTo>
                    <a:pt x="60579" y="268319"/>
                  </a:lnTo>
                  <a:lnTo>
                    <a:pt x="56674" y="243174"/>
                  </a:lnTo>
                  <a:lnTo>
                    <a:pt x="49435" y="226028"/>
                  </a:lnTo>
                  <a:lnTo>
                    <a:pt x="37147" y="226981"/>
                  </a:lnTo>
                  <a:lnTo>
                    <a:pt x="35528" y="204883"/>
                  </a:lnTo>
                  <a:lnTo>
                    <a:pt x="43815" y="185452"/>
                  </a:lnTo>
                  <a:lnTo>
                    <a:pt x="52673" y="167926"/>
                  </a:lnTo>
                  <a:lnTo>
                    <a:pt x="51340" y="145352"/>
                  </a:lnTo>
                  <a:lnTo>
                    <a:pt x="57626" y="140970"/>
                  </a:lnTo>
                  <a:lnTo>
                    <a:pt x="61055" y="145923"/>
                  </a:lnTo>
                  <a:lnTo>
                    <a:pt x="69533" y="158496"/>
                  </a:lnTo>
                  <a:lnTo>
                    <a:pt x="93345" y="160211"/>
                  </a:lnTo>
                  <a:lnTo>
                    <a:pt x="97917" y="167926"/>
                  </a:lnTo>
                  <a:lnTo>
                    <a:pt x="109442" y="178403"/>
                  </a:lnTo>
                  <a:lnTo>
                    <a:pt x="110109" y="179070"/>
                  </a:lnTo>
                  <a:lnTo>
                    <a:pt x="111347" y="180308"/>
                  </a:lnTo>
                  <a:lnTo>
                    <a:pt x="111347" y="179927"/>
                  </a:lnTo>
                  <a:lnTo>
                    <a:pt x="107061" y="167259"/>
                  </a:lnTo>
                  <a:lnTo>
                    <a:pt x="109347" y="161735"/>
                  </a:lnTo>
                  <a:lnTo>
                    <a:pt x="102013" y="156972"/>
                  </a:lnTo>
                  <a:lnTo>
                    <a:pt x="97727" y="140018"/>
                  </a:lnTo>
                  <a:lnTo>
                    <a:pt x="105918" y="138779"/>
                  </a:lnTo>
                  <a:lnTo>
                    <a:pt x="110871" y="127730"/>
                  </a:lnTo>
                  <a:lnTo>
                    <a:pt x="124492" y="123349"/>
                  </a:lnTo>
                  <a:lnTo>
                    <a:pt x="142304" y="123349"/>
                  </a:lnTo>
                  <a:lnTo>
                    <a:pt x="146113" y="121730"/>
                  </a:lnTo>
                  <a:lnTo>
                    <a:pt x="152305" y="127349"/>
                  </a:lnTo>
                  <a:lnTo>
                    <a:pt x="155543" y="123635"/>
                  </a:lnTo>
                  <a:lnTo>
                    <a:pt x="162020" y="120206"/>
                  </a:lnTo>
                  <a:lnTo>
                    <a:pt x="163259" y="111252"/>
                  </a:lnTo>
                  <a:lnTo>
                    <a:pt x="159639" y="106490"/>
                  </a:lnTo>
                  <a:lnTo>
                    <a:pt x="162782" y="10334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69" name="Freeform: Shape 2659">
              <a:extLst>
                <a:ext uri="{FF2B5EF4-FFF2-40B4-BE49-F238E27FC236}">
                  <a16:creationId xmlns:a16="http://schemas.microsoft.com/office/drawing/2014/main" id="{A8721CD6-E631-178F-64A7-B20F9EB9C4E4}"/>
                </a:ext>
              </a:extLst>
            </p:cNvPr>
            <p:cNvSpPr/>
            <p:nvPr/>
          </p:nvSpPr>
          <p:spPr>
            <a:xfrm>
              <a:off x="3078099" y="3748024"/>
              <a:ext cx="156400" cy="99726"/>
            </a:xfrm>
            <a:custGeom>
              <a:avLst/>
              <a:gdLst>
                <a:gd name="connsiteX0" fmla="*/ 102203 w 156400"/>
                <a:gd name="connsiteY0" fmla="*/ 40005 h 99726"/>
                <a:gd name="connsiteX1" fmla="*/ 97536 w 156400"/>
                <a:gd name="connsiteY1" fmla="*/ 45529 h 99726"/>
                <a:gd name="connsiteX2" fmla="*/ 93440 w 156400"/>
                <a:gd name="connsiteY2" fmla="*/ 40005 h 99726"/>
                <a:gd name="connsiteX3" fmla="*/ 87535 w 156400"/>
                <a:gd name="connsiteY3" fmla="*/ 41434 h 99726"/>
                <a:gd name="connsiteX4" fmla="*/ 83629 w 156400"/>
                <a:gd name="connsiteY4" fmla="*/ 35623 h 99726"/>
                <a:gd name="connsiteX5" fmla="*/ 75343 w 156400"/>
                <a:gd name="connsiteY5" fmla="*/ 36766 h 99726"/>
                <a:gd name="connsiteX6" fmla="*/ 73342 w 156400"/>
                <a:gd name="connsiteY6" fmla="*/ 40576 h 99726"/>
                <a:gd name="connsiteX7" fmla="*/ 67913 w 156400"/>
                <a:gd name="connsiteY7" fmla="*/ 41434 h 99726"/>
                <a:gd name="connsiteX8" fmla="*/ 64008 w 156400"/>
                <a:gd name="connsiteY8" fmla="*/ 36195 h 99726"/>
                <a:gd name="connsiteX9" fmla="*/ 39529 w 156400"/>
                <a:gd name="connsiteY9" fmla="*/ 36195 h 99726"/>
                <a:gd name="connsiteX10" fmla="*/ 41624 w 156400"/>
                <a:gd name="connsiteY10" fmla="*/ 28004 h 99726"/>
                <a:gd name="connsiteX11" fmla="*/ 46958 w 156400"/>
                <a:gd name="connsiteY11" fmla="*/ 27146 h 99726"/>
                <a:gd name="connsiteX12" fmla="*/ 47244 w 156400"/>
                <a:gd name="connsiteY12" fmla="*/ 21431 h 99726"/>
                <a:gd name="connsiteX13" fmla="*/ 61913 w 156400"/>
                <a:gd name="connsiteY13" fmla="*/ 24765 h 99726"/>
                <a:gd name="connsiteX14" fmla="*/ 64294 w 156400"/>
                <a:gd name="connsiteY14" fmla="*/ 30671 h 99726"/>
                <a:gd name="connsiteX15" fmla="*/ 66865 w 156400"/>
                <a:gd name="connsiteY15" fmla="*/ 26860 h 99726"/>
                <a:gd name="connsiteX16" fmla="*/ 70199 w 156400"/>
                <a:gd name="connsiteY16" fmla="*/ 25337 h 99726"/>
                <a:gd name="connsiteX17" fmla="*/ 71723 w 156400"/>
                <a:gd name="connsiteY17" fmla="*/ 20479 h 99726"/>
                <a:gd name="connsiteX18" fmla="*/ 72009 w 156400"/>
                <a:gd name="connsiteY18" fmla="*/ 19526 h 99726"/>
                <a:gd name="connsiteX19" fmla="*/ 65342 w 156400"/>
                <a:gd name="connsiteY19" fmla="*/ 20383 h 99726"/>
                <a:gd name="connsiteX20" fmla="*/ 61055 w 156400"/>
                <a:gd name="connsiteY20" fmla="*/ 14954 h 99726"/>
                <a:gd name="connsiteX21" fmla="*/ 68771 w 156400"/>
                <a:gd name="connsiteY21" fmla="*/ 8572 h 99726"/>
                <a:gd name="connsiteX22" fmla="*/ 61531 w 156400"/>
                <a:gd name="connsiteY22" fmla="*/ 0 h 99726"/>
                <a:gd name="connsiteX23" fmla="*/ 60198 w 156400"/>
                <a:gd name="connsiteY23" fmla="*/ 3619 h 99726"/>
                <a:gd name="connsiteX24" fmla="*/ 46672 w 156400"/>
                <a:gd name="connsiteY24" fmla="*/ 10573 h 99726"/>
                <a:gd name="connsiteX25" fmla="*/ 41338 w 156400"/>
                <a:gd name="connsiteY25" fmla="*/ 5524 h 99726"/>
                <a:gd name="connsiteX26" fmla="*/ 37433 w 156400"/>
                <a:gd name="connsiteY26" fmla="*/ 12668 h 99726"/>
                <a:gd name="connsiteX27" fmla="*/ 39433 w 156400"/>
                <a:gd name="connsiteY27" fmla="*/ 21146 h 99726"/>
                <a:gd name="connsiteX28" fmla="*/ 25241 w 156400"/>
                <a:gd name="connsiteY28" fmla="*/ 22384 h 99726"/>
                <a:gd name="connsiteX29" fmla="*/ 30575 w 156400"/>
                <a:gd name="connsiteY29" fmla="*/ 27622 h 99726"/>
                <a:gd name="connsiteX30" fmla="*/ 25813 w 156400"/>
                <a:gd name="connsiteY30" fmla="*/ 29813 h 99726"/>
                <a:gd name="connsiteX31" fmla="*/ 23908 w 156400"/>
                <a:gd name="connsiteY31" fmla="*/ 36576 h 99726"/>
                <a:gd name="connsiteX32" fmla="*/ 6953 w 156400"/>
                <a:gd name="connsiteY32" fmla="*/ 35052 h 99726"/>
                <a:gd name="connsiteX33" fmla="*/ 0 w 156400"/>
                <a:gd name="connsiteY33" fmla="*/ 42863 h 99726"/>
                <a:gd name="connsiteX34" fmla="*/ 7048 w 156400"/>
                <a:gd name="connsiteY34" fmla="*/ 45910 h 99726"/>
                <a:gd name="connsiteX35" fmla="*/ 8001 w 156400"/>
                <a:gd name="connsiteY35" fmla="*/ 49244 h 99726"/>
                <a:gd name="connsiteX36" fmla="*/ 14954 w 156400"/>
                <a:gd name="connsiteY36" fmla="*/ 48863 h 99726"/>
                <a:gd name="connsiteX37" fmla="*/ 17907 w 156400"/>
                <a:gd name="connsiteY37" fmla="*/ 52292 h 99726"/>
                <a:gd name="connsiteX38" fmla="*/ 14954 w 156400"/>
                <a:gd name="connsiteY38" fmla="*/ 53340 h 99726"/>
                <a:gd name="connsiteX39" fmla="*/ 14668 w 156400"/>
                <a:gd name="connsiteY39" fmla="*/ 58960 h 99726"/>
                <a:gd name="connsiteX40" fmla="*/ 20860 w 156400"/>
                <a:gd name="connsiteY40" fmla="*/ 66865 h 99726"/>
                <a:gd name="connsiteX41" fmla="*/ 19621 w 156400"/>
                <a:gd name="connsiteY41" fmla="*/ 72390 h 99726"/>
                <a:gd name="connsiteX42" fmla="*/ 15716 w 156400"/>
                <a:gd name="connsiteY42" fmla="*/ 72390 h 99726"/>
                <a:gd name="connsiteX43" fmla="*/ 10001 w 156400"/>
                <a:gd name="connsiteY43" fmla="*/ 81248 h 99726"/>
                <a:gd name="connsiteX44" fmla="*/ 11144 w 156400"/>
                <a:gd name="connsiteY44" fmla="*/ 84391 h 99726"/>
                <a:gd name="connsiteX45" fmla="*/ 8668 w 156400"/>
                <a:gd name="connsiteY45" fmla="*/ 89249 h 99726"/>
                <a:gd name="connsiteX46" fmla="*/ 13621 w 156400"/>
                <a:gd name="connsiteY46" fmla="*/ 97155 h 99726"/>
                <a:gd name="connsiteX47" fmla="*/ 30099 w 156400"/>
                <a:gd name="connsiteY47" fmla="*/ 86582 h 99726"/>
                <a:gd name="connsiteX48" fmla="*/ 38386 w 156400"/>
                <a:gd name="connsiteY48" fmla="*/ 92964 h 99726"/>
                <a:gd name="connsiteX49" fmla="*/ 42005 w 156400"/>
                <a:gd name="connsiteY49" fmla="*/ 88487 h 99726"/>
                <a:gd name="connsiteX50" fmla="*/ 40672 w 156400"/>
                <a:gd name="connsiteY50" fmla="*/ 83629 h 99726"/>
                <a:gd name="connsiteX51" fmla="*/ 44958 w 156400"/>
                <a:gd name="connsiteY51" fmla="*/ 80105 h 99726"/>
                <a:gd name="connsiteX52" fmla="*/ 55531 w 156400"/>
                <a:gd name="connsiteY52" fmla="*/ 81820 h 99726"/>
                <a:gd name="connsiteX53" fmla="*/ 58579 w 156400"/>
                <a:gd name="connsiteY53" fmla="*/ 77248 h 99726"/>
                <a:gd name="connsiteX54" fmla="*/ 55340 w 156400"/>
                <a:gd name="connsiteY54" fmla="*/ 71438 h 99726"/>
                <a:gd name="connsiteX55" fmla="*/ 62865 w 156400"/>
                <a:gd name="connsiteY55" fmla="*/ 67532 h 99726"/>
                <a:gd name="connsiteX56" fmla="*/ 67437 w 156400"/>
                <a:gd name="connsiteY56" fmla="*/ 60484 h 99726"/>
                <a:gd name="connsiteX57" fmla="*/ 78010 w 156400"/>
                <a:gd name="connsiteY57" fmla="*/ 63437 h 99726"/>
                <a:gd name="connsiteX58" fmla="*/ 78010 w 156400"/>
                <a:gd name="connsiteY58" fmla="*/ 73152 h 99726"/>
                <a:gd name="connsiteX59" fmla="*/ 84677 w 156400"/>
                <a:gd name="connsiteY59" fmla="*/ 71247 h 99726"/>
                <a:gd name="connsiteX60" fmla="*/ 81629 w 156400"/>
                <a:gd name="connsiteY60" fmla="*/ 89249 h 99726"/>
                <a:gd name="connsiteX61" fmla="*/ 85249 w 156400"/>
                <a:gd name="connsiteY61" fmla="*/ 99727 h 99726"/>
                <a:gd name="connsiteX62" fmla="*/ 97155 w 156400"/>
                <a:gd name="connsiteY62" fmla="*/ 92964 h 99726"/>
                <a:gd name="connsiteX63" fmla="*/ 104489 w 156400"/>
                <a:gd name="connsiteY63" fmla="*/ 92964 h 99726"/>
                <a:gd name="connsiteX64" fmla="*/ 115633 w 156400"/>
                <a:gd name="connsiteY64" fmla="*/ 81820 h 99726"/>
                <a:gd name="connsiteX65" fmla="*/ 128206 w 156400"/>
                <a:gd name="connsiteY65" fmla="*/ 80963 h 99726"/>
                <a:gd name="connsiteX66" fmla="*/ 125254 w 156400"/>
                <a:gd name="connsiteY66" fmla="*/ 87058 h 99726"/>
                <a:gd name="connsiteX67" fmla="*/ 143446 w 156400"/>
                <a:gd name="connsiteY67" fmla="*/ 82772 h 99726"/>
                <a:gd name="connsiteX68" fmla="*/ 150304 w 156400"/>
                <a:gd name="connsiteY68" fmla="*/ 88487 h 99726"/>
                <a:gd name="connsiteX69" fmla="*/ 156400 w 156400"/>
                <a:gd name="connsiteY69" fmla="*/ 84963 h 99726"/>
                <a:gd name="connsiteX70" fmla="*/ 150685 w 156400"/>
                <a:gd name="connsiteY70" fmla="*/ 79343 h 99726"/>
                <a:gd name="connsiteX71" fmla="*/ 152019 w 156400"/>
                <a:gd name="connsiteY71" fmla="*/ 74676 h 99726"/>
                <a:gd name="connsiteX72" fmla="*/ 148400 w 156400"/>
                <a:gd name="connsiteY72" fmla="*/ 70009 h 99726"/>
                <a:gd name="connsiteX73" fmla="*/ 149162 w 156400"/>
                <a:gd name="connsiteY73" fmla="*/ 60960 h 99726"/>
                <a:gd name="connsiteX74" fmla="*/ 137255 w 156400"/>
                <a:gd name="connsiteY74" fmla="*/ 55150 h 99726"/>
                <a:gd name="connsiteX75" fmla="*/ 131635 w 156400"/>
                <a:gd name="connsiteY75" fmla="*/ 61531 h 99726"/>
                <a:gd name="connsiteX76" fmla="*/ 126206 w 156400"/>
                <a:gd name="connsiteY76" fmla="*/ 51625 h 99726"/>
                <a:gd name="connsiteX77" fmla="*/ 130016 w 156400"/>
                <a:gd name="connsiteY77" fmla="*/ 49625 h 99726"/>
                <a:gd name="connsiteX78" fmla="*/ 124873 w 156400"/>
                <a:gd name="connsiteY78" fmla="*/ 43529 h 99726"/>
                <a:gd name="connsiteX79" fmla="*/ 125254 w 156400"/>
                <a:gd name="connsiteY79" fmla="*/ 39148 h 99726"/>
                <a:gd name="connsiteX80" fmla="*/ 125254 w 156400"/>
                <a:gd name="connsiteY80" fmla="*/ 39148 h 99726"/>
                <a:gd name="connsiteX81" fmla="*/ 116396 w 156400"/>
                <a:gd name="connsiteY81" fmla="*/ 41148 h 99726"/>
                <a:gd name="connsiteX82" fmla="*/ 102203 w 156400"/>
                <a:gd name="connsiteY82" fmla="*/ 40005 h 9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6400" h="99726">
                  <a:moveTo>
                    <a:pt x="102203" y="40005"/>
                  </a:moveTo>
                  <a:lnTo>
                    <a:pt x="97536" y="45529"/>
                  </a:lnTo>
                  <a:lnTo>
                    <a:pt x="93440" y="40005"/>
                  </a:lnTo>
                  <a:lnTo>
                    <a:pt x="87535" y="41434"/>
                  </a:lnTo>
                  <a:lnTo>
                    <a:pt x="83629" y="35623"/>
                  </a:lnTo>
                  <a:lnTo>
                    <a:pt x="75343" y="36766"/>
                  </a:lnTo>
                  <a:lnTo>
                    <a:pt x="73342" y="40576"/>
                  </a:lnTo>
                  <a:lnTo>
                    <a:pt x="67913" y="41434"/>
                  </a:lnTo>
                  <a:lnTo>
                    <a:pt x="64008" y="36195"/>
                  </a:lnTo>
                  <a:lnTo>
                    <a:pt x="39529" y="36195"/>
                  </a:lnTo>
                  <a:lnTo>
                    <a:pt x="41624" y="28004"/>
                  </a:lnTo>
                  <a:lnTo>
                    <a:pt x="46958" y="27146"/>
                  </a:lnTo>
                  <a:lnTo>
                    <a:pt x="47244" y="21431"/>
                  </a:lnTo>
                  <a:lnTo>
                    <a:pt x="61913" y="24765"/>
                  </a:lnTo>
                  <a:lnTo>
                    <a:pt x="64294" y="30671"/>
                  </a:lnTo>
                  <a:lnTo>
                    <a:pt x="66865" y="26860"/>
                  </a:lnTo>
                  <a:lnTo>
                    <a:pt x="70199" y="25337"/>
                  </a:lnTo>
                  <a:lnTo>
                    <a:pt x="71723" y="20479"/>
                  </a:lnTo>
                  <a:lnTo>
                    <a:pt x="72009" y="19526"/>
                  </a:lnTo>
                  <a:lnTo>
                    <a:pt x="65342" y="20383"/>
                  </a:lnTo>
                  <a:lnTo>
                    <a:pt x="61055" y="14954"/>
                  </a:lnTo>
                  <a:lnTo>
                    <a:pt x="68771" y="8572"/>
                  </a:lnTo>
                  <a:lnTo>
                    <a:pt x="61531" y="0"/>
                  </a:lnTo>
                  <a:lnTo>
                    <a:pt x="60198" y="3619"/>
                  </a:lnTo>
                  <a:lnTo>
                    <a:pt x="46672" y="10573"/>
                  </a:lnTo>
                  <a:lnTo>
                    <a:pt x="41338" y="5524"/>
                  </a:lnTo>
                  <a:lnTo>
                    <a:pt x="37433" y="12668"/>
                  </a:lnTo>
                  <a:lnTo>
                    <a:pt x="39433" y="21146"/>
                  </a:lnTo>
                  <a:lnTo>
                    <a:pt x="25241" y="22384"/>
                  </a:lnTo>
                  <a:lnTo>
                    <a:pt x="30575" y="27622"/>
                  </a:lnTo>
                  <a:lnTo>
                    <a:pt x="25813" y="29813"/>
                  </a:lnTo>
                  <a:lnTo>
                    <a:pt x="23908" y="36576"/>
                  </a:lnTo>
                  <a:lnTo>
                    <a:pt x="6953" y="35052"/>
                  </a:lnTo>
                  <a:lnTo>
                    <a:pt x="0" y="42863"/>
                  </a:lnTo>
                  <a:lnTo>
                    <a:pt x="7048" y="45910"/>
                  </a:lnTo>
                  <a:lnTo>
                    <a:pt x="8001" y="49244"/>
                  </a:lnTo>
                  <a:lnTo>
                    <a:pt x="14954" y="48863"/>
                  </a:lnTo>
                  <a:lnTo>
                    <a:pt x="17907" y="52292"/>
                  </a:lnTo>
                  <a:lnTo>
                    <a:pt x="14954" y="53340"/>
                  </a:lnTo>
                  <a:lnTo>
                    <a:pt x="14668" y="58960"/>
                  </a:lnTo>
                  <a:lnTo>
                    <a:pt x="20860" y="66865"/>
                  </a:lnTo>
                  <a:lnTo>
                    <a:pt x="19621" y="72390"/>
                  </a:lnTo>
                  <a:lnTo>
                    <a:pt x="15716" y="72390"/>
                  </a:lnTo>
                  <a:lnTo>
                    <a:pt x="10001" y="81248"/>
                  </a:lnTo>
                  <a:lnTo>
                    <a:pt x="11144" y="84391"/>
                  </a:lnTo>
                  <a:lnTo>
                    <a:pt x="8668" y="89249"/>
                  </a:lnTo>
                  <a:lnTo>
                    <a:pt x="13621" y="97155"/>
                  </a:lnTo>
                  <a:lnTo>
                    <a:pt x="30099" y="86582"/>
                  </a:lnTo>
                  <a:lnTo>
                    <a:pt x="38386" y="92964"/>
                  </a:lnTo>
                  <a:lnTo>
                    <a:pt x="42005" y="88487"/>
                  </a:lnTo>
                  <a:lnTo>
                    <a:pt x="40672" y="83629"/>
                  </a:lnTo>
                  <a:lnTo>
                    <a:pt x="44958" y="80105"/>
                  </a:lnTo>
                  <a:lnTo>
                    <a:pt x="55531" y="81820"/>
                  </a:lnTo>
                  <a:lnTo>
                    <a:pt x="58579" y="77248"/>
                  </a:lnTo>
                  <a:lnTo>
                    <a:pt x="55340" y="71438"/>
                  </a:lnTo>
                  <a:lnTo>
                    <a:pt x="62865" y="67532"/>
                  </a:lnTo>
                  <a:lnTo>
                    <a:pt x="67437" y="60484"/>
                  </a:lnTo>
                  <a:lnTo>
                    <a:pt x="78010" y="63437"/>
                  </a:lnTo>
                  <a:lnTo>
                    <a:pt x="78010" y="73152"/>
                  </a:lnTo>
                  <a:lnTo>
                    <a:pt x="84677" y="71247"/>
                  </a:lnTo>
                  <a:lnTo>
                    <a:pt x="81629" y="89249"/>
                  </a:lnTo>
                  <a:lnTo>
                    <a:pt x="85249" y="99727"/>
                  </a:lnTo>
                  <a:lnTo>
                    <a:pt x="97155" y="92964"/>
                  </a:lnTo>
                  <a:lnTo>
                    <a:pt x="104489" y="92964"/>
                  </a:lnTo>
                  <a:lnTo>
                    <a:pt x="115633" y="81820"/>
                  </a:lnTo>
                  <a:lnTo>
                    <a:pt x="128206" y="80963"/>
                  </a:lnTo>
                  <a:lnTo>
                    <a:pt x="125254" y="87058"/>
                  </a:lnTo>
                  <a:lnTo>
                    <a:pt x="143446" y="82772"/>
                  </a:lnTo>
                  <a:lnTo>
                    <a:pt x="150304" y="88487"/>
                  </a:lnTo>
                  <a:lnTo>
                    <a:pt x="156400" y="84963"/>
                  </a:lnTo>
                  <a:lnTo>
                    <a:pt x="150685" y="79343"/>
                  </a:lnTo>
                  <a:lnTo>
                    <a:pt x="152019" y="74676"/>
                  </a:lnTo>
                  <a:lnTo>
                    <a:pt x="148400" y="70009"/>
                  </a:lnTo>
                  <a:lnTo>
                    <a:pt x="149162" y="60960"/>
                  </a:lnTo>
                  <a:lnTo>
                    <a:pt x="137255" y="55150"/>
                  </a:lnTo>
                  <a:lnTo>
                    <a:pt x="131635" y="61531"/>
                  </a:lnTo>
                  <a:lnTo>
                    <a:pt x="126206" y="51625"/>
                  </a:lnTo>
                  <a:lnTo>
                    <a:pt x="130016" y="49625"/>
                  </a:lnTo>
                  <a:lnTo>
                    <a:pt x="124873" y="43529"/>
                  </a:lnTo>
                  <a:lnTo>
                    <a:pt x="125254" y="39148"/>
                  </a:lnTo>
                  <a:lnTo>
                    <a:pt x="125254" y="39148"/>
                  </a:lnTo>
                  <a:lnTo>
                    <a:pt x="116396" y="41148"/>
                  </a:lnTo>
                  <a:lnTo>
                    <a:pt x="102203" y="4000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0" name="Freeform: Shape 2660">
              <a:extLst>
                <a:ext uri="{FF2B5EF4-FFF2-40B4-BE49-F238E27FC236}">
                  <a16:creationId xmlns:a16="http://schemas.microsoft.com/office/drawing/2014/main" id="{38E8B0AF-893F-25C6-7A94-99AE80DB8782}"/>
                </a:ext>
              </a:extLst>
            </p:cNvPr>
            <p:cNvSpPr/>
            <p:nvPr/>
          </p:nvSpPr>
          <p:spPr>
            <a:xfrm>
              <a:off x="4122610" y="4101401"/>
              <a:ext cx="37433" cy="66960"/>
            </a:xfrm>
            <a:custGeom>
              <a:avLst/>
              <a:gdLst>
                <a:gd name="connsiteX0" fmla="*/ 24479 w 37433"/>
                <a:gd name="connsiteY0" fmla="*/ 0 h 66960"/>
                <a:gd name="connsiteX1" fmla="*/ 18859 w 37433"/>
                <a:gd name="connsiteY1" fmla="*/ 2477 h 66960"/>
                <a:gd name="connsiteX2" fmla="*/ 1333 w 37433"/>
                <a:gd name="connsiteY2" fmla="*/ 31528 h 66960"/>
                <a:gd name="connsiteX3" fmla="*/ 0 w 37433"/>
                <a:gd name="connsiteY3" fmla="*/ 43434 h 66960"/>
                <a:gd name="connsiteX4" fmla="*/ 13240 w 37433"/>
                <a:gd name="connsiteY4" fmla="*/ 66961 h 66960"/>
                <a:gd name="connsiteX5" fmla="*/ 26384 w 37433"/>
                <a:gd name="connsiteY5" fmla="*/ 42101 h 66960"/>
                <a:gd name="connsiteX6" fmla="*/ 30766 w 37433"/>
                <a:gd name="connsiteY6" fmla="*/ 21717 h 66960"/>
                <a:gd name="connsiteX7" fmla="*/ 36290 w 37433"/>
                <a:gd name="connsiteY7" fmla="*/ 10859 h 66960"/>
                <a:gd name="connsiteX8" fmla="*/ 35052 w 37433"/>
                <a:gd name="connsiteY8" fmla="*/ 5620 h 66960"/>
                <a:gd name="connsiteX9" fmla="*/ 37433 w 37433"/>
                <a:gd name="connsiteY9" fmla="*/ 1810 h 66960"/>
                <a:gd name="connsiteX10" fmla="*/ 24479 w 37433"/>
                <a:gd name="connsiteY10" fmla="*/ 0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33" h="66960">
                  <a:moveTo>
                    <a:pt x="24479" y="0"/>
                  </a:moveTo>
                  <a:lnTo>
                    <a:pt x="18859" y="2477"/>
                  </a:lnTo>
                  <a:lnTo>
                    <a:pt x="1333" y="31528"/>
                  </a:lnTo>
                  <a:lnTo>
                    <a:pt x="0" y="43434"/>
                  </a:lnTo>
                  <a:lnTo>
                    <a:pt x="13240" y="66961"/>
                  </a:lnTo>
                  <a:lnTo>
                    <a:pt x="26384" y="42101"/>
                  </a:lnTo>
                  <a:lnTo>
                    <a:pt x="30766" y="21717"/>
                  </a:lnTo>
                  <a:lnTo>
                    <a:pt x="36290" y="10859"/>
                  </a:lnTo>
                  <a:lnTo>
                    <a:pt x="35052" y="5620"/>
                  </a:lnTo>
                  <a:lnTo>
                    <a:pt x="37433" y="1810"/>
                  </a:lnTo>
                  <a:lnTo>
                    <a:pt x="2447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1" name="Freeform: Shape 2661">
              <a:extLst>
                <a:ext uri="{FF2B5EF4-FFF2-40B4-BE49-F238E27FC236}">
                  <a16:creationId xmlns:a16="http://schemas.microsoft.com/office/drawing/2014/main" id="{1D89B84C-5E96-8CDD-3B6B-281648093BBD}"/>
                </a:ext>
              </a:extLst>
            </p:cNvPr>
            <p:cNvSpPr/>
            <p:nvPr/>
          </p:nvSpPr>
          <p:spPr>
            <a:xfrm>
              <a:off x="2450496" y="3832986"/>
              <a:ext cx="132778" cy="113823"/>
            </a:xfrm>
            <a:custGeom>
              <a:avLst/>
              <a:gdLst>
                <a:gd name="connsiteX0" fmla="*/ 122492 w 132778"/>
                <a:gd name="connsiteY0" fmla="*/ 17717 h 113823"/>
                <a:gd name="connsiteX1" fmla="*/ 132779 w 132778"/>
                <a:gd name="connsiteY1" fmla="*/ 6477 h 113823"/>
                <a:gd name="connsiteX2" fmla="*/ 130873 w 132778"/>
                <a:gd name="connsiteY2" fmla="*/ 0 h 113823"/>
                <a:gd name="connsiteX3" fmla="*/ 124777 w 132778"/>
                <a:gd name="connsiteY3" fmla="*/ 5048 h 113823"/>
                <a:gd name="connsiteX4" fmla="*/ 118396 w 132778"/>
                <a:gd name="connsiteY4" fmla="*/ 6477 h 113823"/>
                <a:gd name="connsiteX5" fmla="*/ 101727 w 132778"/>
                <a:gd name="connsiteY5" fmla="*/ 6191 h 113823"/>
                <a:gd name="connsiteX6" fmla="*/ 82582 w 132778"/>
                <a:gd name="connsiteY6" fmla="*/ 14383 h 113823"/>
                <a:gd name="connsiteX7" fmla="*/ 61055 w 132778"/>
                <a:gd name="connsiteY7" fmla="*/ 15526 h 113823"/>
                <a:gd name="connsiteX8" fmla="*/ 51625 w 132778"/>
                <a:gd name="connsiteY8" fmla="*/ 11049 h 113823"/>
                <a:gd name="connsiteX9" fmla="*/ 34290 w 132778"/>
                <a:gd name="connsiteY9" fmla="*/ 16859 h 113823"/>
                <a:gd name="connsiteX10" fmla="*/ 20098 w 132778"/>
                <a:gd name="connsiteY10" fmla="*/ 12478 h 113823"/>
                <a:gd name="connsiteX11" fmla="*/ 17812 w 132778"/>
                <a:gd name="connsiteY11" fmla="*/ 20003 h 113823"/>
                <a:gd name="connsiteX12" fmla="*/ 21146 w 132778"/>
                <a:gd name="connsiteY12" fmla="*/ 26670 h 113823"/>
                <a:gd name="connsiteX13" fmla="*/ 15526 w 132778"/>
                <a:gd name="connsiteY13" fmla="*/ 26670 h 113823"/>
                <a:gd name="connsiteX14" fmla="*/ 11049 w 132778"/>
                <a:gd name="connsiteY14" fmla="*/ 36195 h 113823"/>
                <a:gd name="connsiteX15" fmla="*/ 6763 w 132778"/>
                <a:gd name="connsiteY15" fmla="*/ 33814 h 113823"/>
                <a:gd name="connsiteX16" fmla="*/ 6286 w 132778"/>
                <a:gd name="connsiteY16" fmla="*/ 61436 h 113823"/>
                <a:gd name="connsiteX17" fmla="*/ 15526 w 132778"/>
                <a:gd name="connsiteY17" fmla="*/ 60674 h 113823"/>
                <a:gd name="connsiteX18" fmla="*/ 19431 w 132778"/>
                <a:gd name="connsiteY18" fmla="*/ 70580 h 113823"/>
                <a:gd name="connsiteX19" fmla="*/ 14668 w 132778"/>
                <a:gd name="connsiteY19" fmla="*/ 78867 h 113823"/>
                <a:gd name="connsiteX20" fmla="*/ 6286 w 132778"/>
                <a:gd name="connsiteY20" fmla="*/ 82391 h 113823"/>
                <a:gd name="connsiteX21" fmla="*/ 9811 w 132778"/>
                <a:gd name="connsiteY21" fmla="*/ 84963 h 113823"/>
                <a:gd name="connsiteX22" fmla="*/ 286 w 132778"/>
                <a:gd name="connsiteY22" fmla="*/ 92869 h 113823"/>
                <a:gd name="connsiteX23" fmla="*/ 0 w 132778"/>
                <a:gd name="connsiteY23" fmla="*/ 105537 h 113823"/>
                <a:gd name="connsiteX24" fmla="*/ 2953 w 132778"/>
                <a:gd name="connsiteY24" fmla="*/ 104013 h 113823"/>
                <a:gd name="connsiteX25" fmla="*/ 8572 w 132778"/>
                <a:gd name="connsiteY25" fmla="*/ 108966 h 113823"/>
                <a:gd name="connsiteX26" fmla="*/ 12287 w 132778"/>
                <a:gd name="connsiteY26" fmla="*/ 109347 h 113823"/>
                <a:gd name="connsiteX27" fmla="*/ 15526 w 132778"/>
                <a:gd name="connsiteY27" fmla="*/ 113062 h 113823"/>
                <a:gd name="connsiteX28" fmla="*/ 23431 w 132778"/>
                <a:gd name="connsiteY28" fmla="*/ 113824 h 113823"/>
                <a:gd name="connsiteX29" fmla="*/ 62675 w 132778"/>
                <a:gd name="connsiteY29" fmla="*/ 91345 h 113823"/>
                <a:gd name="connsiteX30" fmla="*/ 106013 w 132778"/>
                <a:gd name="connsiteY30" fmla="*/ 66675 h 113823"/>
                <a:gd name="connsiteX31" fmla="*/ 111157 w 132778"/>
                <a:gd name="connsiteY31" fmla="*/ 57817 h 113823"/>
                <a:gd name="connsiteX32" fmla="*/ 111157 w 132778"/>
                <a:gd name="connsiteY32" fmla="*/ 44482 h 113823"/>
                <a:gd name="connsiteX33" fmla="*/ 114776 w 132778"/>
                <a:gd name="connsiteY33" fmla="*/ 36195 h 113823"/>
                <a:gd name="connsiteX34" fmla="*/ 110966 w 132778"/>
                <a:gd name="connsiteY34" fmla="*/ 30099 h 113823"/>
                <a:gd name="connsiteX35" fmla="*/ 112967 w 132778"/>
                <a:gd name="connsiteY35" fmla="*/ 19241 h 113823"/>
                <a:gd name="connsiteX36" fmla="*/ 122492 w 132778"/>
                <a:gd name="connsiteY36" fmla="*/ 17717 h 113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2778" h="113823">
                  <a:moveTo>
                    <a:pt x="122492" y="17717"/>
                  </a:moveTo>
                  <a:lnTo>
                    <a:pt x="132779" y="6477"/>
                  </a:lnTo>
                  <a:lnTo>
                    <a:pt x="130873" y="0"/>
                  </a:lnTo>
                  <a:lnTo>
                    <a:pt x="124777" y="5048"/>
                  </a:lnTo>
                  <a:lnTo>
                    <a:pt x="118396" y="6477"/>
                  </a:lnTo>
                  <a:lnTo>
                    <a:pt x="101727" y="6191"/>
                  </a:lnTo>
                  <a:lnTo>
                    <a:pt x="82582" y="14383"/>
                  </a:lnTo>
                  <a:lnTo>
                    <a:pt x="61055" y="15526"/>
                  </a:lnTo>
                  <a:lnTo>
                    <a:pt x="51625" y="11049"/>
                  </a:lnTo>
                  <a:lnTo>
                    <a:pt x="34290" y="16859"/>
                  </a:lnTo>
                  <a:lnTo>
                    <a:pt x="20098" y="12478"/>
                  </a:lnTo>
                  <a:lnTo>
                    <a:pt x="17812" y="20003"/>
                  </a:lnTo>
                  <a:lnTo>
                    <a:pt x="21146" y="26670"/>
                  </a:lnTo>
                  <a:lnTo>
                    <a:pt x="15526" y="26670"/>
                  </a:lnTo>
                  <a:lnTo>
                    <a:pt x="11049" y="36195"/>
                  </a:lnTo>
                  <a:lnTo>
                    <a:pt x="6763" y="33814"/>
                  </a:lnTo>
                  <a:lnTo>
                    <a:pt x="6286" y="61436"/>
                  </a:lnTo>
                  <a:lnTo>
                    <a:pt x="15526" y="60674"/>
                  </a:lnTo>
                  <a:lnTo>
                    <a:pt x="19431" y="70580"/>
                  </a:lnTo>
                  <a:lnTo>
                    <a:pt x="14668" y="78867"/>
                  </a:lnTo>
                  <a:lnTo>
                    <a:pt x="6286" y="82391"/>
                  </a:lnTo>
                  <a:lnTo>
                    <a:pt x="9811" y="84963"/>
                  </a:lnTo>
                  <a:lnTo>
                    <a:pt x="286" y="92869"/>
                  </a:lnTo>
                  <a:lnTo>
                    <a:pt x="0" y="105537"/>
                  </a:lnTo>
                  <a:lnTo>
                    <a:pt x="2953" y="104013"/>
                  </a:lnTo>
                  <a:lnTo>
                    <a:pt x="8572" y="108966"/>
                  </a:lnTo>
                  <a:lnTo>
                    <a:pt x="12287" y="109347"/>
                  </a:lnTo>
                  <a:lnTo>
                    <a:pt x="15526" y="113062"/>
                  </a:lnTo>
                  <a:lnTo>
                    <a:pt x="23431" y="113824"/>
                  </a:lnTo>
                  <a:lnTo>
                    <a:pt x="62675" y="91345"/>
                  </a:lnTo>
                  <a:lnTo>
                    <a:pt x="106013" y="66675"/>
                  </a:lnTo>
                  <a:lnTo>
                    <a:pt x="111157" y="57817"/>
                  </a:lnTo>
                  <a:lnTo>
                    <a:pt x="111157" y="44482"/>
                  </a:lnTo>
                  <a:lnTo>
                    <a:pt x="114776" y="36195"/>
                  </a:lnTo>
                  <a:lnTo>
                    <a:pt x="110966" y="30099"/>
                  </a:lnTo>
                  <a:lnTo>
                    <a:pt x="112967" y="19241"/>
                  </a:lnTo>
                  <a:lnTo>
                    <a:pt x="122492" y="1771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2" name="Freeform: Shape 2662">
              <a:extLst>
                <a:ext uri="{FF2B5EF4-FFF2-40B4-BE49-F238E27FC236}">
                  <a16:creationId xmlns:a16="http://schemas.microsoft.com/office/drawing/2014/main" id="{29F88922-DBB0-0107-FA66-C3C2FAD80C7D}"/>
                </a:ext>
              </a:extLst>
            </p:cNvPr>
            <p:cNvSpPr/>
            <p:nvPr/>
          </p:nvSpPr>
          <p:spPr>
            <a:xfrm>
              <a:off x="3323177" y="4414774"/>
              <a:ext cx="43243" cy="77247"/>
            </a:xfrm>
            <a:custGeom>
              <a:avLst/>
              <a:gdLst>
                <a:gd name="connsiteX0" fmla="*/ 24289 w 43243"/>
                <a:gd name="connsiteY0" fmla="*/ 11144 h 77247"/>
                <a:gd name="connsiteX1" fmla="*/ 10954 w 43243"/>
                <a:gd name="connsiteY1" fmla="*/ 0 h 77247"/>
                <a:gd name="connsiteX2" fmla="*/ 3048 w 43243"/>
                <a:gd name="connsiteY2" fmla="*/ 3810 h 77247"/>
                <a:gd name="connsiteX3" fmla="*/ 10001 w 43243"/>
                <a:gd name="connsiteY3" fmla="*/ 3429 h 77247"/>
                <a:gd name="connsiteX4" fmla="*/ 16954 w 43243"/>
                <a:gd name="connsiteY4" fmla="*/ 10001 h 77247"/>
                <a:gd name="connsiteX5" fmla="*/ 6953 w 43243"/>
                <a:gd name="connsiteY5" fmla="*/ 8572 h 77247"/>
                <a:gd name="connsiteX6" fmla="*/ 3810 w 43243"/>
                <a:gd name="connsiteY6" fmla="*/ 35147 h 77247"/>
                <a:gd name="connsiteX7" fmla="*/ 0 w 43243"/>
                <a:gd name="connsiteY7" fmla="*/ 32004 h 77247"/>
                <a:gd name="connsiteX8" fmla="*/ 6667 w 43243"/>
                <a:gd name="connsiteY8" fmla="*/ 70675 h 77247"/>
                <a:gd name="connsiteX9" fmla="*/ 15240 w 43243"/>
                <a:gd name="connsiteY9" fmla="*/ 77248 h 77247"/>
                <a:gd name="connsiteX10" fmla="*/ 38957 w 43243"/>
                <a:gd name="connsiteY10" fmla="*/ 67342 h 77247"/>
                <a:gd name="connsiteX11" fmla="*/ 43243 w 43243"/>
                <a:gd name="connsiteY11" fmla="*/ 50482 h 77247"/>
                <a:gd name="connsiteX12" fmla="*/ 28384 w 43243"/>
                <a:gd name="connsiteY12" fmla="*/ 26384 h 77247"/>
                <a:gd name="connsiteX13" fmla="*/ 24289 w 43243"/>
                <a:gd name="connsiteY13" fmla="*/ 11144 h 7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243" h="77247">
                  <a:moveTo>
                    <a:pt x="24289" y="11144"/>
                  </a:moveTo>
                  <a:lnTo>
                    <a:pt x="10954" y="0"/>
                  </a:lnTo>
                  <a:lnTo>
                    <a:pt x="3048" y="3810"/>
                  </a:lnTo>
                  <a:lnTo>
                    <a:pt x="10001" y="3429"/>
                  </a:lnTo>
                  <a:lnTo>
                    <a:pt x="16954" y="10001"/>
                  </a:lnTo>
                  <a:lnTo>
                    <a:pt x="6953" y="8572"/>
                  </a:lnTo>
                  <a:lnTo>
                    <a:pt x="3810" y="35147"/>
                  </a:lnTo>
                  <a:lnTo>
                    <a:pt x="0" y="32004"/>
                  </a:lnTo>
                  <a:lnTo>
                    <a:pt x="6667" y="70675"/>
                  </a:lnTo>
                  <a:lnTo>
                    <a:pt x="15240" y="77248"/>
                  </a:lnTo>
                  <a:lnTo>
                    <a:pt x="38957" y="67342"/>
                  </a:lnTo>
                  <a:lnTo>
                    <a:pt x="43243" y="50482"/>
                  </a:lnTo>
                  <a:lnTo>
                    <a:pt x="28384" y="26384"/>
                  </a:lnTo>
                  <a:lnTo>
                    <a:pt x="24289" y="1114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3" name="Freeform: Shape 2663">
              <a:extLst>
                <a:ext uri="{FF2B5EF4-FFF2-40B4-BE49-F238E27FC236}">
                  <a16:creationId xmlns:a16="http://schemas.microsoft.com/office/drawing/2014/main" id="{3387C546-C3F2-800C-15DD-E5CE926B70B9}"/>
                </a:ext>
              </a:extLst>
            </p:cNvPr>
            <p:cNvSpPr/>
            <p:nvPr/>
          </p:nvSpPr>
          <p:spPr>
            <a:xfrm>
              <a:off x="4245483" y="3805174"/>
              <a:ext cx="63055" cy="97535"/>
            </a:xfrm>
            <a:custGeom>
              <a:avLst/>
              <a:gdLst>
                <a:gd name="connsiteX0" fmla="*/ 37624 w 63055"/>
                <a:gd name="connsiteY0" fmla="*/ 6763 h 97535"/>
                <a:gd name="connsiteX1" fmla="*/ 18288 w 63055"/>
                <a:gd name="connsiteY1" fmla="*/ 5429 h 97535"/>
                <a:gd name="connsiteX2" fmla="*/ 8191 w 63055"/>
                <a:gd name="connsiteY2" fmla="*/ 17716 h 97535"/>
                <a:gd name="connsiteX3" fmla="*/ 8001 w 63055"/>
                <a:gd name="connsiteY3" fmla="*/ 18002 h 97535"/>
                <a:gd name="connsiteX4" fmla="*/ 8572 w 63055"/>
                <a:gd name="connsiteY4" fmla="*/ 17907 h 97535"/>
                <a:gd name="connsiteX5" fmla="*/ 12192 w 63055"/>
                <a:gd name="connsiteY5" fmla="*/ 36195 h 97535"/>
                <a:gd name="connsiteX6" fmla="*/ 8572 w 63055"/>
                <a:gd name="connsiteY6" fmla="*/ 69437 h 97535"/>
                <a:gd name="connsiteX7" fmla="*/ 2572 w 63055"/>
                <a:gd name="connsiteY7" fmla="*/ 75057 h 97535"/>
                <a:gd name="connsiteX8" fmla="*/ 6477 w 63055"/>
                <a:gd name="connsiteY8" fmla="*/ 79915 h 97535"/>
                <a:gd name="connsiteX9" fmla="*/ 0 w 63055"/>
                <a:gd name="connsiteY9" fmla="*/ 78772 h 97535"/>
                <a:gd name="connsiteX10" fmla="*/ 2191 w 63055"/>
                <a:gd name="connsiteY10" fmla="*/ 84296 h 97535"/>
                <a:gd name="connsiteX11" fmla="*/ 7811 w 63055"/>
                <a:gd name="connsiteY11" fmla="*/ 90011 h 97535"/>
                <a:gd name="connsiteX12" fmla="*/ 286 w 63055"/>
                <a:gd name="connsiteY12" fmla="*/ 88487 h 97535"/>
                <a:gd name="connsiteX13" fmla="*/ 5239 w 63055"/>
                <a:gd name="connsiteY13" fmla="*/ 97536 h 97535"/>
                <a:gd name="connsiteX14" fmla="*/ 29051 w 63055"/>
                <a:gd name="connsiteY14" fmla="*/ 81820 h 97535"/>
                <a:gd name="connsiteX15" fmla="*/ 44196 w 63055"/>
                <a:gd name="connsiteY15" fmla="*/ 81439 h 97535"/>
                <a:gd name="connsiteX16" fmla="*/ 46577 w 63055"/>
                <a:gd name="connsiteY16" fmla="*/ 76581 h 97535"/>
                <a:gd name="connsiteX17" fmla="*/ 54483 w 63055"/>
                <a:gd name="connsiteY17" fmla="*/ 80677 h 97535"/>
                <a:gd name="connsiteX18" fmla="*/ 63055 w 63055"/>
                <a:gd name="connsiteY18" fmla="*/ 70580 h 97535"/>
                <a:gd name="connsiteX19" fmla="*/ 62008 w 63055"/>
                <a:gd name="connsiteY19" fmla="*/ 58293 h 97535"/>
                <a:gd name="connsiteX20" fmla="*/ 63055 w 63055"/>
                <a:gd name="connsiteY20" fmla="*/ 35052 h 97535"/>
                <a:gd name="connsiteX21" fmla="*/ 47149 w 63055"/>
                <a:gd name="connsiteY21" fmla="*/ 11144 h 97535"/>
                <a:gd name="connsiteX22" fmla="*/ 41910 w 63055"/>
                <a:gd name="connsiteY22" fmla="*/ 381 h 97535"/>
                <a:gd name="connsiteX23" fmla="*/ 41624 w 63055"/>
                <a:gd name="connsiteY23" fmla="*/ 0 h 97535"/>
                <a:gd name="connsiteX24" fmla="*/ 41529 w 63055"/>
                <a:gd name="connsiteY24" fmla="*/ 190 h 97535"/>
                <a:gd name="connsiteX25" fmla="*/ 37624 w 63055"/>
                <a:gd name="connsiteY25" fmla="*/ 6763 h 9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055" h="97535">
                  <a:moveTo>
                    <a:pt x="37624" y="6763"/>
                  </a:moveTo>
                  <a:lnTo>
                    <a:pt x="18288" y="5429"/>
                  </a:lnTo>
                  <a:lnTo>
                    <a:pt x="8191" y="17716"/>
                  </a:lnTo>
                  <a:lnTo>
                    <a:pt x="8001" y="18002"/>
                  </a:lnTo>
                  <a:lnTo>
                    <a:pt x="8572" y="17907"/>
                  </a:lnTo>
                  <a:lnTo>
                    <a:pt x="12192" y="36195"/>
                  </a:lnTo>
                  <a:lnTo>
                    <a:pt x="8572" y="69437"/>
                  </a:lnTo>
                  <a:lnTo>
                    <a:pt x="2572" y="75057"/>
                  </a:lnTo>
                  <a:lnTo>
                    <a:pt x="6477" y="79915"/>
                  </a:lnTo>
                  <a:lnTo>
                    <a:pt x="0" y="78772"/>
                  </a:lnTo>
                  <a:lnTo>
                    <a:pt x="2191" y="84296"/>
                  </a:lnTo>
                  <a:lnTo>
                    <a:pt x="7811" y="90011"/>
                  </a:lnTo>
                  <a:lnTo>
                    <a:pt x="286" y="88487"/>
                  </a:lnTo>
                  <a:lnTo>
                    <a:pt x="5239" y="97536"/>
                  </a:lnTo>
                  <a:lnTo>
                    <a:pt x="29051" y="81820"/>
                  </a:lnTo>
                  <a:lnTo>
                    <a:pt x="44196" y="81439"/>
                  </a:lnTo>
                  <a:lnTo>
                    <a:pt x="46577" y="76581"/>
                  </a:lnTo>
                  <a:lnTo>
                    <a:pt x="54483" y="80677"/>
                  </a:lnTo>
                  <a:lnTo>
                    <a:pt x="63055" y="70580"/>
                  </a:lnTo>
                  <a:lnTo>
                    <a:pt x="62008" y="58293"/>
                  </a:lnTo>
                  <a:lnTo>
                    <a:pt x="63055" y="35052"/>
                  </a:lnTo>
                  <a:lnTo>
                    <a:pt x="47149" y="11144"/>
                  </a:lnTo>
                  <a:lnTo>
                    <a:pt x="41910" y="381"/>
                  </a:lnTo>
                  <a:lnTo>
                    <a:pt x="41624" y="0"/>
                  </a:lnTo>
                  <a:lnTo>
                    <a:pt x="41529" y="190"/>
                  </a:lnTo>
                  <a:lnTo>
                    <a:pt x="37624" y="676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4" name="Freeform: Shape 2664">
              <a:extLst>
                <a:ext uri="{FF2B5EF4-FFF2-40B4-BE49-F238E27FC236}">
                  <a16:creationId xmlns:a16="http://schemas.microsoft.com/office/drawing/2014/main" id="{6A59CDA0-279A-18C9-E2B9-39E2FBD183AD}"/>
                </a:ext>
              </a:extLst>
            </p:cNvPr>
            <p:cNvSpPr/>
            <p:nvPr/>
          </p:nvSpPr>
          <p:spPr>
            <a:xfrm>
              <a:off x="2430399" y="3950620"/>
              <a:ext cx="416623" cy="333756"/>
            </a:xfrm>
            <a:custGeom>
              <a:avLst/>
              <a:gdLst>
                <a:gd name="connsiteX0" fmla="*/ 407384 w 416623"/>
                <a:gd name="connsiteY0" fmla="*/ 201644 h 333756"/>
                <a:gd name="connsiteX1" fmla="*/ 402622 w 416623"/>
                <a:gd name="connsiteY1" fmla="*/ 206693 h 333756"/>
                <a:gd name="connsiteX2" fmla="*/ 344043 w 416623"/>
                <a:gd name="connsiteY2" fmla="*/ 195263 h 333756"/>
                <a:gd name="connsiteX3" fmla="*/ 339090 w 416623"/>
                <a:gd name="connsiteY3" fmla="*/ 180404 h 333756"/>
                <a:gd name="connsiteX4" fmla="*/ 330803 w 416623"/>
                <a:gd name="connsiteY4" fmla="*/ 171545 h 333756"/>
                <a:gd name="connsiteX5" fmla="*/ 329851 w 416623"/>
                <a:gd name="connsiteY5" fmla="*/ 167926 h 333756"/>
                <a:gd name="connsiteX6" fmla="*/ 334137 w 416623"/>
                <a:gd name="connsiteY6" fmla="*/ 162306 h 333756"/>
                <a:gd name="connsiteX7" fmla="*/ 327374 w 416623"/>
                <a:gd name="connsiteY7" fmla="*/ 161258 h 333756"/>
                <a:gd name="connsiteX8" fmla="*/ 320897 w 416623"/>
                <a:gd name="connsiteY8" fmla="*/ 158496 h 333756"/>
                <a:gd name="connsiteX9" fmla="*/ 306324 w 416623"/>
                <a:gd name="connsiteY9" fmla="*/ 132588 h 333756"/>
                <a:gd name="connsiteX10" fmla="*/ 304419 w 416623"/>
                <a:gd name="connsiteY10" fmla="*/ 132207 h 333756"/>
                <a:gd name="connsiteX11" fmla="*/ 308705 w 416623"/>
                <a:gd name="connsiteY11" fmla="*/ 125921 h 333756"/>
                <a:gd name="connsiteX12" fmla="*/ 307658 w 416623"/>
                <a:gd name="connsiteY12" fmla="*/ 118491 h 333756"/>
                <a:gd name="connsiteX13" fmla="*/ 289560 w 416623"/>
                <a:gd name="connsiteY13" fmla="*/ 100013 h 333756"/>
                <a:gd name="connsiteX14" fmla="*/ 281273 w 416623"/>
                <a:gd name="connsiteY14" fmla="*/ 98203 h 333756"/>
                <a:gd name="connsiteX15" fmla="*/ 272987 w 416623"/>
                <a:gd name="connsiteY15" fmla="*/ 78581 h 333756"/>
                <a:gd name="connsiteX16" fmla="*/ 258509 w 416623"/>
                <a:gd name="connsiteY16" fmla="*/ 78200 h 333756"/>
                <a:gd name="connsiteX17" fmla="*/ 254222 w 416623"/>
                <a:gd name="connsiteY17" fmla="*/ 69152 h 333756"/>
                <a:gd name="connsiteX18" fmla="*/ 233363 w 416623"/>
                <a:gd name="connsiteY18" fmla="*/ 67532 h 333756"/>
                <a:gd name="connsiteX19" fmla="*/ 199739 w 416623"/>
                <a:gd name="connsiteY19" fmla="*/ 64865 h 333756"/>
                <a:gd name="connsiteX20" fmla="*/ 147542 w 416623"/>
                <a:gd name="connsiteY20" fmla="*/ 23051 h 333756"/>
                <a:gd name="connsiteX21" fmla="*/ 114490 w 416623"/>
                <a:gd name="connsiteY21" fmla="*/ 4381 h 333756"/>
                <a:gd name="connsiteX22" fmla="*/ 89821 w 416623"/>
                <a:gd name="connsiteY22" fmla="*/ 0 h 333756"/>
                <a:gd name="connsiteX23" fmla="*/ 86487 w 416623"/>
                <a:gd name="connsiteY23" fmla="*/ 3238 h 333756"/>
                <a:gd name="connsiteX24" fmla="*/ 47720 w 416623"/>
                <a:gd name="connsiteY24" fmla="*/ 14192 h 333756"/>
                <a:gd name="connsiteX25" fmla="*/ 66675 w 416623"/>
                <a:gd name="connsiteY25" fmla="*/ 36862 h 333756"/>
                <a:gd name="connsiteX26" fmla="*/ 60008 w 416623"/>
                <a:gd name="connsiteY26" fmla="*/ 40577 h 333756"/>
                <a:gd name="connsiteX27" fmla="*/ 57055 w 416623"/>
                <a:gd name="connsiteY27" fmla="*/ 47720 h 333756"/>
                <a:gd name="connsiteX28" fmla="*/ 41338 w 416623"/>
                <a:gd name="connsiteY28" fmla="*/ 50292 h 333756"/>
                <a:gd name="connsiteX29" fmla="*/ 28384 w 416623"/>
                <a:gd name="connsiteY29" fmla="*/ 65246 h 333756"/>
                <a:gd name="connsiteX30" fmla="*/ 8858 w 416623"/>
                <a:gd name="connsiteY30" fmla="*/ 61913 h 333756"/>
                <a:gd name="connsiteX31" fmla="*/ 9525 w 416623"/>
                <a:gd name="connsiteY31" fmla="*/ 65246 h 333756"/>
                <a:gd name="connsiteX32" fmla="*/ 0 w 416623"/>
                <a:gd name="connsiteY32" fmla="*/ 88106 h 333756"/>
                <a:gd name="connsiteX33" fmla="*/ 11525 w 416623"/>
                <a:gd name="connsiteY33" fmla="*/ 89059 h 333756"/>
                <a:gd name="connsiteX34" fmla="*/ 50483 w 416623"/>
                <a:gd name="connsiteY34" fmla="*/ 148685 h 333756"/>
                <a:gd name="connsiteX35" fmla="*/ 55721 w 416623"/>
                <a:gd name="connsiteY35" fmla="*/ 166592 h 333756"/>
                <a:gd name="connsiteX36" fmla="*/ 75533 w 416623"/>
                <a:gd name="connsiteY36" fmla="*/ 178784 h 333756"/>
                <a:gd name="connsiteX37" fmla="*/ 89440 w 416623"/>
                <a:gd name="connsiteY37" fmla="*/ 207931 h 333756"/>
                <a:gd name="connsiteX38" fmla="*/ 90106 w 416623"/>
                <a:gd name="connsiteY38" fmla="*/ 235268 h 333756"/>
                <a:gd name="connsiteX39" fmla="*/ 101632 w 416623"/>
                <a:gd name="connsiteY39" fmla="*/ 251270 h 333756"/>
                <a:gd name="connsiteX40" fmla="*/ 121158 w 416623"/>
                <a:gd name="connsiteY40" fmla="*/ 263080 h 333756"/>
                <a:gd name="connsiteX41" fmla="*/ 141637 w 416623"/>
                <a:gd name="connsiteY41" fmla="*/ 302228 h 333756"/>
                <a:gd name="connsiteX42" fmla="*/ 151829 w 416623"/>
                <a:gd name="connsiteY42" fmla="*/ 310039 h 333756"/>
                <a:gd name="connsiteX43" fmla="*/ 161449 w 416623"/>
                <a:gd name="connsiteY43" fmla="*/ 331565 h 333756"/>
                <a:gd name="connsiteX44" fmla="*/ 173355 w 416623"/>
                <a:gd name="connsiteY44" fmla="*/ 323469 h 333756"/>
                <a:gd name="connsiteX45" fmla="*/ 168878 w 416623"/>
                <a:gd name="connsiteY45" fmla="*/ 318326 h 333756"/>
                <a:gd name="connsiteX46" fmla="*/ 169831 w 416623"/>
                <a:gd name="connsiteY46" fmla="*/ 311563 h 333756"/>
                <a:gd name="connsiteX47" fmla="*/ 174593 w 416623"/>
                <a:gd name="connsiteY47" fmla="*/ 308324 h 333756"/>
                <a:gd name="connsiteX48" fmla="*/ 184499 w 416623"/>
                <a:gd name="connsiteY48" fmla="*/ 313087 h 333756"/>
                <a:gd name="connsiteX49" fmla="*/ 192119 w 416623"/>
                <a:gd name="connsiteY49" fmla="*/ 310705 h 333756"/>
                <a:gd name="connsiteX50" fmla="*/ 228790 w 416623"/>
                <a:gd name="connsiteY50" fmla="*/ 324707 h 333756"/>
                <a:gd name="connsiteX51" fmla="*/ 237458 w 416623"/>
                <a:gd name="connsiteY51" fmla="*/ 333565 h 333756"/>
                <a:gd name="connsiteX52" fmla="*/ 243745 w 416623"/>
                <a:gd name="connsiteY52" fmla="*/ 333756 h 333756"/>
                <a:gd name="connsiteX53" fmla="*/ 251460 w 416623"/>
                <a:gd name="connsiteY53" fmla="*/ 320326 h 333756"/>
                <a:gd name="connsiteX54" fmla="*/ 262890 w 416623"/>
                <a:gd name="connsiteY54" fmla="*/ 306991 h 333756"/>
                <a:gd name="connsiteX55" fmla="*/ 279940 w 416623"/>
                <a:gd name="connsiteY55" fmla="*/ 293465 h 333756"/>
                <a:gd name="connsiteX56" fmla="*/ 344043 w 416623"/>
                <a:gd name="connsiteY56" fmla="*/ 278606 h 333756"/>
                <a:gd name="connsiteX57" fmla="*/ 403479 w 416623"/>
                <a:gd name="connsiteY57" fmla="*/ 258413 h 333756"/>
                <a:gd name="connsiteX58" fmla="*/ 416623 w 416623"/>
                <a:gd name="connsiteY58" fmla="*/ 216313 h 333756"/>
                <a:gd name="connsiteX59" fmla="*/ 407384 w 416623"/>
                <a:gd name="connsiteY59" fmla="*/ 201644 h 3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16623" h="333756">
                  <a:moveTo>
                    <a:pt x="407384" y="201644"/>
                  </a:moveTo>
                  <a:lnTo>
                    <a:pt x="402622" y="206693"/>
                  </a:lnTo>
                  <a:lnTo>
                    <a:pt x="344043" y="195263"/>
                  </a:lnTo>
                  <a:lnTo>
                    <a:pt x="339090" y="180404"/>
                  </a:lnTo>
                  <a:lnTo>
                    <a:pt x="330803" y="171545"/>
                  </a:lnTo>
                  <a:lnTo>
                    <a:pt x="329851" y="167926"/>
                  </a:lnTo>
                  <a:lnTo>
                    <a:pt x="334137" y="162306"/>
                  </a:lnTo>
                  <a:lnTo>
                    <a:pt x="327374" y="161258"/>
                  </a:lnTo>
                  <a:lnTo>
                    <a:pt x="320897" y="158496"/>
                  </a:lnTo>
                  <a:lnTo>
                    <a:pt x="306324" y="132588"/>
                  </a:lnTo>
                  <a:lnTo>
                    <a:pt x="304419" y="132207"/>
                  </a:lnTo>
                  <a:lnTo>
                    <a:pt x="308705" y="125921"/>
                  </a:lnTo>
                  <a:lnTo>
                    <a:pt x="307658" y="118491"/>
                  </a:lnTo>
                  <a:lnTo>
                    <a:pt x="289560" y="100013"/>
                  </a:lnTo>
                  <a:lnTo>
                    <a:pt x="281273" y="98203"/>
                  </a:lnTo>
                  <a:lnTo>
                    <a:pt x="272987" y="78581"/>
                  </a:lnTo>
                  <a:lnTo>
                    <a:pt x="258509" y="78200"/>
                  </a:lnTo>
                  <a:lnTo>
                    <a:pt x="254222" y="69152"/>
                  </a:lnTo>
                  <a:lnTo>
                    <a:pt x="233363" y="67532"/>
                  </a:lnTo>
                  <a:lnTo>
                    <a:pt x="199739" y="64865"/>
                  </a:lnTo>
                  <a:lnTo>
                    <a:pt x="147542" y="23051"/>
                  </a:lnTo>
                  <a:lnTo>
                    <a:pt x="114490" y="4381"/>
                  </a:lnTo>
                  <a:lnTo>
                    <a:pt x="89821" y="0"/>
                  </a:lnTo>
                  <a:lnTo>
                    <a:pt x="86487" y="3238"/>
                  </a:lnTo>
                  <a:lnTo>
                    <a:pt x="47720" y="14192"/>
                  </a:lnTo>
                  <a:lnTo>
                    <a:pt x="66675" y="36862"/>
                  </a:lnTo>
                  <a:lnTo>
                    <a:pt x="60008" y="40577"/>
                  </a:lnTo>
                  <a:lnTo>
                    <a:pt x="57055" y="47720"/>
                  </a:lnTo>
                  <a:lnTo>
                    <a:pt x="41338" y="50292"/>
                  </a:lnTo>
                  <a:lnTo>
                    <a:pt x="28384" y="65246"/>
                  </a:lnTo>
                  <a:lnTo>
                    <a:pt x="8858" y="61913"/>
                  </a:lnTo>
                  <a:lnTo>
                    <a:pt x="9525" y="65246"/>
                  </a:lnTo>
                  <a:lnTo>
                    <a:pt x="0" y="88106"/>
                  </a:lnTo>
                  <a:lnTo>
                    <a:pt x="11525" y="89059"/>
                  </a:lnTo>
                  <a:lnTo>
                    <a:pt x="50483" y="148685"/>
                  </a:lnTo>
                  <a:lnTo>
                    <a:pt x="55721" y="166592"/>
                  </a:lnTo>
                  <a:lnTo>
                    <a:pt x="75533" y="178784"/>
                  </a:lnTo>
                  <a:lnTo>
                    <a:pt x="89440" y="207931"/>
                  </a:lnTo>
                  <a:lnTo>
                    <a:pt x="90106" y="235268"/>
                  </a:lnTo>
                  <a:lnTo>
                    <a:pt x="101632" y="251270"/>
                  </a:lnTo>
                  <a:lnTo>
                    <a:pt x="121158" y="263080"/>
                  </a:lnTo>
                  <a:lnTo>
                    <a:pt x="141637" y="302228"/>
                  </a:lnTo>
                  <a:lnTo>
                    <a:pt x="151829" y="310039"/>
                  </a:lnTo>
                  <a:lnTo>
                    <a:pt x="161449" y="331565"/>
                  </a:lnTo>
                  <a:lnTo>
                    <a:pt x="173355" y="323469"/>
                  </a:lnTo>
                  <a:lnTo>
                    <a:pt x="168878" y="318326"/>
                  </a:lnTo>
                  <a:lnTo>
                    <a:pt x="169831" y="311563"/>
                  </a:lnTo>
                  <a:lnTo>
                    <a:pt x="174593" y="308324"/>
                  </a:lnTo>
                  <a:lnTo>
                    <a:pt x="184499" y="313087"/>
                  </a:lnTo>
                  <a:lnTo>
                    <a:pt x="192119" y="310705"/>
                  </a:lnTo>
                  <a:lnTo>
                    <a:pt x="228790" y="324707"/>
                  </a:lnTo>
                  <a:lnTo>
                    <a:pt x="237458" y="333565"/>
                  </a:lnTo>
                  <a:lnTo>
                    <a:pt x="243745" y="333756"/>
                  </a:lnTo>
                  <a:lnTo>
                    <a:pt x="251460" y="320326"/>
                  </a:lnTo>
                  <a:lnTo>
                    <a:pt x="262890" y="306991"/>
                  </a:lnTo>
                  <a:lnTo>
                    <a:pt x="279940" y="293465"/>
                  </a:lnTo>
                  <a:lnTo>
                    <a:pt x="344043" y="278606"/>
                  </a:lnTo>
                  <a:lnTo>
                    <a:pt x="403479" y="258413"/>
                  </a:lnTo>
                  <a:lnTo>
                    <a:pt x="416623" y="216313"/>
                  </a:lnTo>
                  <a:lnTo>
                    <a:pt x="407384" y="20164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5" name="Freeform: Shape 2665">
              <a:extLst>
                <a:ext uri="{FF2B5EF4-FFF2-40B4-BE49-F238E27FC236}">
                  <a16:creationId xmlns:a16="http://schemas.microsoft.com/office/drawing/2014/main" id="{92653BAE-E67D-8289-A2FC-32B93D74289E}"/>
                </a:ext>
              </a:extLst>
            </p:cNvPr>
            <p:cNvSpPr/>
            <p:nvPr/>
          </p:nvSpPr>
          <p:spPr>
            <a:xfrm>
              <a:off x="3560063" y="2466244"/>
              <a:ext cx="125063" cy="70866"/>
            </a:xfrm>
            <a:custGeom>
              <a:avLst/>
              <a:gdLst>
                <a:gd name="connsiteX0" fmla="*/ 78105 w 125063"/>
                <a:gd name="connsiteY0" fmla="*/ 0 h 70866"/>
                <a:gd name="connsiteX1" fmla="*/ 78105 w 125063"/>
                <a:gd name="connsiteY1" fmla="*/ 0 h 70866"/>
                <a:gd name="connsiteX2" fmla="*/ 125063 w 125063"/>
                <a:gd name="connsiteY2" fmla="*/ 30194 h 70866"/>
                <a:gd name="connsiteX3" fmla="*/ 114109 w 125063"/>
                <a:gd name="connsiteY3" fmla="*/ 52483 h 70866"/>
                <a:gd name="connsiteX4" fmla="*/ 64675 w 125063"/>
                <a:gd name="connsiteY4" fmla="*/ 55435 h 70866"/>
                <a:gd name="connsiteX5" fmla="*/ 44577 w 125063"/>
                <a:gd name="connsiteY5" fmla="*/ 70866 h 70866"/>
                <a:gd name="connsiteX6" fmla="*/ 8192 w 125063"/>
                <a:gd name="connsiteY6" fmla="*/ 59531 h 70866"/>
                <a:gd name="connsiteX7" fmla="*/ 24194 w 125063"/>
                <a:gd name="connsiteY7" fmla="*/ 52292 h 70866"/>
                <a:gd name="connsiteX8" fmla="*/ 0 w 125063"/>
                <a:gd name="connsiteY8" fmla="*/ 51244 h 70866"/>
                <a:gd name="connsiteX9" fmla="*/ 19907 w 125063"/>
                <a:gd name="connsiteY9" fmla="*/ 43910 h 70866"/>
                <a:gd name="connsiteX10" fmla="*/ 10668 w 125063"/>
                <a:gd name="connsiteY10" fmla="*/ 36100 h 70866"/>
                <a:gd name="connsiteX11" fmla="*/ 27337 w 125063"/>
                <a:gd name="connsiteY11" fmla="*/ 34004 h 70866"/>
                <a:gd name="connsiteX12" fmla="*/ 33242 w 125063"/>
                <a:gd name="connsiteY12" fmla="*/ 25813 h 70866"/>
                <a:gd name="connsiteX13" fmla="*/ 28004 w 125063"/>
                <a:gd name="connsiteY13" fmla="*/ 15145 h 70866"/>
                <a:gd name="connsiteX14" fmla="*/ 61341 w 125063"/>
                <a:gd name="connsiteY14" fmla="*/ 8858 h 70866"/>
                <a:gd name="connsiteX15" fmla="*/ 78105 w 125063"/>
                <a:gd name="connsiteY15" fmla="*/ 0 h 7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063" h="70866">
                  <a:moveTo>
                    <a:pt x="78105" y="0"/>
                  </a:moveTo>
                  <a:lnTo>
                    <a:pt x="78105" y="0"/>
                  </a:lnTo>
                  <a:lnTo>
                    <a:pt x="125063" y="30194"/>
                  </a:lnTo>
                  <a:lnTo>
                    <a:pt x="114109" y="52483"/>
                  </a:lnTo>
                  <a:lnTo>
                    <a:pt x="64675" y="55435"/>
                  </a:lnTo>
                  <a:lnTo>
                    <a:pt x="44577" y="70866"/>
                  </a:lnTo>
                  <a:lnTo>
                    <a:pt x="8192" y="59531"/>
                  </a:lnTo>
                  <a:lnTo>
                    <a:pt x="24194" y="52292"/>
                  </a:lnTo>
                  <a:lnTo>
                    <a:pt x="0" y="51244"/>
                  </a:lnTo>
                  <a:lnTo>
                    <a:pt x="19907" y="43910"/>
                  </a:lnTo>
                  <a:lnTo>
                    <a:pt x="10668" y="36100"/>
                  </a:lnTo>
                  <a:lnTo>
                    <a:pt x="27337" y="34004"/>
                  </a:lnTo>
                  <a:lnTo>
                    <a:pt x="33242" y="25813"/>
                  </a:lnTo>
                  <a:lnTo>
                    <a:pt x="28004" y="15145"/>
                  </a:lnTo>
                  <a:lnTo>
                    <a:pt x="61341" y="8858"/>
                  </a:lnTo>
                  <a:lnTo>
                    <a:pt x="7810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6" name="Freeform: Shape 2666">
              <a:extLst>
                <a:ext uri="{FF2B5EF4-FFF2-40B4-BE49-F238E27FC236}">
                  <a16:creationId xmlns:a16="http://schemas.microsoft.com/office/drawing/2014/main" id="{F74DA7BC-2115-6AC6-6897-89F45F0184EF}"/>
                </a:ext>
              </a:extLst>
            </p:cNvPr>
            <p:cNvSpPr/>
            <p:nvPr/>
          </p:nvSpPr>
          <p:spPr>
            <a:xfrm>
              <a:off x="3549395" y="2535301"/>
              <a:ext cx="52196" cy="15144"/>
            </a:xfrm>
            <a:custGeom>
              <a:avLst/>
              <a:gdLst>
                <a:gd name="connsiteX0" fmla="*/ 0 w 52196"/>
                <a:gd name="connsiteY0" fmla="*/ 0 h 15144"/>
                <a:gd name="connsiteX1" fmla="*/ 0 w 52196"/>
                <a:gd name="connsiteY1" fmla="*/ 0 h 15144"/>
                <a:gd name="connsiteX2" fmla="*/ 21146 w 52196"/>
                <a:gd name="connsiteY2" fmla="*/ 15145 h 15144"/>
                <a:gd name="connsiteX3" fmla="*/ 28384 w 52196"/>
                <a:gd name="connsiteY3" fmla="*/ 15145 h 15144"/>
                <a:gd name="connsiteX4" fmla="*/ 52197 w 52196"/>
                <a:gd name="connsiteY4" fmla="*/ 7906 h 15144"/>
                <a:gd name="connsiteX5" fmla="*/ 38005 w 52196"/>
                <a:gd name="connsiteY5" fmla="*/ 1238 h 15144"/>
                <a:gd name="connsiteX6" fmla="*/ 0 w 52196"/>
                <a:gd name="connsiteY6" fmla="*/ 0 h 15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96" h="15144">
                  <a:moveTo>
                    <a:pt x="0" y="0"/>
                  </a:moveTo>
                  <a:lnTo>
                    <a:pt x="0" y="0"/>
                  </a:lnTo>
                  <a:lnTo>
                    <a:pt x="21146" y="15145"/>
                  </a:lnTo>
                  <a:lnTo>
                    <a:pt x="28384" y="15145"/>
                  </a:lnTo>
                  <a:lnTo>
                    <a:pt x="52197" y="7906"/>
                  </a:lnTo>
                  <a:lnTo>
                    <a:pt x="38005" y="1238"/>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7" name="Freeform: Shape 2667">
              <a:extLst>
                <a:ext uri="{FF2B5EF4-FFF2-40B4-BE49-F238E27FC236}">
                  <a16:creationId xmlns:a16="http://schemas.microsoft.com/office/drawing/2014/main" id="{A706D9E6-DDAF-1B35-3822-76EE7978A6F3}"/>
                </a:ext>
              </a:extLst>
            </p:cNvPr>
            <p:cNvSpPr/>
            <p:nvPr/>
          </p:nvSpPr>
          <p:spPr>
            <a:xfrm>
              <a:off x="3592353" y="2525776"/>
              <a:ext cx="123443" cy="56006"/>
            </a:xfrm>
            <a:custGeom>
              <a:avLst/>
              <a:gdLst>
                <a:gd name="connsiteX0" fmla="*/ 122111 w 123443"/>
                <a:gd name="connsiteY0" fmla="*/ 38767 h 56006"/>
                <a:gd name="connsiteX1" fmla="*/ 122111 w 123443"/>
                <a:gd name="connsiteY1" fmla="*/ 38767 h 56006"/>
                <a:gd name="connsiteX2" fmla="*/ 123444 w 123443"/>
                <a:gd name="connsiteY2" fmla="*/ 55340 h 56006"/>
                <a:gd name="connsiteX3" fmla="*/ 81820 w 123443"/>
                <a:gd name="connsiteY3" fmla="*/ 56007 h 56006"/>
                <a:gd name="connsiteX4" fmla="*/ 68675 w 123443"/>
                <a:gd name="connsiteY4" fmla="*/ 48768 h 56006"/>
                <a:gd name="connsiteX5" fmla="*/ 30671 w 123443"/>
                <a:gd name="connsiteY5" fmla="*/ 46101 h 56006"/>
                <a:gd name="connsiteX6" fmla="*/ 20765 w 123443"/>
                <a:gd name="connsiteY6" fmla="*/ 30194 h 56006"/>
                <a:gd name="connsiteX7" fmla="*/ 0 w 123443"/>
                <a:gd name="connsiteY7" fmla="*/ 26956 h 56006"/>
                <a:gd name="connsiteX8" fmla="*/ 27718 w 123443"/>
                <a:gd name="connsiteY8" fmla="*/ 16288 h 56006"/>
                <a:gd name="connsiteX9" fmla="*/ 32671 w 123443"/>
                <a:gd name="connsiteY9" fmla="*/ 3524 h 56006"/>
                <a:gd name="connsiteX10" fmla="*/ 38767 w 123443"/>
                <a:gd name="connsiteY10" fmla="*/ 13335 h 56006"/>
                <a:gd name="connsiteX11" fmla="*/ 45529 w 123443"/>
                <a:gd name="connsiteY11" fmla="*/ 2667 h 56006"/>
                <a:gd name="connsiteX12" fmla="*/ 84201 w 123443"/>
                <a:gd name="connsiteY12" fmla="*/ 0 h 56006"/>
                <a:gd name="connsiteX13" fmla="*/ 84487 w 123443"/>
                <a:gd name="connsiteY13" fmla="*/ 16288 h 56006"/>
                <a:gd name="connsiteX14" fmla="*/ 104013 w 123443"/>
                <a:gd name="connsiteY14" fmla="*/ 7048 h 56006"/>
                <a:gd name="connsiteX15" fmla="*/ 122111 w 123443"/>
                <a:gd name="connsiteY15" fmla="*/ 38767 h 5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43" h="56006">
                  <a:moveTo>
                    <a:pt x="122111" y="38767"/>
                  </a:moveTo>
                  <a:lnTo>
                    <a:pt x="122111" y="38767"/>
                  </a:lnTo>
                  <a:lnTo>
                    <a:pt x="123444" y="55340"/>
                  </a:lnTo>
                  <a:lnTo>
                    <a:pt x="81820" y="56007"/>
                  </a:lnTo>
                  <a:lnTo>
                    <a:pt x="68675" y="48768"/>
                  </a:lnTo>
                  <a:lnTo>
                    <a:pt x="30671" y="46101"/>
                  </a:lnTo>
                  <a:lnTo>
                    <a:pt x="20765" y="30194"/>
                  </a:lnTo>
                  <a:lnTo>
                    <a:pt x="0" y="26956"/>
                  </a:lnTo>
                  <a:lnTo>
                    <a:pt x="27718" y="16288"/>
                  </a:lnTo>
                  <a:lnTo>
                    <a:pt x="32671" y="3524"/>
                  </a:lnTo>
                  <a:lnTo>
                    <a:pt x="38767" y="13335"/>
                  </a:lnTo>
                  <a:lnTo>
                    <a:pt x="45529" y="2667"/>
                  </a:lnTo>
                  <a:lnTo>
                    <a:pt x="84201" y="0"/>
                  </a:lnTo>
                  <a:lnTo>
                    <a:pt x="84487" y="16288"/>
                  </a:lnTo>
                  <a:lnTo>
                    <a:pt x="104013" y="7048"/>
                  </a:lnTo>
                  <a:lnTo>
                    <a:pt x="122111" y="387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8" name="Freeform: Shape 2668">
              <a:extLst>
                <a:ext uri="{FF2B5EF4-FFF2-40B4-BE49-F238E27FC236}">
                  <a16:creationId xmlns:a16="http://schemas.microsoft.com/office/drawing/2014/main" id="{894F7D54-5A8D-4F71-0BCA-4818B8CCBC8F}"/>
                </a:ext>
              </a:extLst>
            </p:cNvPr>
            <p:cNvSpPr/>
            <p:nvPr/>
          </p:nvSpPr>
          <p:spPr>
            <a:xfrm>
              <a:off x="3714464" y="2557303"/>
              <a:ext cx="117252" cy="58864"/>
            </a:xfrm>
            <a:custGeom>
              <a:avLst/>
              <a:gdLst>
                <a:gd name="connsiteX0" fmla="*/ 0 w 117252"/>
                <a:gd name="connsiteY0" fmla="*/ 58864 h 58864"/>
                <a:gd name="connsiteX1" fmla="*/ 0 w 117252"/>
                <a:gd name="connsiteY1" fmla="*/ 58864 h 58864"/>
                <a:gd name="connsiteX2" fmla="*/ 18479 w 117252"/>
                <a:gd name="connsiteY2" fmla="*/ 27146 h 58864"/>
                <a:gd name="connsiteX3" fmla="*/ 34004 w 117252"/>
                <a:gd name="connsiteY3" fmla="*/ 27146 h 58864"/>
                <a:gd name="connsiteX4" fmla="*/ 57817 w 117252"/>
                <a:gd name="connsiteY4" fmla="*/ 0 h 58864"/>
                <a:gd name="connsiteX5" fmla="*/ 58103 w 117252"/>
                <a:gd name="connsiteY5" fmla="*/ 24479 h 58864"/>
                <a:gd name="connsiteX6" fmla="*/ 86868 w 117252"/>
                <a:gd name="connsiteY6" fmla="*/ 11239 h 58864"/>
                <a:gd name="connsiteX7" fmla="*/ 95250 w 117252"/>
                <a:gd name="connsiteY7" fmla="*/ 23146 h 58864"/>
                <a:gd name="connsiteX8" fmla="*/ 117253 w 117252"/>
                <a:gd name="connsiteY8" fmla="*/ 37052 h 58864"/>
                <a:gd name="connsiteX9" fmla="*/ 73628 w 117252"/>
                <a:gd name="connsiteY9" fmla="*/ 50292 h 58864"/>
                <a:gd name="connsiteX10" fmla="*/ 36386 w 117252"/>
                <a:gd name="connsiteY10" fmla="*/ 48958 h 58864"/>
                <a:gd name="connsiteX11" fmla="*/ 14002 w 117252"/>
                <a:gd name="connsiteY11" fmla="*/ 58864 h 58864"/>
                <a:gd name="connsiteX12" fmla="*/ 0 w 117252"/>
                <a:gd name="connsiteY12" fmla="*/ 58864 h 5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252" h="58864">
                  <a:moveTo>
                    <a:pt x="0" y="58864"/>
                  </a:moveTo>
                  <a:lnTo>
                    <a:pt x="0" y="58864"/>
                  </a:lnTo>
                  <a:lnTo>
                    <a:pt x="18479" y="27146"/>
                  </a:lnTo>
                  <a:lnTo>
                    <a:pt x="34004" y="27146"/>
                  </a:lnTo>
                  <a:lnTo>
                    <a:pt x="57817" y="0"/>
                  </a:lnTo>
                  <a:lnTo>
                    <a:pt x="58103" y="24479"/>
                  </a:lnTo>
                  <a:lnTo>
                    <a:pt x="86868" y="11239"/>
                  </a:lnTo>
                  <a:lnTo>
                    <a:pt x="95250" y="23146"/>
                  </a:lnTo>
                  <a:lnTo>
                    <a:pt x="117253" y="37052"/>
                  </a:lnTo>
                  <a:lnTo>
                    <a:pt x="73628" y="50292"/>
                  </a:lnTo>
                  <a:lnTo>
                    <a:pt x="36386" y="48958"/>
                  </a:lnTo>
                  <a:lnTo>
                    <a:pt x="14002" y="58864"/>
                  </a:lnTo>
                  <a:lnTo>
                    <a:pt x="0" y="5886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79" name="Freeform: Shape 2669">
              <a:extLst>
                <a:ext uri="{FF2B5EF4-FFF2-40B4-BE49-F238E27FC236}">
                  <a16:creationId xmlns:a16="http://schemas.microsoft.com/office/drawing/2014/main" id="{95975F8C-1E50-D567-C5E0-E78394977214}"/>
                </a:ext>
              </a:extLst>
            </p:cNvPr>
            <p:cNvSpPr/>
            <p:nvPr/>
          </p:nvSpPr>
          <p:spPr>
            <a:xfrm>
              <a:off x="3852481" y="2602166"/>
              <a:ext cx="25431" cy="16002"/>
            </a:xfrm>
            <a:custGeom>
              <a:avLst/>
              <a:gdLst>
                <a:gd name="connsiteX0" fmla="*/ 0 w 25431"/>
                <a:gd name="connsiteY0" fmla="*/ 6763 h 16002"/>
                <a:gd name="connsiteX1" fmla="*/ 20193 w 25431"/>
                <a:gd name="connsiteY1" fmla="*/ 0 h 16002"/>
                <a:gd name="connsiteX2" fmla="*/ 25432 w 25431"/>
                <a:gd name="connsiteY2" fmla="*/ 7430 h 16002"/>
                <a:gd name="connsiteX3" fmla="*/ 19907 w 25431"/>
                <a:gd name="connsiteY3" fmla="*/ 16002 h 16002"/>
                <a:gd name="connsiteX4" fmla="*/ 0 w 25431"/>
                <a:gd name="connsiteY4" fmla="*/ 6763 h 1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31" h="16002">
                  <a:moveTo>
                    <a:pt x="0" y="6763"/>
                  </a:moveTo>
                  <a:lnTo>
                    <a:pt x="20193" y="0"/>
                  </a:lnTo>
                  <a:lnTo>
                    <a:pt x="25432" y="7430"/>
                  </a:lnTo>
                  <a:lnTo>
                    <a:pt x="19907" y="16002"/>
                  </a:lnTo>
                  <a:lnTo>
                    <a:pt x="0" y="676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0" name="Freeform: Shape 2670">
              <a:extLst>
                <a:ext uri="{FF2B5EF4-FFF2-40B4-BE49-F238E27FC236}">
                  <a16:creationId xmlns:a16="http://schemas.microsoft.com/office/drawing/2014/main" id="{7FC40CC1-4F1E-18AE-E748-DC7C46089DE2}"/>
                </a:ext>
              </a:extLst>
            </p:cNvPr>
            <p:cNvSpPr/>
            <p:nvPr/>
          </p:nvSpPr>
          <p:spPr>
            <a:xfrm>
              <a:off x="4456747" y="2685034"/>
              <a:ext cx="168116" cy="61055"/>
            </a:xfrm>
            <a:custGeom>
              <a:avLst/>
              <a:gdLst>
                <a:gd name="connsiteX0" fmla="*/ 51149 w 168116"/>
                <a:gd name="connsiteY0" fmla="*/ 61055 h 61055"/>
                <a:gd name="connsiteX1" fmla="*/ 24765 w 168116"/>
                <a:gd name="connsiteY1" fmla="*/ 57531 h 61055"/>
                <a:gd name="connsiteX2" fmla="*/ 0 w 168116"/>
                <a:gd name="connsiteY2" fmla="*/ 37719 h 61055"/>
                <a:gd name="connsiteX3" fmla="*/ 9906 w 168116"/>
                <a:gd name="connsiteY3" fmla="*/ 10573 h 61055"/>
                <a:gd name="connsiteX4" fmla="*/ 36004 w 168116"/>
                <a:gd name="connsiteY4" fmla="*/ 0 h 61055"/>
                <a:gd name="connsiteX5" fmla="*/ 36481 w 168116"/>
                <a:gd name="connsiteY5" fmla="*/ 17621 h 61055"/>
                <a:gd name="connsiteX6" fmla="*/ 44958 w 168116"/>
                <a:gd name="connsiteY6" fmla="*/ 6001 h 61055"/>
                <a:gd name="connsiteX7" fmla="*/ 74676 w 168116"/>
                <a:gd name="connsiteY7" fmla="*/ 23813 h 61055"/>
                <a:gd name="connsiteX8" fmla="*/ 87916 w 168116"/>
                <a:gd name="connsiteY8" fmla="*/ 1333 h 61055"/>
                <a:gd name="connsiteX9" fmla="*/ 111919 w 168116"/>
                <a:gd name="connsiteY9" fmla="*/ 14478 h 61055"/>
                <a:gd name="connsiteX10" fmla="*/ 138398 w 168116"/>
                <a:gd name="connsiteY10" fmla="*/ 15145 h 61055"/>
                <a:gd name="connsiteX11" fmla="*/ 168116 w 168116"/>
                <a:gd name="connsiteY11" fmla="*/ 27718 h 61055"/>
                <a:gd name="connsiteX12" fmla="*/ 134398 w 168116"/>
                <a:gd name="connsiteY12" fmla="*/ 50959 h 61055"/>
                <a:gd name="connsiteX13" fmla="*/ 109347 w 168116"/>
                <a:gd name="connsiteY13" fmla="*/ 55531 h 61055"/>
                <a:gd name="connsiteX14" fmla="*/ 99060 w 168116"/>
                <a:gd name="connsiteY14" fmla="*/ 48292 h 61055"/>
                <a:gd name="connsiteX15" fmla="*/ 51149 w 168116"/>
                <a:gd name="connsiteY15" fmla="*/ 61055 h 6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8116" h="61055">
                  <a:moveTo>
                    <a:pt x="51149" y="61055"/>
                  </a:moveTo>
                  <a:lnTo>
                    <a:pt x="24765" y="57531"/>
                  </a:lnTo>
                  <a:lnTo>
                    <a:pt x="0" y="37719"/>
                  </a:lnTo>
                  <a:lnTo>
                    <a:pt x="9906" y="10573"/>
                  </a:lnTo>
                  <a:lnTo>
                    <a:pt x="36004" y="0"/>
                  </a:lnTo>
                  <a:lnTo>
                    <a:pt x="36481" y="17621"/>
                  </a:lnTo>
                  <a:lnTo>
                    <a:pt x="44958" y="6001"/>
                  </a:lnTo>
                  <a:lnTo>
                    <a:pt x="74676" y="23813"/>
                  </a:lnTo>
                  <a:lnTo>
                    <a:pt x="87916" y="1333"/>
                  </a:lnTo>
                  <a:lnTo>
                    <a:pt x="111919" y="14478"/>
                  </a:lnTo>
                  <a:lnTo>
                    <a:pt x="138398" y="15145"/>
                  </a:lnTo>
                  <a:lnTo>
                    <a:pt x="168116" y="27718"/>
                  </a:lnTo>
                  <a:lnTo>
                    <a:pt x="134398" y="50959"/>
                  </a:lnTo>
                  <a:lnTo>
                    <a:pt x="109347" y="55531"/>
                  </a:lnTo>
                  <a:lnTo>
                    <a:pt x="99060" y="48292"/>
                  </a:lnTo>
                  <a:lnTo>
                    <a:pt x="51149" y="6105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1" name="Freeform: Shape 2671">
              <a:extLst>
                <a:ext uri="{FF2B5EF4-FFF2-40B4-BE49-F238E27FC236}">
                  <a16:creationId xmlns:a16="http://schemas.microsoft.com/office/drawing/2014/main" id="{1FF980A9-13AD-9330-703B-E4832164AF04}"/>
                </a:ext>
              </a:extLst>
            </p:cNvPr>
            <p:cNvSpPr/>
            <p:nvPr/>
          </p:nvSpPr>
          <p:spPr>
            <a:xfrm>
              <a:off x="4638389" y="2710180"/>
              <a:ext cx="96392" cy="32384"/>
            </a:xfrm>
            <a:custGeom>
              <a:avLst/>
              <a:gdLst>
                <a:gd name="connsiteX0" fmla="*/ 8287 w 96392"/>
                <a:gd name="connsiteY0" fmla="*/ 0 h 32384"/>
                <a:gd name="connsiteX1" fmla="*/ 8287 w 96392"/>
                <a:gd name="connsiteY1" fmla="*/ 0 h 32384"/>
                <a:gd name="connsiteX2" fmla="*/ 17526 w 96392"/>
                <a:gd name="connsiteY2" fmla="*/ 9906 h 32384"/>
                <a:gd name="connsiteX3" fmla="*/ 45529 w 96392"/>
                <a:gd name="connsiteY3" fmla="*/ 6572 h 32384"/>
                <a:gd name="connsiteX4" fmla="*/ 49530 w 96392"/>
                <a:gd name="connsiteY4" fmla="*/ 14478 h 32384"/>
                <a:gd name="connsiteX5" fmla="*/ 64389 w 96392"/>
                <a:gd name="connsiteY5" fmla="*/ 11906 h 32384"/>
                <a:gd name="connsiteX6" fmla="*/ 96393 w 96392"/>
                <a:gd name="connsiteY6" fmla="*/ 17812 h 32384"/>
                <a:gd name="connsiteX7" fmla="*/ 89535 w 96392"/>
                <a:gd name="connsiteY7" fmla="*/ 27718 h 32384"/>
                <a:gd name="connsiteX8" fmla="*/ 71628 w 96392"/>
                <a:gd name="connsiteY8" fmla="*/ 32385 h 32384"/>
                <a:gd name="connsiteX9" fmla="*/ 42958 w 96392"/>
                <a:gd name="connsiteY9" fmla="*/ 31718 h 32384"/>
                <a:gd name="connsiteX10" fmla="*/ 32004 w 96392"/>
                <a:gd name="connsiteY10" fmla="*/ 25146 h 32384"/>
                <a:gd name="connsiteX11" fmla="*/ 20764 w 96392"/>
                <a:gd name="connsiteY11" fmla="*/ 23146 h 32384"/>
                <a:gd name="connsiteX12" fmla="*/ 0 w 96392"/>
                <a:gd name="connsiteY12" fmla="*/ 14478 h 32384"/>
                <a:gd name="connsiteX13" fmla="*/ 8287 w 96392"/>
                <a:gd name="connsiteY13" fmla="*/ 0 h 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392" h="32384">
                  <a:moveTo>
                    <a:pt x="8287" y="0"/>
                  </a:moveTo>
                  <a:lnTo>
                    <a:pt x="8287" y="0"/>
                  </a:lnTo>
                  <a:lnTo>
                    <a:pt x="17526" y="9906"/>
                  </a:lnTo>
                  <a:lnTo>
                    <a:pt x="45529" y="6572"/>
                  </a:lnTo>
                  <a:lnTo>
                    <a:pt x="49530" y="14478"/>
                  </a:lnTo>
                  <a:lnTo>
                    <a:pt x="64389" y="11906"/>
                  </a:lnTo>
                  <a:lnTo>
                    <a:pt x="96393" y="17812"/>
                  </a:lnTo>
                  <a:lnTo>
                    <a:pt x="89535" y="27718"/>
                  </a:lnTo>
                  <a:lnTo>
                    <a:pt x="71628" y="32385"/>
                  </a:lnTo>
                  <a:lnTo>
                    <a:pt x="42958" y="31718"/>
                  </a:lnTo>
                  <a:lnTo>
                    <a:pt x="32004" y="25146"/>
                  </a:lnTo>
                  <a:lnTo>
                    <a:pt x="20764" y="23146"/>
                  </a:lnTo>
                  <a:lnTo>
                    <a:pt x="0" y="14478"/>
                  </a:lnTo>
                  <a:lnTo>
                    <a:pt x="8287"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2" name="Freeform: Shape 2672">
              <a:extLst>
                <a:ext uri="{FF2B5EF4-FFF2-40B4-BE49-F238E27FC236}">
                  <a16:creationId xmlns:a16="http://schemas.microsoft.com/office/drawing/2014/main" id="{ACD97BFF-F5EF-6A27-58BD-8E35C318CDB1}"/>
                </a:ext>
              </a:extLst>
            </p:cNvPr>
            <p:cNvSpPr/>
            <p:nvPr/>
          </p:nvSpPr>
          <p:spPr>
            <a:xfrm>
              <a:off x="4511706" y="2777617"/>
              <a:ext cx="75152" cy="30289"/>
            </a:xfrm>
            <a:custGeom>
              <a:avLst/>
              <a:gdLst>
                <a:gd name="connsiteX0" fmla="*/ 28956 w 75152"/>
                <a:gd name="connsiteY0" fmla="*/ 0 h 30289"/>
                <a:gd name="connsiteX1" fmla="*/ 28956 w 75152"/>
                <a:gd name="connsiteY1" fmla="*/ 0 h 30289"/>
                <a:gd name="connsiteX2" fmla="*/ 56007 w 75152"/>
                <a:gd name="connsiteY2" fmla="*/ 2000 h 30289"/>
                <a:gd name="connsiteX3" fmla="*/ 75152 w 75152"/>
                <a:gd name="connsiteY3" fmla="*/ 22479 h 30289"/>
                <a:gd name="connsiteX4" fmla="*/ 69247 w 75152"/>
                <a:gd name="connsiteY4" fmla="*/ 30289 h 30289"/>
                <a:gd name="connsiteX5" fmla="*/ 38481 w 75152"/>
                <a:gd name="connsiteY5" fmla="*/ 26384 h 30289"/>
                <a:gd name="connsiteX6" fmla="*/ 22384 w 75152"/>
                <a:gd name="connsiteY6" fmla="*/ 20383 h 30289"/>
                <a:gd name="connsiteX7" fmla="*/ 857 w 75152"/>
                <a:gd name="connsiteY7" fmla="*/ 24289 h 30289"/>
                <a:gd name="connsiteX8" fmla="*/ 0 w 75152"/>
                <a:gd name="connsiteY8" fmla="*/ 12573 h 30289"/>
                <a:gd name="connsiteX9" fmla="*/ 12097 w 75152"/>
                <a:gd name="connsiteY9" fmla="*/ 14002 h 30289"/>
                <a:gd name="connsiteX10" fmla="*/ 28956 w 75152"/>
                <a:gd name="connsiteY10" fmla="*/ 0 h 3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152" h="30289">
                  <a:moveTo>
                    <a:pt x="28956" y="0"/>
                  </a:moveTo>
                  <a:lnTo>
                    <a:pt x="28956" y="0"/>
                  </a:lnTo>
                  <a:lnTo>
                    <a:pt x="56007" y="2000"/>
                  </a:lnTo>
                  <a:lnTo>
                    <a:pt x="75152" y="22479"/>
                  </a:lnTo>
                  <a:lnTo>
                    <a:pt x="69247" y="30289"/>
                  </a:lnTo>
                  <a:lnTo>
                    <a:pt x="38481" y="26384"/>
                  </a:lnTo>
                  <a:lnTo>
                    <a:pt x="22384" y="20383"/>
                  </a:lnTo>
                  <a:lnTo>
                    <a:pt x="857" y="24289"/>
                  </a:lnTo>
                  <a:lnTo>
                    <a:pt x="0" y="12573"/>
                  </a:lnTo>
                  <a:lnTo>
                    <a:pt x="12097" y="14002"/>
                  </a:lnTo>
                  <a:lnTo>
                    <a:pt x="28956"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3" name="Freeform: Shape 2673">
              <a:extLst>
                <a:ext uri="{FF2B5EF4-FFF2-40B4-BE49-F238E27FC236}">
                  <a16:creationId xmlns:a16="http://schemas.microsoft.com/office/drawing/2014/main" id="{5620719F-A483-EBA7-2470-4FCE0F5C2645}"/>
                </a:ext>
              </a:extLst>
            </p:cNvPr>
            <p:cNvSpPr/>
            <p:nvPr/>
          </p:nvSpPr>
          <p:spPr>
            <a:xfrm>
              <a:off x="5286279" y="2869533"/>
              <a:ext cx="70961" cy="30479"/>
            </a:xfrm>
            <a:custGeom>
              <a:avLst/>
              <a:gdLst>
                <a:gd name="connsiteX0" fmla="*/ 0 w 70961"/>
                <a:gd name="connsiteY0" fmla="*/ 30480 h 30479"/>
                <a:gd name="connsiteX1" fmla="*/ 0 w 70961"/>
                <a:gd name="connsiteY1" fmla="*/ 30480 h 30479"/>
                <a:gd name="connsiteX2" fmla="*/ 14859 w 70961"/>
                <a:gd name="connsiteY2" fmla="*/ 5334 h 30479"/>
                <a:gd name="connsiteX3" fmla="*/ 18479 w 70961"/>
                <a:gd name="connsiteY3" fmla="*/ 4667 h 30479"/>
                <a:gd name="connsiteX4" fmla="*/ 21431 w 70961"/>
                <a:gd name="connsiteY4" fmla="*/ 3334 h 30479"/>
                <a:gd name="connsiteX5" fmla="*/ 22765 w 70961"/>
                <a:gd name="connsiteY5" fmla="*/ 1429 h 30479"/>
                <a:gd name="connsiteX6" fmla="*/ 26670 w 70961"/>
                <a:gd name="connsiteY6" fmla="*/ 1429 h 30479"/>
                <a:gd name="connsiteX7" fmla="*/ 52483 w 70961"/>
                <a:gd name="connsiteY7" fmla="*/ 0 h 30479"/>
                <a:gd name="connsiteX8" fmla="*/ 70961 w 70961"/>
                <a:gd name="connsiteY8" fmla="*/ 17907 h 30479"/>
                <a:gd name="connsiteX9" fmla="*/ 65056 w 70961"/>
                <a:gd name="connsiteY9" fmla="*/ 21241 h 30479"/>
                <a:gd name="connsiteX10" fmla="*/ 37624 w 70961"/>
                <a:gd name="connsiteY10" fmla="*/ 26479 h 30479"/>
                <a:gd name="connsiteX11" fmla="*/ 34290 w 70961"/>
                <a:gd name="connsiteY11" fmla="*/ 25908 h 30479"/>
                <a:gd name="connsiteX12" fmla="*/ 31052 w 70961"/>
                <a:gd name="connsiteY12" fmla="*/ 24575 h 30479"/>
                <a:gd name="connsiteX13" fmla="*/ 23717 w 70961"/>
                <a:gd name="connsiteY13" fmla="*/ 22574 h 30479"/>
                <a:gd name="connsiteX14" fmla="*/ 0 w 70961"/>
                <a:gd name="connsiteY14" fmla="*/ 30480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961" h="30479">
                  <a:moveTo>
                    <a:pt x="0" y="30480"/>
                  </a:moveTo>
                  <a:lnTo>
                    <a:pt x="0" y="30480"/>
                  </a:lnTo>
                  <a:lnTo>
                    <a:pt x="14859" y="5334"/>
                  </a:lnTo>
                  <a:lnTo>
                    <a:pt x="18479" y="4667"/>
                  </a:lnTo>
                  <a:lnTo>
                    <a:pt x="21431" y="3334"/>
                  </a:lnTo>
                  <a:lnTo>
                    <a:pt x="22765" y="1429"/>
                  </a:lnTo>
                  <a:lnTo>
                    <a:pt x="26670" y="1429"/>
                  </a:lnTo>
                  <a:lnTo>
                    <a:pt x="52483" y="0"/>
                  </a:lnTo>
                  <a:lnTo>
                    <a:pt x="70961" y="17907"/>
                  </a:lnTo>
                  <a:lnTo>
                    <a:pt x="65056" y="21241"/>
                  </a:lnTo>
                  <a:lnTo>
                    <a:pt x="37624" y="26479"/>
                  </a:lnTo>
                  <a:lnTo>
                    <a:pt x="34290" y="25908"/>
                  </a:lnTo>
                  <a:lnTo>
                    <a:pt x="31052" y="24575"/>
                  </a:lnTo>
                  <a:lnTo>
                    <a:pt x="23717" y="22574"/>
                  </a:lnTo>
                  <a:lnTo>
                    <a:pt x="0" y="3048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4" name="Freeform: Shape 2674">
              <a:extLst>
                <a:ext uri="{FF2B5EF4-FFF2-40B4-BE49-F238E27FC236}">
                  <a16:creationId xmlns:a16="http://schemas.microsoft.com/office/drawing/2014/main" id="{2AB825E8-638F-530F-6108-2225B192FBD3}"/>
                </a:ext>
              </a:extLst>
            </p:cNvPr>
            <p:cNvSpPr/>
            <p:nvPr/>
          </p:nvSpPr>
          <p:spPr>
            <a:xfrm>
              <a:off x="4551997" y="3408076"/>
              <a:ext cx="61722" cy="223361"/>
            </a:xfrm>
            <a:custGeom>
              <a:avLst/>
              <a:gdLst>
                <a:gd name="connsiteX0" fmla="*/ 12573 w 61722"/>
                <a:gd name="connsiteY0" fmla="*/ 91154 h 223361"/>
                <a:gd name="connsiteX1" fmla="*/ 8287 w 61722"/>
                <a:gd name="connsiteY1" fmla="*/ 107156 h 223361"/>
                <a:gd name="connsiteX2" fmla="*/ 9906 w 61722"/>
                <a:gd name="connsiteY2" fmla="*/ 132874 h 223361"/>
                <a:gd name="connsiteX3" fmla="*/ 4286 w 61722"/>
                <a:gd name="connsiteY3" fmla="*/ 152400 h 223361"/>
                <a:gd name="connsiteX4" fmla="*/ 10859 w 61722"/>
                <a:gd name="connsiteY4" fmla="*/ 171641 h 223361"/>
                <a:gd name="connsiteX5" fmla="*/ 3620 w 61722"/>
                <a:gd name="connsiteY5" fmla="*/ 205454 h 223361"/>
                <a:gd name="connsiteX6" fmla="*/ 6477 w 61722"/>
                <a:gd name="connsiteY6" fmla="*/ 223361 h 223361"/>
                <a:gd name="connsiteX7" fmla="*/ 19241 w 61722"/>
                <a:gd name="connsiteY7" fmla="*/ 206216 h 223361"/>
                <a:gd name="connsiteX8" fmla="*/ 35624 w 61722"/>
                <a:gd name="connsiteY8" fmla="*/ 219266 h 223361"/>
                <a:gd name="connsiteX9" fmla="*/ 39243 w 61722"/>
                <a:gd name="connsiteY9" fmla="*/ 210693 h 223361"/>
                <a:gd name="connsiteX10" fmla="*/ 30671 w 61722"/>
                <a:gd name="connsiteY10" fmla="*/ 199358 h 223361"/>
                <a:gd name="connsiteX11" fmla="*/ 17812 w 61722"/>
                <a:gd name="connsiteY11" fmla="*/ 176117 h 223361"/>
                <a:gd name="connsiteX12" fmla="*/ 27432 w 61722"/>
                <a:gd name="connsiteY12" fmla="*/ 143066 h 223361"/>
                <a:gd name="connsiteX13" fmla="*/ 48863 w 61722"/>
                <a:gd name="connsiteY13" fmla="*/ 140589 h 223361"/>
                <a:gd name="connsiteX14" fmla="*/ 61722 w 61722"/>
                <a:gd name="connsiteY14" fmla="*/ 155353 h 223361"/>
                <a:gd name="connsiteX15" fmla="*/ 42863 w 61722"/>
                <a:gd name="connsiteY15" fmla="*/ 114110 h 223361"/>
                <a:gd name="connsiteX16" fmla="*/ 34671 w 61722"/>
                <a:gd name="connsiteY16" fmla="*/ 76867 h 223361"/>
                <a:gd name="connsiteX17" fmla="*/ 31337 w 61722"/>
                <a:gd name="connsiteY17" fmla="*/ 79629 h 223361"/>
                <a:gd name="connsiteX18" fmla="*/ 34004 w 61722"/>
                <a:gd name="connsiteY18" fmla="*/ 43339 h 223361"/>
                <a:gd name="connsiteX19" fmla="*/ 24098 w 61722"/>
                <a:gd name="connsiteY19" fmla="*/ 15431 h 223361"/>
                <a:gd name="connsiteX20" fmla="*/ 25051 w 61722"/>
                <a:gd name="connsiteY20" fmla="*/ 0 h 223361"/>
                <a:gd name="connsiteX21" fmla="*/ 14192 w 61722"/>
                <a:gd name="connsiteY21" fmla="*/ 21527 h 223361"/>
                <a:gd name="connsiteX22" fmla="*/ 2191 w 61722"/>
                <a:gd name="connsiteY22" fmla="*/ 19431 h 223361"/>
                <a:gd name="connsiteX23" fmla="*/ 3905 w 61722"/>
                <a:gd name="connsiteY23" fmla="*/ 35147 h 223361"/>
                <a:gd name="connsiteX24" fmla="*/ 0 w 61722"/>
                <a:gd name="connsiteY24" fmla="*/ 70009 h 223361"/>
                <a:gd name="connsiteX25" fmla="*/ 12573 w 61722"/>
                <a:gd name="connsiteY25" fmla="*/ 91154 h 223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1722" h="223361">
                  <a:moveTo>
                    <a:pt x="12573" y="91154"/>
                  </a:moveTo>
                  <a:lnTo>
                    <a:pt x="8287" y="107156"/>
                  </a:lnTo>
                  <a:lnTo>
                    <a:pt x="9906" y="132874"/>
                  </a:lnTo>
                  <a:lnTo>
                    <a:pt x="4286" y="152400"/>
                  </a:lnTo>
                  <a:lnTo>
                    <a:pt x="10859" y="171641"/>
                  </a:lnTo>
                  <a:lnTo>
                    <a:pt x="3620" y="205454"/>
                  </a:lnTo>
                  <a:lnTo>
                    <a:pt x="6477" y="223361"/>
                  </a:lnTo>
                  <a:lnTo>
                    <a:pt x="19241" y="206216"/>
                  </a:lnTo>
                  <a:lnTo>
                    <a:pt x="35624" y="219266"/>
                  </a:lnTo>
                  <a:lnTo>
                    <a:pt x="39243" y="210693"/>
                  </a:lnTo>
                  <a:lnTo>
                    <a:pt x="30671" y="199358"/>
                  </a:lnTo>
                  <a:lnTo>
                    <a:pt x="17812" y="176117"/>
                  </a:lnTo>
                  <a:lnTo>
                    <a:pt x="27432" y="143066"/>
                  </a:lnTo>
                  <a:lnTo>
                    <a:pt x="48863" y="140589"/>
                  </a:lnTo>
                  <a:lnTo>
                    <a:pt x="61722" y="155353"/>
                  </a:lnTo>
                  <a:lnTo>
                    <a:pt x="42863" y="114110"/>
                  </a:lnTo>
                  <a:lnTo>
                    <a:pt x="34671" y="76867"/>
                  </a:lnTo>
                  <a:lnTo>
                    <a:pt x="31337" y="79629"/>
                  </a:lnTo>
                  <a:lnTo>
                    <a:pt x="34004" y="43339"/>
                  </a:lnTo>
                  <a:lnTo>
                    <a:pt x="24098" y="15431"/>
                  </a:lnTo>
                  <a:lnTo>
                    <a:pt x="25051" y="0"/>
                  </a:lnTo>
                  <a:lnTo>
                    <a:pt x="14192" y="21527"/>
                  </a:lnTo>
                  <a:lnTo>
                    <a:pt x="2191" y="19431"/>
                  </a:lnTo>
                  <a:lnTo>
                    <a:pt x="3905" y="35147"/>
                  </a:lnTo>
                  <a:lnTo>
                    <a:pt x="0" y="70009"/>
                  </a:lnTo>
                  <a:lnTo>
                    <a:pt x="12573" y="911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5" name="Freeform: Shape 2675">
              <a:extLst>
                <a:ext uri="{FF2B5EF4-FFF2-40B4-BE49-F238E27FC236}">
                  <a16:creationId xmlns:a16="http://schemas.microsoft.com/office/drawing/2014/main" id="{C91A52C6-5C51-DD8F-3058-A1E0E508C7E8}"/>
                </a:ext>
              </a:extLst>
            </p:cNvPr>
            <p:cNvSpPr/>
            <p:nvPr/>
          </p:nvSpPr>
          <p:spPr>
            <a:xfrm>
              <a:off x="2877788" y="2628741"/>
              <a:ext cx="2636996" cy="1090136"/>
            </a:xfrm>
            <a:custGeom>
              <a:avLst/>
              <a:gdLst>
                <a:gd name="connsiteX0" fmla="*/ 2618137 w 2636996"/>
                <a:gd name="connsiteY0" fmla="*/ 424815 h 1090136"/>
                <a:gd name="connsiteX1" fmla="*/ 2596610 w 2636996"/>
                <a:gd name="connsiteY1" fmla="*/ 401669 h 1090136"/>
                <a:gd name="connsiteX2" fmla="*/ 2582799 w 2636996"/>
                <a:gd name="connsiteY2" fmla="*/ 402241 h 1090136"/>
                <a:gd name="connsiteX3" fmla="*/ 2558034 w 2636996"/>
                <a:gd name="connsiteY3" fmla="*/ 395764 h 1090136"/>
                <a:gd name="connsiteX4" fmla="*/ 2541937 w 2636996"/>
                <a:gd name="connsiteY4" fmla="*/ 422720 h 1090136"/>
                <a:gd name="connsiteX5" fmla="*/ 2523744 w 2636996"/>
                <a:gd name="connsiteY5" fmla="*/ 388810 h 1090136"/>
                <a:gd name="connsiteX6" fmla="*/ 2525363 w 2636996"/>
                <a:gd name="connsiteY6" fmla="*/ 378619 h 1090136"/>
                <a:gd name="connsiteX7" fmla="*/ 2491454 w 2636996"/>
                <a:gd name="connsiteY7" fmla="*/ 362903 h 1090136"/>
                <a:gd name="connsiteX8" fmla="*/ 2487740 w 2636996"/>
                <a:gd name="connsiteY8" fmla="*/ 366331 h 1090136"/>
                <a:gd name="connsiteX9" fmla="*/ 2485454 w 2636996"/>
                <a:gd name="connsiteY9" fmla="*/ 360997 h 1090136"/>
                <a:gd name="connsiteX10" fmla="*/ 2479167 w 2636996"/>
                <a:gd name="connsiteY10" fmla="*/ 361950 h 1090136"/>
                <a:gd name="connsiteX11" fmla="*/ 2481739 w 2636996"/>
                <a:gd name="connsiteY11" fmla="*/ 358140 h 1090136"/>
                <a:gd name="connsiteX12" fmla="*/ 2466594 w 2636996"/>
                <a:gd name="connsiteY12" fmla="*/ 350901 h 1090136"/>
                <a:gd name="connsiteX13" fmla="*/ 2466594 w 2636996"/>
                <a:gd name="connsiteY13" fmla="*/ 359283 h 1090136"/>
                <a:gd name="connsiteX14" fmla="*/ 2458593 w 2636996"/>
                <a:gd name="connsiteY14" fmla="*/ 347091 h 1090136"/>
                <a:gd name="connsiteX15" fmla="*/ 2418112 w 2636996"/>
                <a:gd name="connsiteY15" fmla="*/ 326993 h 1090136"/>
                <a:gd name="connsiteX16" fmla="*/ 2403348 w 2636996"/>
                <a:gd name="connsiteY16" fmla="*/ 330327 h 1090136"/>
                <a:gd name="connsiteX17" fmla="*/ 2409063 w 2636996"/>
                <a:gd name="connsiteY17" fmla="*/ 323659 h 1090136"/>
                <a:gd name="connsiteX18" fmla="*/ 2367534 w 2636996"/>
                <a:gd name="connsiteY18" fmla="*/ 314134 h 1090136"/>
                <a:gd name="connsiteX19" fmla="*/ 2355342 w 2636996"/>
                <a:gd name="connsiteY19" fmla="*/ 307181 h 1090136"/>
                <a:gd name="connsiteX20" fmla="*/ 2310860 w 2636996"/>
                <a:gd name="connsiteY20" fmla="*/ 304324 h 1090136"/>
                <a:gd name="connsiteX21" fmla="*/ 2299716 w 2636996"/>
                <a:gd name="connsiteY21" fmla="*/ 306514 h 1090136"/>
                <a:gd name="connsiteX22" fmla="*/ 2297906 w 2636996"/>
                <a:gd name="connsiteY22" fmla="*/ 312515 h 1090136"/>
                <a:gd name="connsiteX23" fmla="*/ 2291144 w 2636996"/>
                <a:gd name="connsiteY23" fmla="*/ 307181 h 1090136"/>
                <a:gd name="connsiteX24" fmla="*/ 2272094 w 2636996"/>
                <a:gd name="connsiteY24" fmla="*/ 303371 h 1090136"/>
                <a:gd name="connsiteX25" fmla="*/ 2236089 w 2636996"/>
                <a:gd name="connsiteY25" fmla="*/ 300133 h 1090136"/>
                <a:gd name="connsiteX26" fmla="*/ 2233232 w 2636996"/>
                <a:gd name="connsiteY26" fmla="*/ 306038 h 1090136"/>
                <a:gd name="connsiteX27" fmla="*/ 2244376 w 2636996"/>
                <a:gd name="connsiteY27" fmla="*/ 318135 h 1090136"/>
                <a:gd name="connsiteX28" fmla="*/ 2245995 w 2636996"/>
                <a:gd name="connsiteY28" fmla="*/ 343662 h 1090136"/>
                <a:gd name="connsiteX29" fmla="*/ 2225516 w 2636996"/>
                <a:gd name="connsiteY29" fmla="*/ 342614 h 1090136"/>
                <a:gd name="connsiteX30" fmla="*/ 2203609 w 2636996"/>
                <a:gd name="connsiteY30" fmla="*/ 323564 h 1090136"/>
                <a:gd name="connsiteX31" fmla="*/ 2211324 w 2636996"/>
                <a:gd name="connsiteY31" fmla="*/ 307562 h 1090136"/>
                <a:gd name="connsiteX32" fmla="*/ 2195798 w 2636996"/>
                <a:gd name="connsiteY32" fmla="*/ 313849 h 1090136"/>
                <a:gd name="connsiteX33" fmla="*/ 2172081 w 2636996"/>
                <a:gd name="connsiteY33" fmla="*/ 323374 h 1090136"/>
                <a:gd name="connsiteX34" fmla="*/ 2125504 w 2636996"/>
                <a:gd name="connsiteY34" fmla="*/ 316421 h 1090136"/>
                <a:gd name="connsiteX35" fmla="*/ 2115217 w 2636996"/>
                <a:gd name="connsiteY35" fmla="*/ 311087 h 1090136"/>
                <a:gd name="connsiteX36" fmla="*/ 2084737 w 2636996"/>
                <a:gd name="connsiteY36" fmla="*/ 314611 h 1090136"/>
                <a:gd name="connsiteX37" fmla="*/ 2064925 w 2636996"/>
                <a:gd name="connsiteY37" fmla="*/ 324136 h 1090136"/>
                <a:gd name="connsiteX38" fmla="*/ 2057305 w 2636996"/>
                <a:gd name="connsiteY38" fmla="*/ 351472 h 1090136"/>
                <a:gd name="connsiteX39" fmla="*/ 2056352 w 2636996"/>
                <a:gd name="connsiteY39" fmla="*/ 317659 h 1090136"/>
                <a:gd name="connsiteX40" fmla="*/ 2031206 w 2636996"/>
                <a:gd name="connsiteY40" fmla="*/ 312801 h 1090136"/>
                <a:gd name="connsiteX41" fmla="*/ 2038445 w 2636996"/>
                <a:gd name="connsiteY41" fmla="*/ 292703 h 1090136"/>
                <a:gd name="connsiteX42" fmla="*/ 2021681 w 2636996"/>
                <a:gd name="connsiteY42" fmla="*/ 271463 h 1090136"/>
                <a:gd name="connsiteX43" fmla="*/ 1996440 w 2636996"/>
                <a:gd name="connsiteY43" fmla="*/ 259651 h 1090136"/>
                <a:gd name="connsiteX44" fmla="*/ 1956149 w 2636996"/>
                <a:gd name="connsiteY44" fmla="*/ 257651 h 1090136"/>
                <a:gd name="connsiteX45" fmla="*/ 1948053 w 2636996"/>
                <a:gd name="connsiteY45" fmla="*/ 265557 h 1090136"/>
                <a:gd name="connsiteX46" fmla="*/ 1922240 w 2636996"/>
                <a:gd name="connsiteY46" fmla="*/ 265557 h 1090136"/>
                <a:gd name="connsiteX47" fmla="*/ 1888617 w 2636996"/>
                <a:gd name="connsiteY47" fmla="*/ 272796 h 1090136"/>
                <a:gd name="connsiteX48" fmla="*/ 1867090 w 2636996"/>
                <a:gd name="connsiteY48" fmla="*/ 250317 h 1090136"/>
                <a:gd name="connsiteX49" fmla="*/ 1838515 w 2636996"/>
                <a:gd name="connsiteY49" fmla="*/ 256222 h 1090136"/>
                <a:gd name="connsiteX50" fmla="*/ 1851089 w 2636996"/>
                <a:gd name="connsiteY50" fmla="*/ 244412 h 1090136"/>
                <a:gd name="connsiteX51" fmla="*/ 1837563 w 2636996"/>
                <a:gd name="connsiteY51" fmla="*/ 237744 h 1090136"/>
                <a:gd name="connsiteX52" fmla="*/ 1814798 w 2636996"/>
                <a:gd name="connsiteY52" fmla="*/ 237744 h 1090136"/>
                <a:gd name="connsiteX53" fmla="*/ 1838515 w 2636996"/>
                <a:gd name="connsiteY53" fmla="*/ 226504 h 1090136"/>
                <a:gd name="connsiteX54" fmla="*/ 1828990 w 2636996"/>
                <a:gd name="connsiteY54" fmla="*/ 217932 h 1090136"/>
                <a:gd name="connsiteX55" fmla="*/ 1803845 w 2636996"/>
                <a:gd name="connsiteY55" fmla="*/ 211931 h 1090136"/>
                <a:gd name="connsiteX56" fmla="*/ 1784795 w 2636996"/>
                <a:gd name="connsiteY56" fmla="*/ 211931 h 1090136"/>
                <a:gd name="connsiteX57" fmla="*/ 1762887 w 2636996"/>
                <a:gd name="connsiteY57" fmla="*/ 235172 h 1090136"/>
                <a:gd name="connsiteX58" fmla="*/ 1739170 w 2636996"/>
                <a:gd name="connsiteY58" fmla="*/ 237268 h 1090136"/>
                <a:gd name="connsiteX59" fmla="*/ 1758220 w 2636996"/>
                <a:gd name="connsiteY59" fmla="*/ 230314 h 1090136"/>
                <a:gd name="connsiteX60" fmla="*/ 1776127 w 2636996"/>
                <a:gd name="connsiteY60" fmla="*/ 210503 h 1090136"/>
                <a:gd name="connsiteX61" fmla="*/ 1722215 w 2636996"/>
                <a:gd name="connsiteY61" fmla="*/ 198596 h 1090136"/>
                <a:gd name="connsiteX62" fmla="*/ 1710785 w 2636996"/>
                <a:gd name="connsiteY62" fmla="*/ 220218 h 1090136"/>
                <a:gd name="connsiteX63" fmla="*/ 1710785 w 2636996"/>
                <a:gd name="connsiteY63" fmla="*/ 196501 h 1090136"/>
                <a:gd name="connsiteX64" fmla="*/ 1677448 w 2636996"/>
                <a:gd name="connsiteY64" fmla="*/ 194500 h 1090136"/>
                <a:gd name="connsiteX65" fmla="*/ 1653349 w 2636996"/>
                <a:gd name="connsiteY65" fmla="*/ 187928 h 1090136"/>
                <a:gd name="connsiteX66" fmla="*/ 1644396 w 2636996"/>
                <a:gd name="connsiteY66" fmla="*/ 215741 h 1090136"/>
                <a:gd name="connsiteX67" fmla="*/ 1627251 w 2636996"/>
                <a:gd name="connsiteY67" fmla="*/ 225266 h 1090136"/>
                <a:gd name="connsiteX68" fmla="*/ 1641157 w 2636996"/>
                <a:gd name="connsiteY68" fmla="*/ 244316 h 1090136"/>
                <a:gd name="connsiteX69" fmla="*/ 1615059 w 2636996"/>
                <a:gd name="connsiteY69" fmla="*/ 237077 h 1090136"/>
                <a:gd name="connsiteX70" fmla="*/ 1600486 w 2636996"/>
                <a:gd name="connsiteY70" fmla="*/ 244983 h 1090136"/>
                <a:gd name="connsiteX71" fmla="*/ 1600486 w 2636996"/>
                <a:gd name="connsiteY71" fmla="*/ 258889 h 1090136"/>
                <a:gd name="connsiteX72" fmla="*/ 1588961 w 2636996"/>
                <a:gd name="connsiteY72" fmla="*/ 248317 h 1090136"/>
                <a:gd name="connsiteX73" fmla="*/ 1558195 w 2636996"/>
                <a:gd name="connsiteY73" fmla="*/ 238411 h 1090136"/>
                <a:gd name="connsiteX74" fmla="*/ 1534382 w 2636996"/>
                <a:gd name="connsiteY74" fmla="*/ 252984 h 1090136"/>
                <a:gd name="connsiteX75" fmla="*/ 1496282 w 2636996"/>
                <a:gd name="connsiteY75" fmla="*/ 225838 h 1090136"/>
                <a:gd name="connsiteX76" fmla="*/ 1462278 w 2636996"/>
                <a:gd name="connsiteY76" fmla="*/ 274130 h 1090136"/>
                <a:gd name="connsiteX77" fmla="*/ 1434846 w 2636996"/>
                <a:gd name="connsiteY77" fmla="*/ 260223 h 1090136"/>
                <a:gd name="connsiteX78" fmla="*/ 1432941 w 2636996"/>
                <a:gd name="connsiteY78" fmla="*/ 235077 h 1090136"/>
                <a:gd name="connsiteX79" fmla="*/ 1423416 w 2636996"/>
                <a:gd name="connsiteY79" fmla="*/ 223171 h 1090136"/>
                <a:gd name="connsiteX80" fmla="*/ 1421035 w 2636996"/>
                <a:gd name="connsiteY80" fmla="*/ 234410 h 1090136"/>
                <a:gd name="connsiteX81" fmla="*/ 1395698 w 2636996"/>
                <a:gd name="connsiteY81" fmla="*/ 209836 h 1090136"/>
                <a:gd name="connsiteX82" fmla="*/ 1387507 w 2636996"/>
                <a:gd name="connsiteY82" fmla="*/ 185452 h 1090136"/>
                <a:gd name="connsiteX83" fmla="*/ 1383506 w 2636996"/>
                <a:gd name="connsiteY83" fmla="*/ 223552 h 1090136"/>
                <a:gd name="connsiteX84" fmla="*/ 1388173 w 2636996"/>
                <a:gd name="connsiteY84" fmla="*/ 248031 h 1090136"/>
                <a:gd name="connsiteX85" fmla="*/ 1370362 w 2636996"/>
                <a:gd name="connsiteY85" fmla="*/ 209836 h 1090136"/>
                <a:gd name="connsiteX86" fmla="*/ 1355122 w 2636996"/>
                <a:gd name="connsiteY86" fmla="*/ 209836 h 1090136"/>
                <a:gd name="connsiteX87" fmla="*/ 1344073 w 2636996"/>
                <a:gd name="connsiteY87" fmla="*/ 202787 h 1090136"/>
                <a:gd name="connsiteX88" fmla="*/ 1367885 w 2636996"/>
                <a:gd name="connsiteY88" fmla="*/ 197834 h 1090136"/>
                <a:gd name="connsiteX89" fmla="*/ 1353503 w 2636996"/>
                <a:gd name="connsiteY89" fmla="*/ 185452 h 1090136"/>
                <a:gd name="connsiteX90" fmla="*/ 1373600 w 2636996"/>
                <a:gd name="connsiteY90" fmla="*/ 170117 h 1090136"/>
                <a:gd name="connsiteX91" fmla="*/ 1342644 w 2636996"/>
                <a:gd name="connsiteY91" fmla="*/ 174022 h 1090136"/>
                <a:gd name="connsiteX92" fmla="*/ 1330642 w 2636996"/>
                <a:gd name="connsiteY92" fmla="*/ 152686 h 1090136"/>
                <a:gd name="connsiteX93" fmla="*/ 1320451 w 2636996"/>
                <a:gd name="connsiteY93" fmla="*/ 171736 h 1090136"/>
                <a:gd name="connsiteX94" fmla="*/ 1303401 w 2636996"/>
                <a:gd name="connsiteY94" fmla="*/ 173831 h 1090136"/>
                <a:gd name="connsiteX95" fmla="*/ 1317022 w 2636996"/>
                <a:gd name="connsiteY95" fmla="*/ 194596 h 1090136"/>
                <a:gd name="connsiteX96" fmla="*/ 1288447 w 2636996"/>
                <a:gd name="connsiteY96" fmla="*/ 189357 h 1090136"/>
                <a:gd name="connsiteX97" fmla="*/ 1284637 w 2636996"/>
                <a:gd name="connsiteY97" fmla="*/ 178499 h 1090136"/>
                <a:gd name="connsiteX98" fmla="*/ 1273397 w 2636996"/>
                <a:gd name="connsiteY98" fmla="*/ 187071 h 1090136"/>
                <a:gd name="connsiteX99" fmla="*/ 1250537 w 2636996"/>
                <a:gd name="connsiteY99" fmla="*/ 186214 h 1090136"/>
                <a:gd name="connsiteX100" fmla="*/ 1242060 w 2636996"/>
                <a:gd name="connsiteY100" fmla="*/ 173831 h 1090136"/>
                <a:gd name="connsiteX101" fmla="*/ 1233488 w 2636996"/>
                <a:gd name="connsiteY101" fmla="*/ 184690 h 1090136"/>
                <a:gd name="connsiteX102" fmla="*/ 1212152 w 2636996"/>
                <a:gd name="connsiteY102" fmla="*/ 174593 h 1090136"/>
                <a:gd name="connsiteX103" fmla="*/ 1216723 w 2636996"/>
                <a:gd name="connsiteY103" fmla="*/ 161354 h 1090136"/>
                <a:gd name="connsiteX104" fmla="*/ 1153382 w 2636996"/>
                <a:gd name="connsiteY104" fmla="*/ 151829 h 1090136"/>
                <a:gd name="connsiteX105" fmla="*/ 1118616 w 2636996"/>
                <a:gd name="connsiteY105" fmla="*/ 157163 h 1090136"/>
                <a:gd name="connsiteX106" fmla="*/ 1117378 w 2636996"/>
                <a:gd name="connsiteY106" fmla="*/ 198692 h 1090136"/>
                <a:gd name="connsiteX107" fmla="*/ 1107853 w 2636996"/>
                <a:gd name="connsiteY107" fmla="*/ 148400 h 1090136"/>
                <a:gd name="connsiteX108" fmla="*/ 1090422 w 2636996"/>
                <a:gd name="connsiteY108" fmla="*/ 155734 h 1090136"/>
                <a:gd name="connsiteX109" fmla="*/ 1071372 w 2636996"/>
                <a:gd name="connsiteY109" fmla="*/ 149066 h 1090136"/>
                <a:gd name="connsiteX110" fmla="*/ 1012888 w 2636996"/>
                <a:gd name="connsiteY110" fmla="*/ 174879 h 1090136"/>
                <a:gd name="connsiteX111" fmla="*/ 973264 w 2636996"/>
                <a:gd name="connsiteY111" fmla="*/ 176213 h 1090136"/>
                <a:gd name="connsiteX112" fmla="*/ 947928 w 2636996"/>
                <a:gd name="connsiteY112" fmla="*/ 192119 h 1090136"/>
                <a:gd name="connsiteX113" fmla="*/ 967645 w 2636996"/>
                <a:gd name="connsiteY113" fmla="*/ 170497 h 1090136"/>
                <a:gd name="connsiteX114" fmla="*/ 982218 w 2636996"/>
                <a:gd name="connsiteY114" fmla="*/ 168497 h 1090136"/>
                <a:gd name="connsiteX115" fmla="*/ 989171 w 2636996"/>
                <a:gd name="connsiteY115" fmla="*/ 158972 h 1090136"/>
                <a:gd name="connsiteX116" fmla="*/ 1007364 w 2636996"/>
                <a:gd name="connsiteY116" fmla="*/ 158305 h 1090136"/>
                <a:gd name="connsiteX117" fmla="*/ 1027462 w 2636996"/>
                <a:gd name="connsiteY117" fmla="*/ 143161 h 1090136"/>
                <a:gd name="connsiteX118" fmla="*/ 1042606 w 2636996"/>
                <a:gd name="connsiteY118" fmla="*/ 141065 h 1090136"/>
                <a:gd name="connsiteX119" fmla="*/ 1045273 w 2636996"/>
                <a:gd name="connsiteY119" fmla="*/ 136398 h 1090136"/>
                <a:gd name="connsiteX120" fmla="*/ 1036701 w 2636996"/>
                <a:gd name="connsiteY120" fmla="*/ 132493 h 1090136"/>
                <a:gd name="connsiteX121" fmla="*/ 1072229 w 2636996"/>
                <a:gd name="connsiteY121" fmla="*/ 114205 h 1090136"/>
                <a:gd name="connsiteX122" fmla="*/ 1081754 w 2636996"/>
                <a:gd name="connsiteY122" fmla="*/ 118015 h 1090136"/>
                <a:gd name="connsiteX123" fmla="*/ 1117568 w 2636996"/>
                <a:gd name="connsiteY123" fmla="*/ 97631 h 1090136"/>
                <a:gd name="connsiteX124" fmla="*/ 1118711 w 2636996"/>
                <a:gd name="connsiteY124" fmla="*/ 90202 h 1090136"/>
                <a:gd name="connsiteX125" fmla="*/ 1111853 w 2636996"/>
                <a:gd name="connsiteY125" fmla="*/ 87821 h 1090136"/>
                <a:gd name="connsiteX126" fmla="*/ 1117282 w 2636996"/>
                <a:gd name="connsiteY126" fmla="*/ 83153 h 1090136"/>
                <a:gd name="connsiteX127" fmla="*/ 1103662 w 2636996"/>
                <a:gd name="connsiteY127" fmla="*/ 62865 h 1090136"/>
                <a:gd name="connsiteX128" fmla="*/ 1081849 w 2636996"/>
                <a:gd name="connsiteY128" fmla="*/ 51625 h 1090136"/>
                <a:gd name="connsiteX129" fmla="*/ 1067276 w 2636996"/>
                <a:gd name="connsiteY129" fmla="*/ 35052 h 1090136"/>
                <a:gd name="connsiteX130" fmla="*/ 1046512 w 2636996"/>
                <a:gd name="connsiteY130" fmla="*/ 42672 h 1090136"/>
                <a:gd name="connsiteX131" fmla="*/ 1032986 w 2636996"/>
                <a:gd name="connsiteY131" fmla="*/ 35052 h 1090136"/>
                <a:gd name="connsiteX132" fmla="*/ 1004411 w 2636996"/>
                <a:gd name="connsiteY132" fmla="*/ 35719 h 1090136"/>
                <a:gd name="connsiteX133" fmla="*/ 1003078 w 2636996"/>
                <a:gd name="connsiteY133" fmla="*/ 43720 h 1090136"/>
                <a:gd name="connsiteX134" fmla="*/ 973741 w 2636996"/>
                <a:gd name="connsiteY134" fmla="*/ 44387 h 1090136"/>
                <a:gd name="connsiteX135" fmla="*/ 995553 w 2636996"/>
                <a:gd name="connsiteY135" fmla="*/ 27813 h 1090136"/>
                <a:gd name="connsiteX136" fmla="*/ 982028 w 2636996"/>
                <a:gd name="connsiteY136" fmla="*/ 23146 h 1090136"/>
                <a:gd name="connsiteX137" fmla="*/ 955834 w 2636996"/>
                <a:gd name="connsiteY137" fmla="*/ 29623 h 1090136"/>
                <a:gd name="connsiteX138" fmla="*/ 929354 w 2636996"/>
                <a:gd name="connsiteY138" fmla="*/ 24955 h 1090136"/>
                <a:gd name="connsiteX139" fmla="*/ 955834 w 2636996"/>
                <a:gd name="connsiteY139" fmla="*/ 17050 h 1090136"/>
                <a:gd name="connsiteX140" fmla="*/ 960501 w 2636996"/>
                <a:gd name="connsiteY140" fmla="*/ 10573 h 1090136"/>
                <a:gd name="connsiteX141" fmla="*/ 971740 w 2636996"/>
                <a:gd name="connsiteY141" fmla="*/ 10573 h 1090136"/>
                <a:gd name="connsiteX142" fmla="*/ 963168 w 2636996"/>
                <a:gd name="connsiteY142" fmla="*/ 2667 h 1090136"/>
                <a:gd name="connsiteX143" fmla="*/ 907352 w 2636996"/>
                <a:gd name="connsiteY143" fmla="*/ 0 h 1090136"/>
                <a:gd name="connsiteX144" fmla="*/ 865537 w 2636996"/>
                <a:gd name="connsiteY144" fmla="*/ 26479 h 1090136"/>
                <a:gd name="connsiteX145" fmla="*/ 865537 w 2636996"/>
                <a:gd name="connsiteY145" fmla="*/ 35433 h 1090136"/>
                <a:gd name="connsiteX146" fmla="*/ 888302 w 2636996"/>
                <a:gd name="connsiteY146" fmla="*/ 50959 h 1090136"/>
                <a:gd name="connsiteX147" fmla="*/ 864489 w 2636996"/>
                <a:gd name="connsiteY147" fmla="*/ 45244 h 1090136"/>
                <a:gd name="connsiteX148" fmla="*/ 824103 w 2636996"/>
                <a:gd name="connsiteY148" fmla="*/ 45244 h 1090136"/>
                <a:gd name="connsiteX149" fmla="*/ 845153 w 2636996"/>
                <a:gd name="connsiteY149" fmla="*/ 61722 h 1090136"/>
                <a:gd name="connsiteX150" fmla="*/ 851154 w 2636996"/>
                <a:gd name="connsiteY150" fmla="*/ 98108 h 1090136"/>
                <a:gd name="connsiteX151" fmla="*/ 829628 w 2636996"/>
                <a:gd name="connsiteY151" fmla="*/ 82963 h 1090136"/>
                <a:gd name="connsiteX152" fmla="*/ 823722 w 2636996"/>
                <a:gd name="connsiteY152" fmla="*/ 54388 h 1090136"/>
                <a:gd name="connsiteX153" fmla="*/ 804672 w 2636996"/>
                <a:gd name="connsiteY153" fmla="*/ 65627 h 1090136"/>
                <a:gd name="connsiteX154" fmla="*/ 777526 w 2636996"/>
                <a:gd name="connsiteY154" fmla="*/ 70199 h 1090136"/>
                <a:gd name="connsiteX155" fmla="*/ 760095 w 2636996"/>
                <a:gd name="connsiteY155" fmla="*/ 69533 h 1090136"/>
                <a:gd name="connsiteX156" fmla="*/ 765048 w 2636996"/>
                <a:gd name="connsiteY156" fmla="*/ 60008 h 1090136"/>
                <a:gd name="connsiteX157" fmla="*/ 738283 w 2636996"/>
                <a:gd name="connsiteY157" fmla="*/ 63341 h 1090136"/>
                <a:gd name="connsiteX158" fmla="*/ 712184 w 2636996"/>
                <a:gd name="connsiteY158" fmla="*/ 61341 h 1090136"/>
                <a:gd name="connsiteX159" fmla="*/ 706850 w 2636996"/>
                <a:gd name="connsiteY159" fmla="*/ 69247 h 1090136"/>
                <a:gd name="connsiteX160" fmla="*/ 730377 w 2636996"/>
                <a:gd name="connsiteY160" fmla="*/ 68675 h 1090136"/>
                <a:gd name="connsiteX161" fmla="*/ 719423 w 2636996"/>
                <a:gd name="connsiteY161" fmla="*/ 76200 h 1090136"/>
                <a:gd name="connsiteX162" fmla="*/ 692944 w 2636996"/>
                <a:gd name="connsiteY162" fmla="*/ 77057 h 1090136"/>
                <a:gd name="connsiteX163" fmla="*/ 683419 w 2636996"/>
                <a:gd name="connsiteY163" fmla="*/ 72104 h 1090136"/>
                <a:gd name="connsiteX164" fmla="*/ 679513 w 2636996"/>
                <a:gd name="connsiteY164" fmla="*/ 83439 h 1090136"/>
                <a:gd name="connsiteX165" fmla="*/ 634555 w 2636996"/>
                <a:gd name="connsiteY165" fmla="*/ 85154 h 1090136"/>
                <a:gd name="connsiteX166" fmla="*/ 613029 w 2636996"/>
                <a:gd name="connsiteY166" fmla="*/ 99441 h 1090136"/>
                <a:gd name="connsiteX167" fmla="*/ 597789 w 2636996"/>
                <a:gd name="connsiteY167" fmla="*/ 100489 h 1090136"/>
                <a:gd name="connsiteX168" fmla="*/ 601694 w 2636996"/>
                <a:gd name="connsiteY168" fmla="*/ 109252 h 1090136"/>
                <a:gd name="connsiteX169" fmla="*/ 589312 w 2636996"/>
                <a:gd name="connsiteY169" fmla="*/ 120872 h 1090136"/>
                <a:gd name="connsiteX170" fmla="*/ 567500 w 2636996"/>
                <a:gd name="connsiteY170" fmla="*/ 116300 h 1090136"/>
                <a:gd name="connsiteX171" fmla="*/ 567500 w 2636996"/>
                <a:gd name="connsiteY171" fmla="*/ 143446 h 1090136"/>
                <a:gd name="connsiteX172" fmla="*/ 583311 w 2636996"/>
                <a:gd name="connsiteY172" fmla="*/ 177546 h 1090136"/>
                <a:gd name="connsiteX173" fmla="*/ 570262 w 2636996"/>
                <a:gd name="connsiteY173" fmla="*/ 164116 h 1090136"/>
                <a:gd name="connsiteX174" fmla="*/ 560737 w 2636996"/>
                <a:gd name="connsiteY174" fmla="*/ 170307 h 1090136"/>
                <a:gd name="connsiteX175" fmla="*/ 566642 w 2636996"/>
                <a:gd name="connsiteY175" fmla="*/ 149162 h 1090136"/>
                <a:gd name="connsiteX176" fmla="*/ 554831 w 2636996"/>
                <a:gd name="connsiteY176" fmla="*/ 159449 h 1090136"/>
                <a:gd name="connsiteX177" fmla="*/ 523875 w 2636996"/>
                <a:gd name="connsiteY177" fmla="*/ 153829 h 1090136"/>
                <a:gd name="connsiteX178" fmla="*/ 462725 w 2636996"/>
                <a:gd name="connsiteY178" fmla="*/ 164116 h 1090136"/>
                <a:gd name="connsiteX179" fmla="*/ 468535 w 2636996"/>
                <a:gd name="connsiteY179" fmla="*/ 196405 h 1090136"/>
                <a:gd name="connsiteX180" fmla="*/ 492919 w 2636996"/>
                <a:gd name="connsiteY180" fmla="*/ 207264 h 1090136"/>
                <a:gd name="connsiteX181" fmla="*/ 495395 w 2636996"/>
                <a:gd name="connsiteY181" fmla="*/ 220313 h 1090136"/>
                <a:gd name="connsiteX182" fmla="*/ 523970 w 2636996"/>
                <a:gd name="connsiteY182" fmla="*/ 239363 h 1090136"/>
                <a:gd name="connsiteX183" fmla="*/ 504920 w 2636996"/>
                <a:gd name="connsiteY183" fmla="*/ 276511 h 1090136"/>
                <a:gd name="connsiteX184" fmla="*/ 514445 w 2636996"/>
                <a:gd name="connsiteY184" fmla="*/ 300895 h 1090136"/>
                <a:gd name="connsiteX185" fmla="*/ 493014 w 2636996"/>
                <a:gd name="connsiteY185" fmla="*/ 280702 h 1090136"/>
                <a:gd name="connsiteX186" fmla="*/ 513397 w 2636996"/>
                <a:gd name="connsiteY186" fmla="*/ 242602 h 1090136"/>
                <a:gd name="connsiteX187" fmla="*/ 484060 w 2636996"/>
                <a:gd name="connsiteY187" fmla="*/ 235267 h 1090136"/>
                <a:gd name="connsiteX188" fmla="*/ 465010 w 2636996"/>
                <a:gd name="connsiteY188" fmla="*/ 215455 h 1090136"/>
                <a:gd name="connsiteX189" fmla="*/ 422338 w 2636996"/>
                <a:gd name="connsiteY189" fmla="*/ 208121 h 1090136"/>
                <a:gd name="connsiteX190" fmla="*/ 414147 w 2636996"/>
                <a:gd name="connsiteY190" fmla="*/ 228695 h 1090136"/>
                <a:gd name="connsiteX191" fmla="*/ 390334 w 2636996"/>
                <a:gd name="connsiteY191" fmla="*/ 222028 h 1090136"/>
                <a:gd name="connsiteX192" fmla="*/ 372523 w 2636996"/>
                <a:gd name="connsiteY192" fmla="*/ 227362 h 1090136"/>
                <a:gd name="connsiteX193" fmla="*/ 377476 w 2636996"/>
                <a:gd name="connsiteY193" fmla="*/ 240601 h 1090136"/>
                <a:gd name="connsiteX194" fmla="*/ 402526 w 2636996"/>
                <a:gd name="connsiteY194" fmla="*/ 251841 h 1090136"/>
                <a:gd name="connsiteX195" fmla="*/ 412051 w 2636996"/>
                <a:gd name="connsiteY195" fmla="*/ 249174 h 1090136"/>
                <a:gd name="connsiteX196" fmla="*/ 420624 w 2636996"/>
                <a:gd name="connsiteY196" fmla="*/ 267081 h 1090136"/>
                <a:gd name="connsiteX197" fmla="*/ 433768 w 2636996"/>
                <a:gd name="connsiteY197" fmla="*/ 263080 h 1090136"/>
                <a:gd name="connsiteX198" fmla="*/ 418909 w 2636996"/>
                <a:gd name="connsiteY198" fmla="*/ 278225 h 1090136"/>
                <a:gd name="connsiteX199" fmla="*/ 405479 w 2636996"/>
                <a:gd name="connsiteY199" fmla="*/ 257461 h 1090136"/>
                <a:gd name="connsiteX200" fmla="*/ 361188 w 2636996"/>
                <a:gd name="connsiteY200" fmla="*/ 251555 h 1090136"/>
                <a:gd name="connsiteX201" fmla="*/ 362902 w 2636996"/>
                <a:gd name="connsiteY201" fmla="*/ 232505 h 1090136"/>
                <a:gd name="connsiteX202" fmla="*/ 352330 w 2636996"/>
                <a:gd name="connsiteY202" fmla="*/ 188214 h 1090136"/>
                <a:gd name="connsiteX203" fmla="*/ 348520 w 2636996"/>
                <a:gd name="connsiteY203" fmla="*/ 220123 h 1090136"/>
                <a:gd name="connsiteX204" fmla="*/ 323279 w 2636996"/>
                <a:gd name="connsiteY204" fmla="*/ 230505 h 1090136"/>
                <a:gd name="connsiteX205" fmla="*/ 313087 w 2636996"/>
                <a:gd name="connsiteY205" fmla="*/ 246793 h 1090136"/>
                <a:gd name="connsiteX206" fmla="*/ 338518 w 2636996"/>
                <a:gd name="connsiteY206" fmla="*/ 275939 h 1090136"/>
                <a:gd name="connsiteX207" fmla="*/ 323755 w 2636996"/>
                <a:gd name="connsiteY207" fmla="*/ 301752 h 1090136"/>
                <a:gd name="connsiteX208" fmla="*/ 328613 w 2636996"/>
                <a:gd name="connsiteY208" fmla="*/ 331280 h 1090136"/>
                <a:gd name="connsiteX209" fmla="*/ 363664 w 2636996"/>
                <a:gd name="connsiteY209" fmla="*/ 326993 h 1090136"/>
                <a:gd name="connsiteX210" fmla="*/ 404527 w 2636996"/>
                <a:gd name="connsiteY210" fmla="*/ 338804 h 1090136"/>
                <a:gd name="connsiteX211" fmla="*/ 403765 w 2636996"/>
                <a:gd name="connsiteY211" fmla="*/ 368141 h 1090136"/>
                <a:gd name="connsiteX212" fmla="*/ 432340 w 2636996"/>
                <a:gd name="connsiteY212" fmla="*/ 381857 h 1090136"/>
                <a:gd name="connsiteX213" fmla="*/ 405479 w 2636996"/>
                <a:gd name="connsiteY213" fmla="*/ 381857 h 1090136"/>
                <a:gd name="connsiteX214" fmla="*/ 393859 w 2636996"/>
                <a:gd name="connsiteY214" fmla="*/ 374809 h 1090136"/>
                <a:gd name="connsiteX215" fmla="*/ 394906 w 2636996"/>
                <a:gd name="connsiteY215" fmla="*/ 351377 h 1090136"/>
                <a:gd name="connsiteX216" fmla="*/ 379762 w 2636996"/>
                <a:gd name="connsiteY216" fmla="*/ 338709 h 1090136"/>
                <a:gd name="connsiteX217" fmla="*/ 335471 w 2636996"/>
                <a:gd name="connsiteY217" fmla="*/ 347091 h 1090136"/>
                <a:gd name="connsiteX218" fmla="*/ 346900 w 2636996"/>
                <a:gd name="connsiteY218" fmla="*/ 378047 h 1090136"/>
                <a:gd name="connsiteX219" fmla="*/ 329470 w 2636996"/>
                <a:gd name="connsiteY219" fmla="*/ 400336 h 1090136"/>
                <a:gd name="connsiteX220" fmla="*/ 302133 w 2636996"/>
                <a:gd name="connsiteY220" fmla="*/ 412718 h 1090136"/>
                <a:gd name="connsiteX221" fmla="*/ 292608 w 2636996"/>
                <a:gd name="connsiteY221" fmla="*/ 425101 h 1090136"/>
                <a:gd name="connsiteX222" fmla="*/ 240697 w 2636996"/>
                <a:gd name="connsiteY222" fmla="*/ 415576 h 1090136"/>
                <a:gd name="connsiteX223" fmla="*/ 234125 w 2636996"/>
                <a:gd name="connsiteY223" fmla="*/ 401860 h 1090136"/>
                <a:gd name="connsiteX224" fmla="*/ 270224 w 2636996"/>
                <a:gd name="connsiteY224" fmla="*/ 407765 h 1090136"/>
                <a:gd name="connsiteX225" fmla="*/ 309943 w 2636996"/>
                <a:gd name="connsiteY225" fmla="*/ 372523 h 1090136"/>
                <a:gd name="connsiteX226" fmla="*/ 305276 w 2636996"/>
                <a:gd name="connsiteY226" fmla="*/ 359950 h 1090136"/>
                <a:gd name="connsiteX227" fmla="*/ 318230 w 2636996"/>
                <a:gd name="connsiteY227" fmla="*/ 351472 h 1090136"/>
                <a:gd name="connsiteX228" fmla="*/ 303562 w 2636996"/>
                <a:gd name="connsiteY228" fmla="*/ 336137 h 1090136"/>
                <a:gd name="connsiteX229" fmla="*/ 300895 w 2636996"/>
                <a:gd name="connsiteY229" fmla="*/ 292417 h 1090136"/>
                <a:gd name="connsiteX230" fmla="*/ 309181 w 2636996"/>
                <a:gd name="connsiteY230" fmla="*/ 268605 h 1090136"/>
                <a:gd name="connsiteX231" fmla="*/ 288703 w 2636996"/>
                <a:gd name="connsiteY231" fmla="*/ 244792 h 1090136"/>
                <a:gd name="connsiteX232" fmla="*/ 310134 w 2636996"/>
                <a:gd name="connsiteY232" fmla="*/ 212408 h 1090136"/>
                <a:gd name="connsiteX233" fmla="*/ 309181 w 2636996"/>
                <a:gd name="connsiteY233" fmla="*/ 195834 h 1090136"/>
                <a:gd name="connsiteX234" fmla="*/ 243840 w 2636996"/>
                <a:gd name="connsiteY234" fmla="*/ 185261 h 1090136"/>
                <a:gd name="connsiteX235" fmla="*/ 232886 w 2636996"/>
                <a:gd name="connsiteY235" fmla="*/ 197167 h 1090136"/>
                <a:gd name="connsiteX236" fmla="*/ 220313 w 2636996"/>
                <a:gd name="connsiteY236" fmla="*/ 236887 h 1090136"/>
                <a:gd name="connsiteX237" fmla="*/ 183166 w 2636996"/>
                <a:gd name="connsiteY237" fmla="*/ 262795 h 1090136"/>
                <a:gd name="connsiteX238" fmla="*/ 199644 w 2636996"/>
                <a:gd name="connsiteY238" fmla="*/ 270129 h 1090136"/>
                <a:gd name="connsiteX239" fmla="*/ 189643 w 2636996"/>
                <a:gd name="connsiteY239" fmla="*/ 317754 h 1090136"/>
                <a:gd name="connsiteX240" fmla="*/ 215455 w 2636996"/>
                <a:gd name="connsiteY240" fmla="*/ 318230 h 1090136"/>
                <a:gd name="connsiteX241" fmla="*/ 222694 w 2636996"/>
                <a:gd name="connsiteY241" fmla="*/ 336518 h 1090136"/>
                <a:gd name="connsiteX242" fmla="*/ 237554 w 2636996"/>
                <a:gd name="connsiteY242" fmla="*/ 337566 h 1090136"/>
                <a:gd name="connsiteX243" fmla="*/ 226314 w 2636996"/>
                <a:gd name="connsiteY243" fmla="*/ 358045 h 1090136"/>
                <a:gd name="connsiteX244" fmla="*/ 218027 w 2636996"/>
                <a:gd name="connsiteY244" fmla="*/ 358045 h 1090136"/>
                <a:gd name="connsiteX245" fmla="*/ 195929 w 2636996"/>
                <a:gd name="connsiteY245" fmla="*/ 340328 h 1090136"/>
                <a:gd name="connsiteX246" fmla="*/ 151733 w 2636996"/>
                <a:gd name="connsiteY246" fmla="*/ 324517 h 1090136"/>
                <a:gd name="connsiteX247" fmla="*/ 146875 w 2636996"/>
                <a:gd name="connsiteY247" fmla="*/ 341757 h 1090136"/>
                <a:gd name="connsiteX248" fmla="*/ 167354 w 2636996"/>
                <a:gd name="connsiteY248" fmla="*/ 352425 h 1090136"/>
                <a:gd name="connsiteX249" fmla="*/ 160401 w 2636996"/>
                <a:gd name="connsiteY249" fmla="*/ 373094 h 1090136"/>
                <a:gd name="connsiteX250" fmla="*/ 174403 w 2636996"/>
                <a:gd name="connsiteY250" fmla="*/ 373761 h 1090136"/>
                <a:gd name="connsiteX251" fmla="*/ 179070 w 2636996"/>
                <a:gd name="connsiteY251" fmla="*/ 380333 h 1090136"/>
                <a:gd name="connsiteX252" fmla="*/ 173164 w 2636996"/>
                <a:gd name="connsiteY252" fmla="*/ 386239 h 1090136"/>
                <a:gd name="connsiteX253" fmla="*/ 177165 w 2636996"/>
                <a:gd name="connsiteY253" fmla="*/ 389668 h 1090136"/>
                <a:gd name="connsiteX254" fmla="*/ 159163 w 2636996"/>
                <a:gd name="connsiteY254" fmla="*/ 402336 h 1090136"/>
                <a:gd name="connsiteX255" fmla="*/ 157258 w 2636996"/>
                <a:gd name="connsiteY255" fmla="*/ 409480 h 1090136"/>
                <a:gd name="connsiteX256" fmla="*/ 121539 w 2636996"/>
                <a:gd name="connsiteY256" fmla="*/ 426625 h 1090136"/>
                <a:gd name="connsiteX257" fmla="*/ 111157 w 2636996"/>
                <a:gd name="connsiteY257" fmla="*/ 443293 h 1090136"/>
                <a:gd name="connsiteX258" fmla="*/ 93154 w 2636996"/>
                <a:gd name="connsiteY258" fmla="*/ 448628 h 1090136"/>
                <a:gd name="connsiteX259" fmla="*/ 82486 w 2636996"/>
                <a:gd name="connsiteY259" fmla="*/ 458153 h 1090136"/>
                <a:gd name="connsiteX260" fmla="*/ 84963 w 2636996"/>
                <a:gd name="connsiteY260" fmla="*/ 463867 h 1090136"/>
                <a:gd name="connsiteX261" fmla="*/ 69723 w 2636996"/>
                <a:gd name="connsiteY261" fmla="*/ 471773 h 1090136"/>
                <a:gd name="connsiteX262" fmla="*/ 60674 w 2636996"/>
                <a:gd name="connsiteY262" fmla="*/ 465106 h 1090136"/>
                <a:gd name="connsiteX263" fmla="*/ 48577 w 2636996"/>
                <a:gd name="connsiteY263" fmla="*/ 477107 h 1090136"/>
                <a:gd name="connsiteX264" fmla="*/ 48577 w 2636996"/>
                <a:gd name="connsiteY264" fmla="*/ 490633 h 1090136"/>
                <a:gd name="connsiteX265" fmla="*/ 55150 w 2636996"/>
                <a:gd name="connsiteY265" fmla="*/ 493109 h 1090136"/>
                <a:gd name="connsiteX266" fmla="*/ 45625 w 2636996"/>
                <a:gd name="connsiteY266" fmla="*/ 503587 h 1090136"/>
                <a:gd name="connsiteX267" fmla="*/ 40291 w 2636996"/>
                <a:gd name="connsiteY267" fmla="*/ 528828 h 1090136"/>
                <a:gd name="connsiteX268" fmla="*/ 43720 w 2636996"/>
                <a:gd name="connsiteY268" fmla="*/ 542258 h 1090136"/>
                <a:gd name="connsiteX269" fmla="*/ 52578 w 2636996"/>
                <a:gd name="connsiteY269" fmla="*/ 544639 h 1090136"/>
                <a:gd name="connsiteX270" fmla="*/ 43910 w 2636996"/>
                <a:gd name="connsiteY270" fmla="*/ 557022 h 1090136"/>
                <a:gd name="connsiteX271" fmla="*/ 47244 w 2636996"/>
                <a:gd name="connsiteY271" fmla="*/ 573881 h 1090136"/>
                <a:gd name="connsiteX272" fmla="*/ 40291 w 2636996"/>
                <a:gd name="connsiteY272" fmla="*/ 579882 h 1090136"/>
                <a:gd name="connsiteX273" fmla="*/ 45148 w 2636996"/>
                <a:gd name="connsiteY273" fmla="*/ 602075 h 1090136"/>
                <a:gd name="connsiteX274" fmla="*/ 39433 w 2636996"/>
                <a:gd name="connsiteY274" fmla="*/ 610838 h 1090136"/>
                <a:gd name="connsiteX275" fmla="*/ 36576 w 2636996"/>
                <a:gd name="connsiteY275" fmla="*/ 622173 h 1090136"/>
                <a:gd name="connsiteX276" fmla="*/ 26003 w 2636996"/>
                <a:gd name="connsiteY276" fmla="*/ 630079 h 1090136"/>
                <a:gd name="connsiteX277" fmla="*/ 23908 w 2636996"/>
                <a:gd name="connsiteY277" fmla="*/ 637318 h 1090136"/>
                <a:gd name="connsiteX278" fmla="*/ 37814 w 2636996"/>
                <a:gd name="connsiteY278" fmla="*/ 646271 h 1090136"/>
                <a:gd name="connsiteX279" fmla="*/ 36576 w 2636996"/>
                <a:gd name="connsiteY279" fmla="*/ 660178 h 1090136"/>
                <a:gd name="connsiteX280" fmla="*/ 44672 w 2636996"/>
                <a:gd name="connsiteY280" fmla="*/ 662178 h 1090136"/>
                <a:gd name="connsiteX281" fmla="*/ 40481 w 2636996"/>
                <a:gd name="connsiteY281" fmla="*/ 673513 h 1090136"/>
                <a:gd name="connsiteX282" fmla="*/ 34195 w 2636996"/>
                <a:gd name="connsiteY282" fmla="*/ 672846 h 1090136"/>
                <a:gd name="connsiteX283" fmla="*/ 27718 w 2636996"/>
                <a:gd name="connsiteY283" fmla="*/ 679228 h 1090136"/>
                <a:gd name="connsiteX284" fmla="*/ 36100 w 2636996"/>
                <a:gd name="connsiteY284" fmla="*/ 690181 h 1090136"/>
                <a:gd name="connsiteX285" fmla="*/ 28384 w 2636996"/>
                <a:gd name="connsiteY285" fmla="*/ 695801 h 1090136"/>
                <a:gd name="connsiteX286" fmla="*/ 23717 w 2636996"/>
                <a:gd name="connsiteY286" fmla="*/ 691801 h 1090136"/>
                <a:gd name="connsiteX287" fmla="*/ 17526 w 2636996"/>
                <a:gd name="connsiteY287" fmla="*/ 691801 h 1090136"/>
                <a:gd name="connsiteX288" fmla="*/ 14383 w 2636996"/>
                <a:gd name="connsiteY288" fmla="*/ 701993 h 1090136"/>
                <a:gd name="connsiteX289" fmla="*/ 20955 w 2636996"/>
                <a:gd name="connsiteY289" fmla="*/ 710470 h 1090136"/>
                <a:gd name="connsiteX290" fmla="*/ 1905 w 2636996"/>
                <a:gd name="connsiteY290" fmla="*/ 716375 h 1090136"/>
                <a:gd name="connsiteX291" fmla="*/ 476 w 2636996"/>
                <a:gd name="connsiteY291" fmla="*/ 721424 h 1090136"/>
                <a:gd name="connsiteX292" fmla="*/ 5429 w 2636996"/>
                <a:gd name="connsiteY292" fmla="*/ 723995 h 1090136"/>
                <a:gd name="connsiteX293" fmla="*/ 7906 w 2636996"/>
                <a:gd name="connsiteY293" fmla="*/ 736854 h 1090136"/>
                <a:gd name="connsiteX294" fmla="*/ 30861 w 2636996"/>
                <a:gd name="connsiteY294" fmla="*/ 736854 h 1090136"/>
                <a:gd name="connsiteX295" fmla="*/ 36862 w 2636996"/>
                <a:gd name="connsiteY295" fmla="*/ 733711 h 1090136"/>
                <a:gd name="connsiteX296" fmla="*/ 44863 w 2636996"/>
                <a:gd name="connsiteY296" fmla="*/ 736473 h 1090136"/>
                <a:gd name="connsiteX297" fmla="*/ 37243 w 2636996"/>
                <a:gd name="connsiteY297" fmla="*/ 744474 h 1090136"/>
                <a:gd name="connsiteX298" fmla="*/ 49721 w 2636996"/>
                <a:gd name="connsiteY298" fmla="*/ 749427 h 1090136"/>
                <a:gd name="connsiteX299" fmla="*/ 49721 w 2636996"/>
                <a:gd name="connsiteY299" fmla="*/ 753523 h 1090136"/>
                <a:gd name="connsiteX300" fmla="*/ 41624 w 2636996"/>
                <a:gd name="connsiteY300" fmla="*/ 755904 h 1090136"/>
                <a:gd name="connsiteX301" fmla="*/ 37433 w 2636996"/>
                <a:gd name="connsiteY301" fmla="*/ 760667 h 1090136"/>
                <a:gd name="connsiteX302" fmla="*/ 29908 w 2636996"/>
                <a:gd name="connsiteY302" fmla="*/ 759809 h 1090136"/>
                <a:gd name="connsiteX303" fmla="*/ 32956 w 2636996"/>
                <a:gd name="connsiteY303" fmla="*/ 767334 h 1090136"/>
                <a:gd name="connsiteX304" fmla="*/ 29813 w 2636996"/>
                <a:gd name="connsiteY304" fmla="*/ 770192 h 1090136"/>
                <a:gd name="connsiteX305" fmla="*/ 23241 w 2636996"/>
                <a:gd name="connsiteY305" fmla="*/ 765238 h 1090136"/>
                <a:gd name="connsiteX306" fmla="*/ 17907 w 2636996"/>
                <a:gd name="connsiteY306" fmla="*/ 771144 h 1090136"/>
                <a:gd name="connsiteX307" fmla="*/ 13906 w 2636996"/>
                <a:gd name="connsiteY307" fmla="*/ 765429 h 1090136"/>
                <a:gd name="connsiteX308" fmla="*/ 19050 w 2636996"/>
                <a:gd name="connsiteY308" fmla="*/ 758857 h 1090136"/>
                <a:gd name="connsiteX309" fmla="*/ 12954 w 2636996"/>
                <a:gd name="connsiteY309" fmla="*/ 752856 h 1090136"/>
                <a:gd name="connsiteX310" fmla="*/ 10858 w 2636996"/>
                <a:gd name="connsiteY310" fmla="*/ 758000 h 1090136"/>
                <a:gd name="connsiteX311" fmla="*/ 5048 w 2636996"/>
                <a:gd name="connsiteY311" fmla="*/ 758000 h 1090136"/>
                <a:gd name="connsiteX312" fmla="*/ 0 w 2636996"/>
                <a:gd name="connsiteY312" fmla="*/ 771144 h 1090136"/>
                <a:gd name="connsiteX313" fmla="*/ 15907 w 2636996"/>
                <a:gd name="connsiteY313" fmla="*/ 786289 h 1090136"/>
                <a:gd name="connsiteX314" fmla="*/ 24289 w 2636996"/>
                <a:gd name="connsiteY314" fmla="*/ 782003 h 1090136"/>
                <a:gd name="connsiteX315" fmla="*/ 31147 w 2636996"/>
                <a:gd name="connsiteY315" fmla="*/ 783908 h 1090136"/>
                <a:gd name="connsiteX316" fmla="*/ 36862 w 2636996"/>
                <a:gd name="connsiteY316" fmla="*/ 780002 h 1090136"/>
                <a:gd name="connsiteX317" fmla="*/ 42672 w 2636996"/>
                <a:gd name="connsiteY317" fmla="*/ 779526 h 1090136"/>
                <a:gd name="connsiteX318" fmla="*/ 48577 w 2636996"/>
                <a:gd name="connsiteY318" fmla="*/ 771620 h 1090136"/>
                <a:gd name="connsiteX319" fmla="*/ 58102 w 2636996"/>
                <a:gd name="connsiteY319" fmla="*/ 772763 h 1090136"/>
                <a:gd name="connsiteX320" fmla="*/ 50578 w 2636996"/>
                <a:gd name="connsiteY320" fmla="*/ 786193 h 1090136"/>
                <a:gd name="connsiteX321" fmla="*/ 53911 w 2636996"/>
                <a:gd name="connsiteY321" fmla="*/ 793623 h 1090136"/>
                <a:gd name="connsiteX322" fmla="*/ 42577 w 2636996"/>
                <a:gd name="connsiteY322" fmla="*/ 793147 h 1090136"/>
                <a:gd name="connsiteX323" fmla="*/ 40196 w 2636996"/>
                <a:gd name="connsiteY323" fmla="*/ 800100 h 1090136"/>
                <a:gd name="connsiteX324" fmla="*/ 34100 w 2636996"/>
                <a:gd name="connsiteY324" fmla="*/ 798481 h 1090136"/>
                <a:gd name="connsiteX325" fmla="*/ 32194 w 2636996"/>
                <a:gd name="connsiteY325" fmla="*/ 815340 h 1090136"/>
                <a:gd name="connsiteX326" fmla="*/ 37243 w 2636996"/>
                <a:gd name="connsiteY326" fmla="*/ 820674 h 1090136"/>
                <a:gd name="connsiteX327" fmla="*/ 31051 w 2636996"/>
                <a:gd name="connsiteY327" fmla="*/ 826960 h 1090136"/>
                <a:gd name="connsiteX328" fmla="*/ 32290 w 2636996"/>
                <a:gd name="connsiteY328" fmla="*/ 838009 h 1090136"/>
                <a:gd name="connsiteX329" fmla="*/ 39719 w 2636996"/>
                <a:gd name="connsiteY329" fmla="*/ 842963 h 1090136"/>
                <a:gd name="connsiteX330" fmla="*/ 41624 w 2636996"/>
                <a:gd name="connsiteY330" fmla="*/ 835628 h 1090136"/>
                <a:gd name="connsiteX331" fmla="*/ 58579 w 2636996"/>
                <a:gd name="connsiteY331" fmla="*/ 833533 h 1090136"/>
                <a:gd name="connsiteX332" fmla="*/ 59246 w 2636996"/>
                <a:gd name="connsiteY332" fmla="*/ 843058 h 1090136"/>
                <a:gd name="connsiteX333" fmla="*/ 59246 w 2636996"/>
                <a:gd name="connsiteY333" fmla="*/ 843058 h 1090136"/>
                <a:gd name="connsiteX334" fmla="*/ 59246 w 2636996"/>
                <a:gd name="connsiteY334" fmla="*/ 843058 h 1090136"/>
                <a:gd name="connsiteX335" fmla="*/ 68771 w 2636996"/>
                <a:gd name="connsiteY335" fmla="*/ 841438 h 1090136"/>
                <a:gd name="connsiteX336" fmla="*/ 76009 w 2636996"/>
                <a:gd name="connsiteY336" fmla="*/ 837152 h 1090136"/>
                <a:gd name="connsiteX337" fmla="*/ 69818 w 2636996"/>
                <a:gd name="connsiteY337" fmla="*/ 827056 h 1090136"/>
                <a:gd name="connsiteX338" fmla="*/ 76295 w 2636996"/>
                <a:gd name="connsiteY338" fmla="*/ 819150 h 1090136"/>
                <a:gd name="connsiteX339" fmla="*/ 84296 w 2636996"/>
                <a:gd name="connsiteY339" fmla="*/ 818102 h 1090136"/>
                <a:gd name="connsiteX340" fmla="*/ 87725 w 2636996"/>
                <a:gd name="connsiteY340" fmla="*/ 821055 h 1090136"/>
                <a:gd name="connsiteX341" fmla="*/ 98203 w 2636996"/>
                <a:gd name="connsiteY341" fmla="*/ 818864 h 1090136"/>
                <a:gd name="connsiteX342" fmla="*/ 98679 w 2636996"/>
                <a:gd name="connsiteY342" fmla="*/ 815245 h 1090136"/>
                <a:gd name="connsiteX343" fmla="*/ 78867 w 2636996"/>
                <a:gd name="connsiteY343" fmla="*/ 809816 h 1090136"/>
                <a:gd name="connsiteX344" fmla="*/ 86296 w 2636996"/>
                <a:gd name="connsiteY344" fmla="*/ 805243 h 1090136"/>
                <a:gd name="connsiteX345" fmla="*/ 84487 w 2636996"/>
                <a:gd name="connsiteY345" fmla="*/ 799814 h 1090136"/>
                <a:gd name="connsiteX346" fmla="*/ 75724 w 2636996"/>
                <a:gd name="connsiteY346" fmla="*/ 802672 h 1090136"/>
                <a:gd name="connsiteX347" fmla="*/ 78296 w 2636996"/>
                <a:gd name="connsiteY347" fmla="*/ 795909 h 1090136"/>
                <a:gd name="connsiteX348" fmla="*/ 76009 w 2636996"/>
                <a:gd name="connsiteY348" fmla="*/ 789813 h 1090136"/>
                <a:gd name="connsiteX349" fmla="*/ 99727 w 2636996"/>
                <a:gd name="connsiteY349" fmla="*/ 790480 h 1090136"/>
                <a:gd name="connsiteX350" fmla="*/ 105727 w 2636996"/>
                <a:gd name="connsiteY350" fmla="*/ 795147 h 1090136"/>
                <a:gd name="connsiteX351" fmla="*/ 109538 w 2636996"/>
                <a:gd name="connsiteY351" fmla="*/ 787622 h 1090136"/>
                <a:gd name="connsiteX352" fmla="*/ 128588 w 2636996"/>
                <a:gd name="connsiteY352" fmla="*/ 783717 h 1090136"/>
                <a:gd name="connsiteX353" fmla="*/ 135541 w 2636996"/>
                <a:gd name="connsiteY353" fmla="*/ 785146 h 1090136"/>
                <a:gd name="connsiteX354" fmla="*/ 152590 w 2636996"/>
                <a:gd name="connsiteY354" fmla="*/ 779050 h 1090136"/>
                <a:gd name="connsiteX355" fmla="*/ 159067 w 2636996"/>
                <a:gd name="connsiteY355" fmla="*/ 784003 h 1090136"/>
                <a:gd name="connsiteX356" fmla="*/ 159829 w 2636996"/>
                <a:gd name="connsiteY356" fmla="*/ 775430 h 1090136"/>
                <a:gd name="connsiteX357" fmla="*/ 174498 w 2636996"/>
                <a:gd name="connsiteY357" fmla="*/ 773621 h 1090136"/>
                <a:gd name="connsiteX358" fmla="*/ 209645 w 2636996"/>
                <a:gd name="connsiteY358" fmla="*/ 765048 h 1090136"/>
                <a:gd name="connsiteX359" fmla="*/ 220409 w 2636996"/>
                <a:gd name="connsiteY359" fmla="*/ 765715 h 1090136"/>
                <a:gd name="connsiteX360" fmla="*/ 218408 w 2636996"/>
                <a:gd name="connsiteY360" fmla="*/ 756190 h 1090136"/>
                <a:gd name="connsiteX361" fmla="*/ 231743 w 2636996"/>
                <a:gd name="connsiteY361" fmla="*/ 748951 h 1090136"/>
                <a:gd name="connsiteX362" fmla="*/ 238506 w 2636996"/>
                <a:gd name="connsiteY362" fmla="*/ 756190 h 1090136"/>
                <a:gd name="connsiteX363" fmla="*/ 245173 w 2636996"/>
                <a:gd name="connsiteY363" fmla="*/ 751808 h 1090136"/>
                <a:gd name="connsiteX364" fmla="*/ 256508 w 2636996"/>
                <a:gd name="connsiteY364" fmla="*/ 759047 h 1090136"/>
                <a:gd name="connsiteX365" fmla="*/ 269462 w 2636996"/>
                <a:gd name="connsiteY365" fmla="*/ 753999 h 1090136"/>
                <a:gd name="connsiteX366" fmla="*/ 278225 w 2636996"/>
                <a:gd name="connsiteY366" fmla="*/ 774097 h 1090136"/>
                <a:gd name="connsiteX367" fmla="*/ 272034 w 2636996"/>
                <a:gd name="connsiteY367" fmla="*/ 782669 h 1090136"/>
                <a:gd name="connsiteX368" fmla="*/ 278701 w 2636996"/>
                <a:gd name="connsiteY368" fmla="*/ 790575 h 1090136"/>
                <a:gd name="connsiteX369" fmla="*/ 296799 w 2636996"/>
                <a:gd name="connsiteY369" fmla="*/ 781050 h 1090136"/>
                <a:gd name="connsiteX370" fmla="*/ 303467 w 2636996"/>
                <a:gd name="connsiteY370" fmla="*/ 793242 h 1090136"/>
                <a:gd name="connsiteX371" fmla="*/ 308705 w 2636996"/>
                <a:gd name="connsiteY371" fmla="*/ 785336 h 1090136"/>
                <a:gd name="connsiteX372" fmla="*/ 317468 w 2636996"/>
                <a:gd name="connsiteY372" fmla="*/ 788956 h 1090136"/>
                <a:gd name="connsiteX373" fmla="*/ 328231 w 2636996"/>
                <a:gd name="connsiteY373" fmla="*/ 784670 h 1090136"/>
                <a:gd name="connsiteX374" fmla="*/ 328231 w 2636996"/>
                <a:gd name="connsiteY374" fmla="*/ 793242 h 1090136"/>
                <a:gd name="connsiteX375" fmla="*/ 318706 w 2636996"/>
                <a:gd name="connsiteY375" fmla="*/ 798957 h 1090136"/>
                <a:gd name="connsiteX376" fmla="*/ 323374 w 2636996"/>
                <a:gd name="connsiteY376" fmla="*/ 806196 h 1090136"/>
                <a:gd name="connsiteX377" fmla="*/ 332899 w 2636996"/>
                <a:gd name="connsiteY377" fmla="*/ 799719 h 1090136"/>
                <a:gd name="connsiteX378" fmla="*/ 342424 w 2636996"/>
                <a:gd name="connsiteY378" fmla="*/ 806196 h 1090136"/>
                <a:gd name="connsiteX379" fmla="*/ 344424 w 2636996"/>
                <a:gd name="connsiteY379" fmla="*/ 797528 h 1090136"/>
                <a:gd name="connsiteX380" fmla="*/ 378523 w 2636996"/>
                <a:gd name="connsiteY380" fmla="*/ 778478 h 1090136"/>
                <a:gd name="connsiteX381" fmla="*/ 392430 w 2636996"/>
                <a:gd name="connsiteY381" fmla="*/ 776288 h 1090136"/>
                <a:gd name="connsiteX382" fmla="*/ 389382 w 2636996"/>
                <a:gd name="connsiteY382" fmla="*/ 787813 h 1090136"/>
                <a:gd name="connsiteX383" fmla="*/ 379762 w 2636996"/>
                <a:gd name="connsiteY383" fmla="*/ 787813 h 1090136"/>
                <a:gd name="connsiteX384" fmla="*/ 384905 w 2636996"/>
                <a:gd name="connsiteY384" fmla="*/ 794290 h 1090136"/>
                <a:gd name="connsiteX385" fmla="*/ 408337 w 2636996"/>
                <a:gd name="connsiteY385" fmla="*/ 809911 h 1090136"/>
                <a:gd name="connsiteX386" fmla="*/ 453295 w 2636996"/>
                <a:gd name="connsiteY386" fmla="*/ 880205 h 1090136"/>
                <a:gd name="connsiteX387" fmla="*/ 460438 w 2636996"/>
                <a:gd name="connsiteY387" fmla="*/ 875157 h 1090136"/>
                <a:gd name="connsiteX388" fmla="*/ 461486 w 2636996"/>
                <a:gd name="connsiteY388" fmla="*/ 864394 h 1090136"/>
                <a:gd name="connsiteX389" fmla="*/ 476440 w 2636996"/>
                <a:gd name="connsiteY389" fmla="*/ 865822 h 1090136"/>
                <a:gd name="connsiteX390" fmla="*/ 475012 w 2636996"/>
                <a:gd name="connsiteY390" fmla="*/ 876586 h 1090136"/>
                <a:gd name="connsiteX391" fmla="*/ 482251 w 2636996"/>
                <a:gd name="connsiteY391" fmla="*/ 873062 h 1090136"/>
                <a:gd name="connsiteX392" fmla="*/ 485299 w 2636996"/>
                <a:gd name="connsiteY392" fmla="*/ 882587 h 1090136"/>
                <a:gd name="connsiteX393" fmla="*/ 502920 w 2636996"/>
                <a:gd name="connsiteY393" fmla="*/ 882587 h 1090136"/>
                <a:gd name="connsiteX394" fmla="*/ 514255 w 2636996"/>
                <a:gd name="connsiteY394" fmla="*/ 871823 h 1090136"/>
                <a:gd name="connsiteX395" fmla="*/ 530257 w 2636996"/>
                <a:gd name="connsiteY395" fmla="*/ 876776 h 1090136"/>
                <a:gd name="connsiteX396" fmla="*/ 536448 w 2636996"/>
                <a:gd name="connsiteY396" fmla="*/ 894017 h 1090136"/>
                <a:gd name="connsiteX397" fmla="*/ 550831 w 2636996"/>
                <a:gd name="connsiteY397" fmla="*/ 897350 h 1090136"/>
                <a:gd name="connsiteX398" fmla="*/ 556069 w 2636996"/>
                <a:gd name="connsiteY398" fmla="*/ 910114 h 1090136"/>
                <a:gd name="connsiteX399" fmla="*/ 572548 w 2636996"/>
                <a:gd name="connsiteY399" fmla="*/ 912019 h 1090136"/>
                <a:gd name="connsiteX400" fmla="*/ 582073 w 2636996"/>
                <a:gd name="connsiteY400" fmla="*/ 902494 h 1090136"/>
                <a:gd name="connsiteX401" fmla="*/ 587788 w 2636996"/>
                <a:gd name="connsiteY401" fmla="*/ 906971 h 1090136"/>
                <a:gd name="connsiteX402" fmla="*/ 585216 w 2636996"/>
                <a:gd name="connsiteY402" fmla="*/ 912019 h 1090136"/>
                <a:gd name="connsiteX403" fmla="*/ 598837 w 2636996"/>
                <a:gd name="connsiteY403" fmla="*/ 923258 h 1090136"/>
                <a:gd name="connsiteX404" fmla="*/ 606171 w 2636996"/>
                <a:gd name="connsiteY404" fmla="*/ 921258 h 1090136"/>
                <a:gd name="connsiteX405" fmla="*/ 612457 w 2636996"/>
                <a:gd name="connsiteY405" fmla="*/ 919639 h 1090136"/>
                <a:gd name="connsiteX406" fmla="*/ 612457 w 2636996"/>
                <a:gd name="connsiteY406" fmla="*/ 914114 h 1090136"/>
                <a:gd name="connsiteX407" fmla="*/ 625221 w 2636996"/>
                <a:gd name="connsiteY407" fmla="*/ 914591 h 1090136"/>
                <a:gd name="connsiteX408" fmla="*/ 626935 w 2636996"/>
                <a:gd name="connsiteY408" fmla="*/ 910971 h 1090136"/>
                <a:gd name="connsiteX409" fmla="*/ 630841 w 2636996"/>
                <a:gd name="connsiteY409" fmla="*/ 913829 h 1090136"/>
                <a:gd name="connsiteX410" fmla="*/ 633793 w 2636996"/>
                <a:gd name="connsiteY410" fmla="*/ 909352 h 1090136"/>
                <a:gd name="connsiteX411" fmla="*/ 636651 w 2636996"/>
                <a:gd name="connsiteY411" fmla="*/ 911257 h 1090136"/>
                <a:gd name="connsiteX412" fmla="*/ 643033 w 2636996"/>
                <a:gd name="connsiteY412" fmla="*/ 908113 h 1090136"/>
                <a:gd name="connsiteX413" fmla="*/ 641890 w 2636996"/>
                <a:gd name="connsiteY413" fmla="*/ 902875 h 1090136"/>
                <a:gd name="connsiteX414" fmla="*/ 663130 w 2636996"/>
                <a:gd name="connsiteY414" fmla="*/ 894779 h 1090136"/>
                <a:gd name="connsiteX415" fmla="*/ 669703 w 2636996"/>
                <a:gd name="connsiteY415" fmla="*/ 888873 h 1090136"/>
                <a:gd name="connsiteX416" fmla="*/ 677132 w 2636996"/>
                <a:gd name="connsiteY416" fmla="*/ 888873 h 1090136"/>
                <a:gd name="connsiteX417" fmla="*/ 685038 w 2636996"/>
                <a:gd name="connsiteY417" fmla="*/ 881348 h 1090136"/>
                <a:gd name="connsiteX418" fmla="*/ 692372 w 2636996"/>
                <a:gd name="connsiteY418" fmla="*/ 881825 h 1090136"/>
                <a:gd name="connsiteX419" fmla="*/ 695515 w 2636996"/>
                <a:gd name="connsiteY419" fmla="*/ 875919 h 1090136"/>
                <a:gd name="connsiteX420" fmla="*/ 701897 w 2636996"/>
                <a:gd name="connsiteY420" fmla="*/ 882396 h 1090136"/>
                <a:gd name="connsiteX421" fmla="*/ 704564 w 2636996"/>
                <a:gd name="connsiteY421" fmla="*/ 878396 h 1090136"/>
                <a:gd name="connsiteX422" fmla="*/ 708469 w 2636996"/>
                <a:gd name="connsiteY422" fmla="*/ 878396 h 1090136"/>
                <a:gd name="connsiteX423" fmla="*/ 708469 w 2636996"/>
                <a:gd name="connsiteY423" fmla="*/ 883253 h 1090136"/>
                <a:gd name="connsiteX424" fmla="*/ 733997 w 2636996"/>
                <a:gd name="connsiteY424" fmla="*/ 885158 h 1090136"/>
                <a:gd name="connsiteX425" fmla="*/ 735330 w 2636996"/>
                <a:gd name="connsiteY425" fmla="*/ 894683 h 1090136"/>
                <a:gd name="connsiteX426" fmla="*/ 740569 w 2636996"/>
                <a:gd name="connsiteY426" fmla="*/ 900684 h 1090136"/>
                <a:gd name="connsiteX427" fmla="*/ 757809 w 2636996"/>
                <a:gd name="connsiteY427" fmla="*/ 903446 h 1090136"/>
                <a:gd name="connsiteX428" fmla="*/ 764477 w 2636996"/>
                <a:gd name="connsiteY428" fmla="*/ 899922 h 1090136"/>
                <a:gd name="connsiteX429" fmla="*/ 779145 w 2636996"/>
                <a:gd name="connsiteY429" fmla="*/ 904399 h 1090136"/>
                <a:gd name="connsiteX430" fmla="*/ 786955 w 2636996"/>
                <a:gd name="connsiteY430" fmla="*/ 902208 h 1090136"/>
                <a:gd name="connsiteX431" fmla="*/ 793147 w 2636996"/>
                <a:gd name="connsiteY431" fmla="*/ 907923 h 1090136"/>
                <a:gd name="connsiteX432" fmla="*/ 800862 w 2636996"/>
                <a:gd name="connsiteY432" fmla="*/ 902208 h 1090136"/>
                <a:gd name="connsiteX433" fmla="*/ 806482 w 2636996"/>
                <a:gd name="connsiteY433" fmla="*/ 902208 h 1090136"/>
                <a:gd name="connsiteX434" fmla="*/ 814483 w 2636996"/>
                <a:gd name="connsiteY434" fmla="*/ 886968 h 1090136"/>
                <a:gd name="connsiteX435" fmla="*/ 808577 w 2636996"/>
                <a:gd name="connsiteY435" fmla="*/ 883730 h 1090136"/>
                <a:gd name="connsiteX436" fmla="*/ 807339 w 2636996"/>
                <a:gd name="connsiteY436" fmla="*/ 877634 h 1090136"/>
                <a:gd name="connsiteX437" fmla="*/ 803148 w 2636996"/>
                <a:gd name="connsiteY437" fmla="*/ 873347 h 1090136"/>
                <a:gd name="connsiteX438" fmla="*/ 807815 w 2636996"/>
                <a:gd name="connsiteY438" fmla="*/ 860393 h 1090136"/>
                <a:gd name="connsiteX439" fmla="*/ 812197 w 2636996"/>
                <a:gd name="connsiteY439" fmla="*/ 860393 h 1090136"/>
                <a:gd name="connsiteX440" fmla="*/ 814292 w 2636996"/>
                <a:gd name="connsiteY440" fmla="*/ 852868 h 1090136"/>
                <a:gd name="connsiteX441" fmla="*/ 821246 w 2636996"/>
                <a:gd name="connsiteY441" fmla="*/ 850297 h 1090136"/>
                <a:gd name="connsiteX442" fmla="*/ 825627 w 2636996"/>
                <a:gd name="connsiteY442" fmla="*/ 840772 h 1090136"/>
                <a:gd name="connsiteX443" fmla="*/ 832104 w 2636996"/>
                <a:gd name="connsiteY443" fmla="*/ 845820 h 1090136"/>
                <a:gd name="connsiteX444" fmla="*/ 840867 w 2636996"/>
                <a:gd name="connsiteY444" fmla="*/ 847249 h 1090136"/>
                <a:gd name="connsiteX445" fmla="*/ 845439 w 2636996"/>
                <a:gd name="connsiteY445" fmla="*/ 852583 h 1090136"/>
                <a:gd name="connsiteX446" fmla="*/ 860965 w 2636996"/>
                <a:gd name="connsiteY446" fmla="*/ 854012 h 1090136"/>
                <a:gd name="connsiteX447" fmla="*/ 874586 w 2636996"/>
                <a:gd name="connsiteY447" fmla="*/ 860870 h 1090136"/>
                <a:gd name="connsiteX448" fmla="*/ 880777 w 2636996"/>
                <a:gd name="connsiteY448" fmla="*/ 859441 h 1090136"/>
                <a:gd name="connsiteX449" fmla="*/ 892683 w 2636996"/>
                <a:gd name="connsiteY449" fmla="*/ 862965 h 1090136"/>
                <a:gd name="connsiteX450" fmla="*/ 889825 w 2636996"/>
                <a:gd name="connsiteY450" fmla="*/ 867251 h 1090136"/>
                <a:gd name="connsiteX451" fmla="*/ 893445 w 2636996"/>
                <a:gd name="connsiteY451" fmla="*/ 884110 h 1090136"/>
                <a:gd name="connsiteX452" fmla="*/ 910495 w 2636996"/>
                <a:gd name="connsiteY452" fmla="*/ 891635 h 1090136"/>
                <a:gd name="connsiteX453" fmla="*/ 918210 w 2636996"/>
                <a:gd name="connsiteY453" fmla="*/ 897731 h 1090136"/>
                <a:gd name="connsiteX454" fmla="*/ 923354 w 2636996"/>
                <a:gd name="connsiteY454" fmla="*/ 894207 h 1090136"/>
                <a:gd name="connsiteX455" fmla="*/ 930307 w 2636996"/>
                <a:gd name="connsiteY455" fmla="*/ 897446 h 1090136"/>
                <a:gd name="connsiteX456" fmla="*/ 934498 w 2636996"/>
                <a:gd name="connsiteY456" fmla="*/ 892016 h 1090136"/>
                <a:gd name="connsiteX457" fmla="*/ 952309 w 2636996"/>
                <a:gd name="connsiteY457" fmla="*/ 886968 h 1090136"/>
                <a:gd name="connsiteX458" fmla="*/ 965930 w 2636996"/>
                <a:gd name="connsiteY458" fmla="*/ 889159 h 1090136"/>
                <a:gd name="connsiteX459" fmla="*/ 969550 w 2636996"/>
                <a:gd name="connsiteY459" fmla="*/ 893445 h 1090136"/>
                <a:gd name="connsiteX460" fmla="*/ 977551 w 2636996"/>
                <a:gd name="connsiteY460" fmla="*/ 890206 h 1090136"/>
                <a:gd name="connsiteX461" fmla="*/ 985552 w 2636996"/>
                <a:gd name="connsiteY461" fmla="*/ 894207 h 1090136"/>
                <a:gd name="connsiteX462" fmla="*/ 988886 w 2636996"/>
                <a:gd name="connsiteY462" fmla="*/ 900970 h 1090136"/>
                <a:gd name="connsiteX463" fmla="*/ 1005173 w 2636996"/>
                <a:gd name="connsiteY463" fmla="*/ 900970 h 1090136"/>
                <a:gd name="connsiteX464" fmla="*/ 1005173 w 2636996"/>
                <a:gd name="connsiteY464" fmla="*/ 908018 h 1090136"/>
                <a:gd name="connsiteX465" fmla="*/ 1017080 w 2636996"/>
                <a:gd name="connsiteY465" fmla="*/ 916305 h 1090136"/>
                <a:gd name="connsiteX466" fmla="*/ 1033177 w 2636996"/>
                <a:gd name="connsiteY466" fmla="*/ 915829 h 1090136"/>
                <a:gd name="connsiteX467" fmla="*/ 1038225 w 2636996"/>
                <a:gd name="connsiteY467" fmla="*/ 920115 h 1090136"/>
                <a:gd name="connsiteX468" fmla="*/ 1052894 w 2636996"/>
                <a:gd name="connsiteY468" fmla="*/ 917734 h 1090136"/>
                <a:gd name="connsiteX469" fmla="*/ 1058323 w 2636996"/>
                <a:gd name="connsiteY469" fmla="*/ 922020 h 1090136"/>
                <a:gd name="connsiteX470" fmla="*/ 1071848 w 2636996"/>
                <a:gd name="connsiteY470" fmla="*/ 914400 h 1090136"/>
                <a:gd name="connsiteX471" fmla="*/ 1093565 w 2636996"/>
                <a:gd name="connsiteY471" fmla="*/ 910971 h 1090136"/>
                <a:gd name="connsiteX472" fmla="*/ 1102042 w 2636996"/>
                <a:gd name="connsiteY472" fmla="*/ 914400 h 1090136"/>
                <a:gd name="connsiteX473" fmla="*/ 1106710 w 2636996"/>
                <a:gd name="connsiteY473" fmla="*/ 911447 h 1090136"/>
                <a:gd name="connsiteX474" fmla="*/ 1109758 w 2636996"/>
                <a:gd name="connsiteY474" fmla="*/ 903351 h 1090136"/>
                <a:gd name="connsiteX475" fmla="*/ 1129570 w 2636996"/>
                <a:gd name="connsiteY475" fmla="*/ 891921 h 1090136"/>
                <a:gd name="connsiteX476" fmla="*/ 1141476 w 2636996"/>
                <a:gd name="connsiteY476" fmla="*/ 892493 h 1090136"/>
                <a:gd name="connsiteX477" fmla="*/ 1152715 w 2636996"/>
                <a:gd name="connsiteY477" fmla="*/ 902875 h 1090136"/>
                <a:gd name="connsiteX478" fmla="*/ 1159288 w 2636996"/>
                <a:gd name="connsiteY478" fmla="*/ 902875 h 1090136"/>
                <a:gd name="connsiteX479" fmla="*/ 1168241 w 2636996"/>
                <a:gd name="connsiteY479" fmla="*/ 897636 h 1090136"/>
                <a:gd name="connsiteX480" fmla="*/ 1177766 w 2636996"/>
                <a:gd name="connsiteY480" fmla="*/ 900017 h 1090136"/>
                <a:gd name="connsiteX481" fmla="*/ 1179386 w 2636996"/>
                <a:gd name="connsiteY481" fmla="*/ 904304 h 1090136"/>
                <a:gd name="connsiteX482" fmla="*/ 1200626 w 2636996"/>
                <a:gd name="connsiteY482" fmla="*/ 912400 h 1090136"/>
                <a:gd name="connsiteX483" fmla="*/ 1217295 w 2636996"/>
                <a:gd name="connsiteY483" fmla="*/ 900493 h 1090136"/>
                <a:gd name="connsiteX484" fmla="*/ 1230821 w 2636996"/>
                <a:gd name="connsiteY484" fmla="*/ 898112 h 1090136"/>
                <a:gd name="connsiteX485" fmla="*/ 1233106 w 2636996"/>
                <a:gd name="connsiteY485" fmla="*/ 890397 h 1090136"/>
                <a:gd name="connsiteX486" fmla="*/ 1227677 w 2636996"/>
                <a:gd name="connsiteY486" fmla="*/ 887159 h 1090136"/>
                <a:gd name="connsiteX487" fmla="*/ 1244727 w 2636996"/>
                <a:gd name="connsiteY487" fmla="*/ 854297 h 1090136"/>
                <a:gd name="connsiteX488" fmla="*/ 1259014 w 2636996"/>
                <a:gd name="connsiteY488" fmla="*/ 843534 h 1090136"/>
                <a:gd name="connsiteX489" fmla="*/ 1257109 w 2636996"/>
                <a:gd name="connsiteY489" fmla="*/ 835533 h 1090136"/>
                <a:gd name="connsiteX490" fmla="*/ 1259014 w 2636996"/>
                <a:gd name="connsiteY490" fmla="*/ 829056 h 1090136"/>
                <a:gd name="connsiteX491" fmla="*/ 1251680 w 2636996"/>
                <a:gd name="connsiteY491" fmla="*/ 826865 h 1090136"/>
                <a:gd name="connsiteX492" fmla="*/ 1244346 w 2636996"/>
                <a:gd name="connsiteY492" fmla="*/ 830104 h 1090136"/>
                <a:gd name="connsiteX493" fmla="*/ 1243584 w 2636996"/>
                <a:gd name="connsiteY493" fmla="*/ 821531 h 1090136"/>
                <a:gd name="connsiteX494" fmla="*/ 1259396 w 2636996"/>
                <a:gd name="connsiteY494" fmla="*/ 808577 h 1090136"/>
                <a:gd name="connsiteX495" fmla="*/ 1308545 w 2636996"/>
                <a:gd name="connsiteY495" fmla="*/ 801053 h 1090136"/>
                <a:gd name="connsiteX496" fmla="*/ 1339120 w 2636996"/>
                <a:gd name="connsiteY496" fmla="*/ 815054 h 1090136"/>
                <a:gd name="connsiteX497" fmla="*/ 1345692 w 2636996"/>
                <a:gd name="connsiteY497" fmla="*/ 809720 h 1090136"/>
                <a:gd name="connsiteX498" fmla="*/ 1363885 w 2636996"/>
                <a:gd name="connsiteY498" fmla="*/ 822579 h 1090136"/>
                <a:gd name="connsiteX499" fmla="*/ 1361980 w 2636996"/>
                <a:gd name="connsiteY499" fmla="*/ 830675 h 1090136"/>
                <a:gd name="connsiteX500" fmla="*/ 1373600 w 2636996"/>
                <a:gd name="connsiteY500" fmla="*/ 840200 h 1090136"/>
                <a:gd name="connsiteX501" fmla="*/ 1371314 w 2636996"/>
                <a:gd name="connsiteY501" fmla="*/ 846201 h 1090136"/>
                <a:gd name="connsiteX502" fmla="*/ 1380839 w 2636996"/>
                <a:gd name="connsiteY502" fmla="*/ 863346 h 1090136"/>
                <a:gd name="connsiteX503" fmla="*/ 1380077 w 2636996"/>
                <a:gd name="connsiteY503" fmla="*/ 870395 h 1090136"/>
                <a:gd name="connsiteX504" fmla="*/ 1388173 w 2636996"/>
                <a:gd name="connsiteY504" fmla="*/ 880586 h 1090136"/>
                <a:gd name="connsiteX505" fmla="*/ 1388173 w 2636996"/>
                <a:gd name="connsiteY505" fmla="*/ 890111 h 1090136"/>
                <a:gd name="connsiteX506" fmla="*/ 1393603 w 2636996"/>
                <a:gd name="connsiteY506" fmla="*/ 895064 h 1090136"/>
                <a:gd name="connsiteX507" fmla="*/ 1393603 w 2636996"/>
                <a:gd name="connsiteY507" fmla="*/ 906018 h 1090136"/>
                <a:gd name="connsiteX508" fmla="*/ 1407128 w 2636996"/>
                <a:gd name="connsiteY508" fmla="*/ 912685 h 1090136"/>
                <a:gd name="connsiteX509" fmla="*/ 1417225 w 2636996"/>
                <a:gd name="connsiteY509" fmla="*/ 907923 h 1090136"/>
                <a:gd name="connsiteX510" fmla="*/ 1419892 w 2636996"/>
                <a:gd name="connsiteY510" fmla="*/ 914209 h 1090136"/>
                <a:gd name="connsiteX511" fmla="*/ 1433894 w 2636996"/>
                <a:gd name="connsiteY511" fmla="*/ 916114 h 1090136"/>
                <a:gd name="connsiteX512" fmla="*/ 1443419 w 2636996"/>
                <a:gd name="connsiteY512" fmla="*/ 925639 h 1090136"/>
                <a:gd name="connsiteX513" fmla="*/ 1454658 w 2636996"/>
                <a:gd name="connsiteY513" fmla="*/ 925639 h 1090136"/>
                <a:gd name="connsiteX514" fmla="*/ 1453134 w 2636996"/>
                <a:gd name="connsiteY514" fmla="*/ 933259 h 1090136"/>
                <a:gd name="connsiteX515" fmla="*/ 1459325 w 2636996"/>
                <a:gd name="connsiteY515" fmla="*/ 939927 h 1090136"/>
                <a:gd name="connsiteX516" fmla="*/ 1453896 w 2636996"/>
                <a:gd name="connsiteY516" fmla="*/ 946690 h 1090136"/>
                <a:gd name="connsiteX517" fmla="*/ 1460849 w 2636996"/>
                <a:gd name="connsiteY517" fmla="*/ 956691 h 1090136"/>
                <a:gd name="connsiteX518" fmla="*/ 1472089 w 2636996"/>
                <a:gd name="connsiteY518" fmla="*/ 953834 h 1090136"/>
                <a:gd name="connsiteX519" fmla="*/ 1477518 w 2636996"/>
                <a:gd name="connsiteY519" fmla="*/ 956691 h 1090136"/>
                <a:gd name="connsiteX520" fmla="*/ 1491806 w 2636996"/>
                <a:gd name="connsiteY520" fmla="*/ 955738 h 1090136"/>
                <a:gd name="connsiteX521" fmla="*/ 1494091 w 2636996"/>
                <a:gd name="connsiteY521" fmla="*/ 948595 h 1090136"/>
                <a:gd name="connsiteX522" fmla="*/ 1504950 w 2636996"/>
                <a:gd name="connsiteY522" fmla="*/ 943261 h 1090136"/>
                <a:gd name="connsiteX523" fmla="*/ 1511522 w 2636996"/>
                <a:gd name="connsiteY523" fmla="*/ 948118 h 1090136"/>
                <a:gd name="connsiteX524" fmla="*/ 1515808 w 2636996"/>
                <a:gd name="connsiteY524" fmla="*/ 941832 h 1090136"/>
                <a:gd name="connsiteX525" fmla="*/ 1531239 w 2636996"/>
                <a:gd name="connsiteY525" fmla="*/ 938022 h 1090136"/>
                <a:gd name="connsiteX526" fmla="*/ 1535906 w 2636996"/>
                <a:gd name="connsiteY526" fmla="*/ 941832 h 1090136"/>
                <a:gd name="connsiteX527" fmla="*/ 1532858 w 2636996"/>
                <a:gd name="connsiteY527" fmla="*/ 948595 h 1090136"/>
                <a:gd name="connsiteX528" fmla="*/ 1536668 w 2636996"/>
                <a:gd name="connsiteY528" fmla="*/ 955738 h 1090136"/>
                <a:gd name="connsiteX529" fmla="*/ 1534001 w 2636996"/>
                <a:gd name="connsiteY529" fmla="*/ 961454 h 1090136"/>
                <a:gd name="connsiteX530" fmla="*/ 1523905 w 2636996"/>
                <a:gd name="connsiteY530" fmla="*/ 965740 h 1090136"/>
                <a:gd name="connsiteX531" fmla="*/ 1522762 w 2636996"/>
                <a:gd name="connsiteY531" fmla="*/ 981361 h 1090136"/>
                <a:gd name="connsiteX532" fmla="*/ 1516952 w 2636996"/>
                <a:gd name="connsiteY532" fmla="*/ 985266 h 1090136"/>
                <a:gd name="connsiteX533" fmla="*/ 1519619 w 2636996"/>
                <a:gd name="connsiteY533" fmla="*/ 992410 h 1090136"/>
                <a:gd name="connsiteX534" fmla="*/ 1511522 w 2636996"/>
                <a:gd name="connsiteY534" fmla="*/ 1000506 h 1090136"/>
                <a:gd name="connsiteX535" fmla="*/ 1511522 w 2636996"/>
                <a:gd name="connsiteY535" fmla="*/ 1008602 h 1090136"/>
                <a:gd name="connsiteX536" fmla="*/ 1501997 w 2636996"/>
                <a:gd name="connsiteY536" fmla="*/ 1012888 h 1090136"/>
                <a:gd name="connsiteX537" fmla="*/ 1505045 w 2636996"/>
                <a:gd name="connsiteY537" fmla="*/ 1021556 h 1090136"/>
                <a:gd name="connsiteX538" fmla="*/ 1500378 w 2636996"/>
                <a:gd name="connsiteY538" fmla="*/ 1024890 h 1090136"/>
                <a:gd name="connsiteX539" fmla="*/ 1478375 w 2636996"/>
                <a:gd name="connsiteY539" fmla="*/ 1016318 h 1090136"/>
                <a:gd name="connsiteX540" fmla="*/ 1468850 w 2636996"/>
                <a:gd name="connsiteY540" fmla="*/ 1024414 h 1090136"/>
                <a:gd name="connsiteX541" fmla="*/ 1458849 w 2636996"/>
                <a:gd name="connsiteY541" fmla="*/ 1026795 h 1090136"/>
                <a:gd name="connsiteX542" fmla="*/ 1466183 w 2636996"/>
                <a:gd name="connsiteY542" fmla="*/ 1047369 h 1090136"/>
                <a:gd name="connsiteX543" fmla="*/ 1463040 w 2636996"/>
                <a:gd name="connsiteY543" fmla="*/ 1058323 h 1090136"/>
                <a:gd name="connsiteX544" fmla="*/ 1465802 w 2636996"/>
                <a:gd name="connsiteY544" fmla="*/ 1062133 h 1090136"/>
                <a:gd name="connsiteX545" fmla="*/ 1461135 w 2636996"/>
                <a:gd name="connsiteY545" fmla="*/ 1072610 h 1090136"/>
                <a:gd name="connsiteX546" fmla="*/ 1456849 w 2636996"/>
                <a:gd name="connsiteY546" fmla="*/ 1070705 h 1090136"/>
                <a:gd name="connsiteX547" fmla="*/ 1449896 w 2636996"/>
                <a:gd name="connsiteY547" fmla="*/ 1078325 h 1090136"/>
                <a:gd name="connsiteX548" fmla="*/ 1452467 w 2636996"/>
                <a:gd name="connsiteY548" fmla="*/ 1084802 h 1090136"/>
                <a:gd name="connsiteX549" fmla="*/ 1454467 w 2636996"/>
                <a:gd name="connsiteY549" fmla="*/ 1090136 h 1090136"/>
                <a:gd name="connsiteX550" fmla="*/ 1466088 w 2636996"/>
                <a:gd name="connsiteY550" fmla="*/ 1080611 h 1090136"/>
                <a:gd name="connsiteX551" fmla="*/ 1477328 w 2636996"/>
                <a:gd name="connsiteY551" fmla="*/ 1064323 h 1090136"/>
                <a:gd name="connsiteX552" fmla="*/ 1501426 w 2636996"/>
                <a:gd name="connsiteY552" fmla="*/ 1080230 h 1090136"/>
                <a:gd name="connsiteX553" fmla="*/ 1518571 w 2636996"/>
                <a:gd name="connsiteY553" fmla="*/ 1075754 h 1090136"/>
                <a:gd name="connsiteX554" fmla="*/ 1542955 w 2636996"/>
                <a:gd name="connsiteY554" fmla="*/ 1060228 h 1090136"/>
                <a:gd name="connsiteX555" fmla="*/ 1556861 w 2636996"/>
                <a:gd name="connsiteY555" fmla="*/ 1039463 h 1090136"/>
                <a:gd name="connsiteX556" fmla="*/ 1593152 w 2636996"/>
                <a:gd name="connsiteY556" fmla="*/ 1004030 h 1090136"/>
                <a:gd name="connsiteX557" fmla="*/ 1625251 w 2636996"/>
                <a:gd name="connsiteY557" fmla="*/ 954691 h 1090136"/>
                <a:gd name="connsiteX558" fmla="*/ 1643063 w 2636996"/>
                <a:gd name="connsiteY558" fmla="*/ 939165 h 1090136"/>
                <a:gd name="connsiteX559" fmla="*/ 1647349 w 2636996"/>
                <a:gd name="connsiteY559" fmla="*/ 904589 h 1090136"/>
                <a:gd name="connsiteX560" fmla="*/ 1653254 w 2636996"/>
                <a:gd name="connsiteY560" fmla="*/ 899255 h 1090136"/>
                <a:gd name="connsiteX561" fmla="*/ 1648682 w 2636996"/>
                <a:gd name="connsiteY561" fmla="*/ 882015 h 1090136"/>
                <a:gd name="connsiteX562" fmla="*/ 1661636 w 2636996"/>
                <a:gd name="connsiteY562" fmla="*/ 845058 h 1090136"/>
                <a:gd name="connsiteX563" fmla="*/ 1670114 w 2636996"/>
                <a:gd name="connsiteY563" fmla="*/ 842105 h 1090136"/>
                <a:gd name="connsiteX564" fmla="*/ 1661827 w 2636996"/>
                <a:gd name="connsiteY564" fmla="*/ 835247 h 1090136"/>
                <a:gd name="connsiteX565" fmla="*/ 1664494 w 2636996"/>
                <a:gd name="connsiteY565" fmla="*/ 822770 h 1090136"/>
                <a:gd name="connsiteX566" fmla="*/ 1653254 w 2636996"/>
                <a:gd name="connsiteY566" fmla="*/ 815435 h 1090136"/>
                <a:gd name="connsiteX567" fmla="*/ 1667447 w 2636996"/>
                <a:gd name="connsiteY567" fmla="*/ 810863 h 1090136"/>
                <a:gd name="connsiteX568" fmla="*/ 1634490 w 2636996"/>
                <a:gd name="connsiteY568" fmla="*/ 782288 h 1090136"/>
                <a:gd name="connsiteX569" fmla="*/ 1611344 w 2636996"/>
                <a:gd name="connsiteY569" fmla="*/ 791051 h 1090136"/>
                <a:gd name="connsiteX570" fmla="*/ 1586198 w 2636996"/>
                <a:gd name="connsiteY570" fmla="*/ 803910 h 1090136"/>
                <a:gd name="connsiteX571" fmla="*/ 1594485 w 2636996"/>
                <a:gd name="connsiteY571" fmla="*/ 782288 h 1090136"/>
                <a:gd name="connsiteX572" fmla="*/ 1576388 w 2636996"/>
                <a:gd name="connsiteY572" fmla="*/ 772763 h 1090136"/>
                <a:gd name="connsiteX573" fmla="*/ 1544955 w 2636996"/>
                <a:gd name="connsiteY573" fmla="*/ 771430 h 1090136"/>
                <a:gd name="connsiteX574" fmla="*/ 1544955 w 2636996"/>
                <a:gd name="connsiteY574" fmla="*/ 764953 h 1090136"/>
                <a:gd name="connsiteX575" fmla="*/ 1585246 w 2636996"/>
                <a:gd name="connsiteY575" fmla="*/ 743903 h 1090136"/>
                <a:gd name="connsiteX576" fmla="*/ 1598390 w 2636996"/>
                <a:gd name="connsiteY576" fmla="*/ 724853 h 1090136"/>
                <a:gd name="connsiteX577" fmla="*/ 1609534 w 2636996"/>
                <a:gd name="connsiteY577" fmla="*/ 722852 h 1090136"/>
                <a:gd name="connsiteX578" fmla="*/ 1612582 w 2636996"/>
                <a:gd name="connsiteY578" fmla="*/ 708374 h 1090136"/>
                <a:gd name="connsiteX579" fmla="*/ 1649635 w 2636996"/>
                <a:gd name="connsiteY579" fmla="*/ 685419 h 1090136"/>
                <a:gd name="connsiteX580" fmla="*/ 1655255 w 2636996"/>
                <a:gd name="connsiteY580" fmla="*/ 672084 h 1090136"/>
                <a:gd name="connsiteX581" fmla="*/ 1702880 w 2636996"/>
                <a:gd name="connsiteY581" fmla="*/ 642271 h 1090136"/>
                <a:gd name="connsiteX582" fmla="*/ 1751743 w 2636996"/>
                <a:gd name="connsiteY582" fmla="*/ 640842 h 1090136"/>
                <a:gd name="connsiteX583" fmla="*/ 1764697 w 2636996"/>
                <a:gd name="connsiteY583" fmla="*/ 647795 h 1090136"/>
                <a:gd name="connsiteX584" fmla="*/ 1768983 w 2636996"/>
                <a:gd name="connsiteY584" fmla="*/ 639889 h 1090136"/>
                <a:gd name="connsiteX585" fmla="*/ 1788033 w 2636996"/>
                <a:gd name="connsiteY585" fmla="*/ 646367 h 1090136"/>
                <a:gd name="connsiteX586" fmla="*/ 1802606 w 2636996"/>
                <a:gd name="connsiteY586" fmla="*/ 641318 h 1090136"/>
                <a:gd name="connsiteX587" fmla="*/ 1816132 w 2636996"/>
                <a:gd name="connsiteY587" fmla="*/ 646367 h 1090136"/>
                <a:gd name="connsiteX588" fmla="*/ 1813179 w 2636996"/>
                <a:gd name="connsiteY588" fmla="*/ 639509 h 1090136"/>
                <a:gd name="connsiteX589" fmla="*/ 1830324 w 2636996"/>
                <a:gd name="connsiteY589" fmla="*/ 631698 h 1090136"/>
                <a:gd name="connsiteX590" fmla="*/ 1851470 w 2636996"/>
                <a:gd name="connsiteY590" fmla="*/ 640366 h 1090136"/>
                <a:gd name="connsiteX591" fmla="*/ 1864995 w 2636996"/>
                <a:gd name="connsiteY591" fmla="*/ 636270 h 1090136"/>
                <a:gd name="connsiteX592" fmla="*/ 1883188 w 2636996"/>
                <a:gd name="connsiteY592" fmla="*/ 646367 h 1090136"/>
                <a:gd name="connsiteX593" fmla="*/ 1858994 w 2636996"/>
                <a:gd name="connsiteY593" fmla="*/ 649605 h 1090136"/>
                <a:gd name="connsiteX594" fmla="*/ 1864042 w 2636996"/>
                <a:gd name="connsiteY594" fmla="*/ 657416 h 1090136"/>
                <a:gd name="connsiteX595" fmla="*/ 1884426 w 2636996"/>
                <a:gd name="connsiteY595" fmla="*/ 651415 h 1090136"/>
                <a:gd name="connsiteX596" fmla="*/ 1895380 w 2636996"/>
                <a:gd name="connsiteY596" fmla="*/ 655510 h 1090136"/>
                <a:gd name="connsiteX597" fmla="*/ 1940623 w 2636996"/>
                <a:gd name="connsiteY597" fmla="*/ 648176 h 1090136"/>
                <a:gd name="connsiteX598" fmla="*/ 1937766 w 2636996"/>
                <a:gd name="connsiteY598" fmla="*/ 640366 h 1090136"/>
                <a:gd name="connsiteX599" fmla="*/ 1919669 w 2636996"/>
                <a:gd name="connsiteY599" fmla="*/ 634651 h 1090136"/>
                <a:gd name="connsiteX600" fmla="*/ 1935671 w 2636996"/>
                <a:gd name="connsiteY600" fmla="*/ 613886 h 1090136"/>
                <a:gd name="connsiteX601" fmla="*/ 1954721 w 2636996"/>
                <a:gd name="connsiteY601" fmla="*/ 602075 h 1090136"/>
                <a:gd name="connsiteX602" fmla="*/ 1958626 w 2636996"/>
                <a:gd name="connsiteY602" fmla="*/ 592550 h 1090136"/>
                <a:gd name="connsiteX603" fmla="*/ 1969865 w 2636996"/>
                <a:gd name="connsiteY603" fmla="*/ 586073 h 1090136"/>
                <a:gd name="connsiteX604" fmla="*/ 1970532 w 2636996"/>
                <a:gd name="connsiteY604" fmla="*/ 575881 h 1090136"/>
                <a:gd name="connsiteX605" fmla="*/ 1986058 w 2636996"/>
                <a:gd name="connsiteY605" fmla="*/ 567309 h 1090136"/>
                <a:gd name="connsiteX606" fmla="*/ 2020062 w 2636996"/>
                <a:gd name="connsiteY606" fmla="*/ 563499 h 1090136"/>
                <a:gd name="connsiteX607" fmla="*/ 2026730 w 2636996"/>
                <a:gd name="connsiteY607" fmla="*/ 571595 h 1090136"/>
                <a:gd name="connsiteX608" fmla="*/ 2042541 w 2636996"/>
                <a:gd name="connsiteY608" fmla="*/ 562070 h 1090136"/>
                <a:gd name="connsiteX609" fmla="*/ 2038540 w 2636996"/>
                <a:gd name="connsiteY609" fmla="*/ 606076 h 1090136"/>
                <a:gd name="connsiteX610" fmla="*/ 2083498 w 2636996"/>
                <a:gd name="connsiteY610" fmla="*/ 571214 h 1090136"/>
                <a:gd name="connsiteX611" fmla="*/ 2101024 w 2636996"/>
                <a:gd name="connsiteY611" fmla="*/ 571214 h 1090136"/>
                <a:gd name="connsiteX612" fmla="*/ 2101024 w 2636996"/>
                <a:gd name="connsiteY612" fmla="*/ 542639 h 1090136"/>
                <a:gd name="connsiteX613" fmla="*/ 2122837 w 2636996"/>
                <a:gd name="connsiteY613" fmla="*/ 537210 h 1090136"/>
                <a:gd name="connsiteX614" fmla="*/ 2148269 w 2636996"/>
                <a:gd name="connsiteY614" fmla="*/ 545878 h 1090136"/>
                <a:gd name="connsiteX615" fmla="*/ 2125790 w 2636996"/>
                <a:gd name="connsiteY615" fmla="*/ 545878 h 1090136"/>
                <a:gd name="connsiteX616" fmla="*/ 2117884 w 2636996"/>
                <a:gd name="connsiteY616" fmla="*/ 551783 h 1090136"/>
                <a:gd name="connsiteX617" fmla="*/ 2115883 w 2636996"/>
                <a:gd name="connsiteY617" fmla="*/ 581787 h 1090136"/>
                <a:gd name="connsiteX618" fmla="*/ 2109597 w 2636996"/>
                <a:gd name="connsiteY618" fmla="*/ 596837 h 1090136"/>
                <a:gd name="connsiteX619" fmla="*/ 2074259 w 2636996"/>
                <a:gd name="connsiteY619" fmla="*/ 611410 h 1090136"/>
                <a:gd name="connsiteX620" fmla="*/ 2072354 w 2636996"/>
                <a:gd name="connsiteY620" fmla="*/ 620268 h 1090136"/>
                <a:gd name="connsiteX621" fmla="*/ 2045875 w 2636996"/>
                <a:gd name="connsiteY621" fmla="*/ 638461 h 1090136"/>
                <a:gd name="connsiteX622" fmla="*/ 2019776 w 2636996"/>
                <a:gd name="connsiteY622" fmla="*/ 662368 h 1090136"/>
                <a:gd name="connsiteX623" fmla="*/ 2021110 w 2636996"/>
                <a:gd name="connsiteY623" fmla="*/ 668369 h 1090136"/>
                <a:gd name="connsiteX624" fmla="*/ 2003965 w 2636996"/>
                <a:gd name="connsiteY624" fmla="*/ 675894 h 1090136"/>
                <a:gd name="connsiteX625" fmla="*/ 2003298 w 2636996"/>
                <a:gd name="connsiteY625" fmla="*/ 682562 h 1090136"/>
                <a:gd name="connsiteX626" fmla="*/ 1974247 w 2636996"/>
                <a:gd name="connsiteY626" fmla="*/ 686657 h 1090136"/>
                <a:gd name="connsiteX627" fmla="*/ 1971294 w 2636996"/>
                <a:gd name="connsiteY627" fmla="*/ 706469 h 1090136"/>
                <a:gd name="connsiteX628" fmla="*/ 1956054 w 2636996"/>
                <a:gd name="connsiteY628" fmla="*/ 717899 h 1090136"/>
                <a:gd name="connsiteX629" fmla="*/ 1948148 w 2636996"/>
                <a:gd name="connsiteY629" fmla="*/ 754571 h 1090136"/>
                <a:gd name="connsiteX630" fmla="*/ 1959007 w 2636996"/>
                <a:gd name="connsiteY630" fmla="*/ 822960 h 1090136"/>
                <a:gd name="connsiteX631" fmla="*/ 1969484 w 2636996"/>
                <a:gd name="connsiteY631" fmla="*/ 828580 h 1090136"/>
                <a:gd name="connsiteX632" fmla="*/ 1962722 w 2636996"/>
                <a:gd name="connsiteY632" fmla="*/ 832199 h 1090136"/>
                <a:gd name="connsiteX633" fmla="*/ 1967294 w 2636996"/>
                <a:gd name="connsiteY633" fmla="*/ 865251 h 1090136"/>
                <a:gd name="connsiteX634" fmla="*/ 1974152 w 2636996"/>
                <a:gd name="connsiteY634" fmla="*/ 863537 h 1090136"/>
                <a:gd name="connsiteX635" fmla="*/ 1970437 w 2636996"/>
                <a:gd name="connsiteY635" fmla="*/ 876586 h 1090136"/>
                <a:gd name="connsiteX636" fmla="*/ 1995488 w 2636996"/>
                <a:gd name="connsiteY636" fmla="*/ 858679 h 1090136"/>
                <a:gd name="connsiteX637" fmla="*/ 2002822 w 2636996"/>
                <a:gd name="connsiteY637" fmla="*/ 847725 h 1090136"/>
                <a:gd name="connsiteX638" fmla="*/ 2005774 w 2636996"/>
                <a:gd name="connsiteY638" fmla="*/ 817817 h 1090136"/>
                <a:gd name="connsiteX639" fmla="*/ 2029587 w 2636996"/>
                <a:gd name="connsiteY639" fmla="*/ 811339 h 1090136"/>
                <a:gd name="connsiteX640" fmla="*/ 2037779 w 2636996"/>
                <a:gd name="connsiteY640" fmla="*/ 815530 h 1090136"/>
                <a:gd name="connsiteX641" fmla="*/ 2034254 w 2636996"/>
                <a:gd name="connsiteY641" fmla="*/ 799529 h 1090136"/>
                <a:gd name="connsiteX642" fmla="*/ 2038731 w 2636996"/>
                <a:gd name="connsiteY642" fmla="*/ 785241 h 1090136"/>
                <a:gd name="connsiteX643" fmla="*/ 2053590 w 2636996"/>
                <a:gd name="connsiteY643" fmla="*/ 775716 h 1090136"/>
                <a:gd name="connsiteX644" fmla="*/ 2078736 w 2636996"/>
                <a:gd name="connsiteY644" fmla="*/ 769715 h 1090136"/>
                <a:gd name="connsiteX645" fmla="*/ 2093881 w 2636996"/>
                <a:gd name="connsiteY645" fmla="*/ 734854 h 1090136"/>
                <a:gd name="connsiteX646" fmla="*/ 2103406 w 2636996"/>
                <a:gd name="connsiteY646" fmla="*/ 730282 h 1090136"/>
                <a:gd name="connsiteX647" fmla="*/ 2091214 w 2636996"/>
                <a:gd name="connsiteY647" fmla="*/ 698563 h 1090136"/>
                <a:gd name="connsiteX648" fmla="*/ 2101787 w 2636996"/>
                <a:gd name="connsiteY648" fmla="*/ 687134 h 1090136"/>
                <a:gd name="connsiteX649" fmla="*/ 2090547 w 2636996"/>
                <a:gd name="connsiteY649" fmla="*/ 681609 h 1090136"/>
                <a:gd name="connsiteX650" fmla="*/ 2081689 w 2636996"/>
                <a:gd name="connsiteY650" fmla="*/ 686181 h 1090136"/>
                <a:gd name="connsiteX651" fmla="*/ 2075402 w 2636996"/>
                <a:gd name="connsiteY651" fmla="*/ 678847 h 1090136"/>
                <a:gd name="connsiteX652" fmla="*/ 2094452 w 2636996"/>
                <a:gd name="connsiteY652" fmla="*/ 649510 h 1090136"/>
                <a:gd name="connsiteX653" fmla="*/ 2100739 w 2636996"/>
                <a:gd name="connsiteY653" fmla="*/ 651796 h 1090136"/>
                <a:gd name="connsiteX654" fmla="*/ 2109311 w 2636996"/>
                <a:gd name="connsiteY654" fmla="*/ 624745 h 1090136"/>
                <a:gd name="connsiteX655" fmla="*/ 2132743 w 2636996"/>
                <a:gd name="connsiteY655" fmla="*/ 631603 h 1090136"/>
                <a:gd name="connsiteX656" fmla="*/ 2139410 w 2636996"/>
                <a:gd name="connsiteY656" fmla="*/ 624745 h 1090136"/>
                <a:gd name="connsiteX657" fmla="*/ 2163794 w 2636996"/>
                <a:gd name="connsiteY657" fmla="*/ 609505 h 1090136"/>
                <a:gd name="connsiteX658" fmla="*/ 2158174 w 2636996"/>
                <a:gd name="connsiteY658" fmla="*/ 630269 h 1090136"/>
                <a:gd name="connsiteX659" fmla="*/ 2167128 w 2636996"/>
                <a:gd name="connsiteY659" fmla="*/ 625602 h 1090136"/>
                <a:gd name="connsiteX660" fmla="*/ 2176653 w 2636996"/>
                <a:gd name="connsiteY660" fmla="*/ 611600 h 1090136"/>
                <a:gd name="connsiteX661" fmla="*/ 2191512 w 2636996"/>
                <a:gd name="connsiteY661" fmla="*/ 607885 h 1090136"/>
                <a:gd name="connsiteX662" fmla="*/ 2220087 w 2636996"/>
                <a:gd name="connsiteY662" fmla="*/ 605695 h 1090136"/>
                <a:gd name="connsiteX663" fmla="*/ 2240566 w 2636996"/>
                <a:gd name="connsiteY663" fmla="*/ 627983 h 1090136"/>
                <a:gd name="connsiteX664" fmla="*/ 2245805 w 2636996"/>
                <a:gd name="connsiteY664" fmla="*/ 611029 h 1090136"/>
                <a:gd name="connsiteX665" fmla="*/ 2275523 w 2636996"/>
                <a:gd name="connsiteY665" fmla="*/ 598170 h 1090136"/>
                <a:gd name="connsiteX666" fmla="*/ 2275523 w 2636996"/>
                <a:gd name="connsiteY666" fmla="*/ 590074 h 1090136"/>
                <a:gd name="connsiteX667" fmla="*/ 2290000 w 2636996"/>
                <a:gd name="connsiteY667" fmla="*/ 575786 h 1090136"/>
                <a:gd name="connsiteX668" fmla="*/ 2326672 w 2636996"/>
                <a:gd name="connsiteY668" fmla="*/ 561689 h 1090136"/>
                <a:gd name="connsiteX669" fmla="*/ 2338007 w 2636996"/>
                <a:gd name="connsiteY669" fmla="*/ 563594 h 1090136"/>
                <a:gd name="connsiteX670" fmla="*/ 2339912 w 2636996"/>
                <a:gd name="connsiteY670" fmla="*/ 555784 h 1090136"/>
                <a:gd name="connsiteX671" fmla="*/ 2375249 w 2636996"/>
                <a:gd name="connsiteY671" fmla="*/ 543211 h 1090136"/>
                <a:gd name="connsiteX672" fmla="*/ 2373440 w 2636996"/>
                <a:gd name="connsiteY672" fmla="*/ 533686 h 1090136"/>
                <a:gd name="connsiteX673" fmla="*/ 2381441 w 2636996"/>
                <a:gd name="connsiteY673" fmla="*/ 543211 h 1090136"/>
                <a:gd name="connsiteX674" fmla="*/ 2393633 w 2636996"/>
                <a:gd name="connsiteY674" fmla="*/ 544068 h 1090136"/>
                <a:gd name="connsiteX675" fmla="*/ 2414683 w 2636996"/>
                <a:gd name="connsiteY675" fmla="*/ 552641 h 1090136"/>
                <a:gd name="connsiteX676" fmla="*/ 2408111 w 2636996"/>
                <a:gd name="connsiteY676" fmla="*/ 509111 h 1090136"/>
                <a:gd name="connsiteX677" fmla="*/ 2396585 w 2636996"/>
                <a:gd name="connsiteY677" fmla="*/ 482822 h 1090136"/>
                <a:gd name="connsiteX678" fmla="*/ 2380012 w 2636996"/>
                <a:gd name="connsiteY678" fmla="*/ 471583 h 1090136"/>
                <a:gd name="connsiteX679" fmla="*/ 2355914 w 2636996"/>
                <a:gd name="connsiteY679" fmla="*/ 479584 h 1090136"/>
                <a:gd name="connsiteX680" fmla="*/ 2352104 w 2636996"/>
                <a:gd name="connsiteY680" fmla="*/ 468439 h 1090136"/>
                <a:gd name="connsiteX681" fmla="*/ 2371154 w 2636996"/>
                <a:gd name="connsiteY681" fmla="*/ 470154 h 1090136"/>
                <a:gd name="connsiteX682" fmla="*/ 2360581 w 2636996"/>
                <a:gd name="connsiteY682" fmla="*/ 457962 h 1090136"/>
                <a:gd name="connsiteX683" fmla="*/ 2408206 w 2636996"/>
                <a:gd name="connsiteY683" fmla="*/ 474250 h 1090136"/>
                <a:gd name="connsiteX684" fmla="*/ 2406491 w 2636996"/>
                <a:gd name="connsiteY684" fmla="*/ 483775 h 1090136"/>
                <a:gd name="connsiteX685" fmla="*/ 2423065 w 2636996"/>
                <a:gd name="connsiteY685" fmla="*/ 470630 h 1090136"/>
                <a:gd name="connsiteX686" fmla="*/ 2436971 w 2636996"/>
                <a:gd name="connsiteY686" fmla="*/ 434150 h 1090136"/>
                <a:gd name="connsiteX687" fmla="*/ 2449544 w 2636996"/>
                <a:gd name="connsiteY687" fmla="*/ 419100 h 1090136"/>
                <a:gd name="connsiteX688" fmla="*/ 2462022 w 2636996"/>
                <a:gd name="connsiteY688" fmla="*/ 448151 h 1090136"/>
                <a:gd name="connsiteX689" fmla="*/ 2491454 w 2636996"/>
                <a:gd name="connsiteY689" fmla="*/ 444913 h 1090136"/>
                <a:gd name="connsiteX690" fmla="*/ 2510504 w 2636996"/>
                <a:gd name="connsiteY690" fmla="*/ 449199 h 1090136"/>
                <a:gd name="connsiteX691" fmla="*/ 2522696 w 2636996"/>
                <a:gd name="connsiteY691" fmla="*/ 471773 h 1090136"/>
                <a:gd name="connsiteX692" fmla="*/ 2546509 w 2636996"/>
                <a:gd name="connsiteY692" fmla="*/ 475488 h 1090136"/>
                <a:gd name="connsiteX693" fmla="*/ 2558415 w 2636996"/>
                <a:gd name="connsiteY693" fmla="*/ 485680 h 1090136"/>
                <a:gd name="connsiteX694" fmla="*/ 2563654 w 2636996"/>
                <a:gd name="connsiteY694" fmla="*/ 477107 h 1090136"/>
                <a:gd name="connsiteX695" fmla="*/ 2571083 w 2636996"/>
                <a:gd name="connsiteY695" fmla="*/ 485870 h 1090136"/>
                <a:gd name="connsiteX696" fmla="*/ 2574893 w 2636996"/>
                <a:gd name="connsiteY696" fmla="*/ 442150 h 1090136"/>
                <a:gd name="connsiteX697" fmla="*/ 2600992 w 2636996"/>
                <a:gd name="connsiteY697" fmla="*/ 437864 h 1090136"/>
                <a:gd name="connsiteX698" fmla="*/ 2620804 w 2636996"/>
                <a:gd name="connsiteY698" fmla="*/ 443293 h 1090136"/>
                <a:gd name="connsiteX699" fmla="*/ 2636996 w 2636996"/>
                <a:gd name="connsiteY699" fmla="*/ 428244 h 109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Lst>
              <a:rect l="l" t="t" r="r" b="b"/>
              <a:pathLst>
                <a:path w="2636996" h="1090136">
                  <a:moveTo>
                    <a:pt x="2618137" y="424815"/>
                  </a:moveTo>
                  <a:lnTo>
                    <a:pt x="2596610" y="401669"/>
                  </a:lnTo>
                  <a:lnTo>
                    <a:pt x="2582799" y="402241"/>
                  </a:lnTo>
                  <a:lnTo>
                    <a:pt x="2558034" y="395764"/>
                  </a:lnTo>
                  <a:lnTo>
                    <a:pt x="2541937" y="422720"/>
                  </a:lnTo>
                  <a:lnTo>
                    <a:pt x="2523744" y="388810"/>
                  </a:lnTo>
                  <a:lnTo>
                    <a:pt x="2525363" y="378619"/>
                  </a:lnTo>
                  <a:lnTo>
                    <a:pt x="2491454" y="362903"/>
                  </a:lnTo>
                  <a:lnTo>
                    <a:pt x="2487740" y="366331"/>
                  </a:lnTo>
                  <a:lnTo>
                    <a:pt x="2485454" y="360997"/>
                  </a:lnTo>
                  <a:lnTo>
                    <a:pt x="2479167" y="361950"/>
                  </a:lnTo>
                  <a:lnTo>
                    <a:pt x="2481739" y="358140"/>
                  </a:lnTo>
                  <a:lnTo>
                    <a:pt x="2466594" y="350901"/>
                  </a:lnTo>
                  <a:lnTo>
                    <a:pt x="2466594" y="359283"/>
                  </a:lnTo>
                  <a:lnTo>
                    <a:pt x="2458593" y="347091"/>
                  </a:lnTo>
                  <a:lnTo>
                    <a:pt x="2418112" y="326993"/>
                  </a:lnTo>
                  <a:lnTo>
                    <a:pt x="2403348" y="330327"/>
                  </a:lnTo>
                  <a:lnTo>
                    <a:pt x="2409063" y="323659"/>
                  </a:lnTo>
                  <a:lnTo>
                    <a:pt x="2367534" y="314134"/>
                  </a:lnTo>
                  <a:lnTo>
                    <a:pt x="2355342" y="307181"/>
                  </a:lnTo>
                  <a:lnTo>
                    <a:pt x="2310860" y="304324"/>
                  </a:lnTo>
                  <a:lnTo>
                    <a:pt x="2299716" y="306514"/>
                  </a:lnTo>
                  <a:lnTo>
                    <a:pt x="2297906" y="312515"/>
                  </a:lnTo>
                  <a:lnTo>
                    <a:pt x="2291144" y="307181"/>
                  </a:lnTo>
                  <a:lnTo>
                    <a:pt x="2272094" y="303371"/>
                  </a:lnTo>
                  <a:lnTo>
                    <a:pt x="2236089" y="300133"/>
                  </a:lnTo>
                  <a:lnTo>
                    <a:pt x="2233232" y="306038"/>
                  </a:lnTo>
                  <a:lnTo>
                    <a:pt x="2244376" y="318135"/>
                  </a:lnTo>
                  <a:lnTo>
                    <a:pt x="2245995" y="343662"/>
                  </a:lnTo>
                  <a:lnTo>
                    <a:pt x="2225516" y="342614"/>
                  </a:lnTo>
                  <a:lnTo>
                    <a:pt x="2203609" y="323564"/>
                  </a:lnTo>
                  <a:lnTo>
                    <a:pt x="2211324" y="307562"/>
                  </a:lnTo>
                  <a:lnTo>
                    <a:pt x="2195798" y="313849"/>
                  </a:lnTo>
                  <a:lnTo>
                    <a:pt x="2172081" y="323374"/>
                  </a:lnTo>
                  <a:lnTo>
                    <a:pt x="2125504" y="316421"/>
                  </a:lnTo>
                  <a:lnTo>
                    <a:pt x="2115217" y="311087"/>
                  </a:lnTo>
                  <a:lnTo>
                    <a:pt x="2084737" y="314611"/>
                  </a:lnTo>
                  <a:lnTo>
                    <a:pt x="2064925" y="324136"/>
                  </a:lnTo>
                  <a:lnTo>
                    <a:pt x="2057305" y="351472"/>
                  </a:lnTo>
                  <a:lnTo>
                    <a:pt x="2056352" y="317659"/>
                  </a:lnTo>
                  <a:lnTo>
                    <a:pt x="2031206" y="312801"/>
                  </a:lnTo>
                  <a:lnTo>
                    <a:pt x="2038445" y="292703"/>
                  </a:lnTo>
                  <a:lnTo>
                    <a:pt x="2021681" y="271463"/>
                  </a:lnTo>
                  <a:lnTo>
                    <a:pt x="1996440" y="259651"/>
                  </a:lnTo>
                  <a:lnTo>
                    <a:pt x="1956149" y="257651"/>
                  </a:lnTo>
                  <a:lnTo>
                    <a:pt x="1948053" y="265557"/>
                  </a:lnTo>
                  <a:lnTo>
                    <a:pt x="1922240" y="265557"/>
                  </a:lnTo>
                  <a:lnTo>
                    <a:pt x="1888617" y="272796"/>
                  </a:lnTo>
                  <a:lnTo>
                    <a:pt x="1867090" y="250317"/>
                  </a:lnTo>
                  <a:lnTo>
                    <a:pt x="1838515" y="256222"/>
                  </a:lnTo>
                  <a:lnTo>
                    <a:pt x="1851089" y="244412"/>
                  </a:lnTo>
                  <a:lnTo>
                    <a:pt x="1837563" y="237744"/>
                  </a:lnTo>
                  <a:lnTo>
                    <a:pt x="1814798" y="237744"/>
                  </a:lnTo>
                  <a:lnTo>
                    <a:pt x="1838515" y="226504"/>
                  </a:lnTo>
                  <a:lnTo>
                    <a:pt x="1828990" y="217932"/>
                  </a:lnTo>
                  <a:lnTo>
                    <a:pt x="1803845" y="211931"/>
                  </a:lnTo>
                  <a:lnTo>
                    <a:pt x="1784795" y="211931"/>
                  </a:lnTo>
                  <a:lnTo>
                    <a:pt x="1762887" y="235172"/>
                  </a:lnTo>
                  <a:lnTo>
                    <a:pt x="1739170" y="237268"/>
                  </a:lnTo>
                  <a:lnTo>
                    <a:pt x="1758220" y="230314"/>
                  </a:lnTo>
                  <a:lnTo>
                    <a:pt x="1776127" y="210503"/>
                  </a:lnTo>
                  <a:lnTo>
                    <a:pt x="1722215" y="198596"/>
                  </a:lnTo>
                  <a:lnTo>
                    <a:pt x="1710785" y="220218"/>
                  </a:lnTo>
                  <a:lnTo>
                    <a:pt x="1710785" y="196501"/>
                  </a:lnTo>
                  <a:lnTo>
                    <a:pt x="1677448" y="194500"/>
                  </a:lnTo>
                  <a:lnTo>
                    <a:pt x="1653349" y="187928"/>
                  </a:lnTo>
                  <a:lnTo>
                    <a:pt x="1644396" y="215741"/>
                  </a:lnTo>
                  <a:lnTo>
                    <a:pt x="1627251" y="225266"/>
                  </a:lnTo>
                  <a:lnTo>
                    <a:pt x="1641157" y="244316"/>
                  </a:lnTo>
                  <a:lnTo>
                    <a:pt x="1615059" y="237077"/>
                  </a:lnTo>
                  <a:lnTo>
                    <a:pt x="1600486" y="244983"/>
                  </a:lnTo>
                  <a:lnTo>
                    <a:pt x="1600486" y="258889"/>
                  </a:lnTo>
                  <a:lnTo>
                    <a:pt x="1588961" y="248317"/>
                  </a:lnTo>
                  <a:lnTo>
                    <a:pt x="1558195" y="238411"/>
                  </a:lnTo>
                  <a:lnTo>
                    <a:pt x="1534382" y="252984"/>
                  </a:lnTo>
                  <a:lnTo>
                    <a:pt x="1496282" y="225838"/>
                  </a:lnTo>
                  <a:lnTo>
                    <a:pt x="1462278" y="274130"/>
                  </a:lnTo>
                  <a:lnTo>
                    <a:pt x="1434846" y="260223"/>
                  </a:lnTo>
                  <a:lnTo>
                    <a:pt x="1432941" y="235077"/>
                  </a:lnTo>
                  <a:lnTo>
                    <a:pt x="1423416" y="223171"/>
                  </a:lnTo>
                  <a:lnTo>
                    <a:pt x="1421035" y="234410"/>
                  </a:lnTo>
                  <a:lnTo>
                    <a:pt x="1395698" y="209836"/>
                  </a:lnTo>
                  <a:lnTo>
                    <a:pt x="1387507" y="185452"/>
                  </a:lnTo>
                  <a:lnTo>
                    <a:pt x="1383506" y="223552"/>
                  </a:lnTo>
                  <a:lnTo>
                    <a:pt x="1388173" y="248031"/>
                  </a:lnTo>
                  <a:lnTo>
                    <a:pt x="1370362" y="209836"/>
                  </a:lnTo>
                  <a:lnTo>
                    <a:pt x="1355122" y="209836"/>
                  </a:lnTo>
                  <a:lnTo>
                    <a:pt x="1344073" y="202787"/>
                  </a:lnTo>
                  <a:lnTo>
                    <a:pt x="1367885" y="197834"/>
                  </a:lnTo>
                  <a:lnTo>
                    <a:pt x="1353503" y="185452"/>
                  </a:lnTo>
                  <a:lnTo>
                    <a:pt x="1373600" y="170117"/>
                  </a:lnTo>
                  <a:lnTo>
                    <a:pt x="1342644" y="174022"/>
                  </a:lnTo>
                  <a:lnTo>
                    <a:pt x="1330642" y="152686"/>
                  </a:lnTo>
                  <a:lnTo>
                    <a:pt x="1320451" y="171736"/>
                  </a:lnTo>
                  <a:lnTo>
                    <a:pt x="1303401" y="173831"/>
                  </a:lnTo>
                  <a:lnTo>
                    <a:pt x="1317022" y="194596"/>
                  </a:lnTo>
                  <a:lnTo>
                    <a:pt x="1288447" y="189357"/>
                  </a:lnTo>
                  <a:lnTo>
                    <a:pt x="1284637" y="178499"/>
                  </a:lnTo>
                  <a:lnTo>
                    <a:pt x="1273397" y="187071"/>
                  </a:lnTo>
                  <a:lnTo>
                    <a:pt x="1250537" y="186214"/>
                  </a:lnTo>
                  <a:lnTo>
                    <a:pt x="1242060" y="173831"/>
                  </a:lnTo>
                  <a:lnTo>
                    <a:pt x="1233488" y="184690"/>
                  </a:lnTo>
                  <a:lnTo>
                    <a:pt x="1212152" y="174593"/>
                  </a:lnTo>
                  <a:lnTo>
                    <a:pt x="1216723" y="161354"/>
                  </a:lnTo>
                  <a:lnTo>
                    <a:pt x="1153382" y="151829"/>
                  </a:lnTo>
                  <a:lnTo>
                    <a:pt x="1118616" y="157163"/>
                  </a:lnTo>
                  <a:lnTo>
                    <a:pt x="1117378" y="198692"/>
                  </a:lnTo>
                  <a:lnTo>
                    <a:pt x="1107853" y="148400"/>
                  </a:lnTo>
                  <a:lnTo>
                    <a:pt x="1090422" y="155734"/>
                  </a:lnTo>
                  <a:lnTo>
                    <a:pt x="1071372" y="149066"/>
                  </a:lnTo>
                  <a:lnTo>
                    <a:pt x="1012888" y="174879"/>
                  </a:lnTo>
                  <a:lnTo>
                    <a:pt x="973264" y="176213"/>
                  </a:lnTo>
                  <a:lnTo>
                    <a:pt x="947928" y="192119"/>
                  </a:lnTo>
                  <a:lnTo>
                    <a:pt x="967645" y="170497"/>
                  </a:lnTo>
                  <a:lnTo>
                    <a:pt x="982218" y="168497"/>
                  </a:lnTo>
                  <a:lnTo>
                    <a:pt x="989171" y="158972"/>
                  </a:lnTo>
                  <a:lnTo>
                    <a:pt x="1007364" y="158305"/>
                  </a:lnTo>
                  <a:lnTo>
                    <a:pt x="1027462" y="143161"/>
                  </a:lnTo>
                  <a:lnTo>
                    <a:pt x="1042606" y="141065"/>
                  </a:lnTo>
                  <a:lnTo>
                    <a:pt x="1045273" y="136398"/>
                  </a:lnTo>
                  <a:lnTo>
                    <a:pt x="1036701" y="132493"/>
                  </a:lnTo>
                  <a:lnTo>
                    <a:pt x="1072229" y="114205"/>
                  </a:lnTo>
                  <a:lnTo>
                    <a:pt x="1081754" y="118015"/>
                  </a:lnTo>
                  <a:lnTo>
                    <a:pt x="1117568" y="97631"/>
                  </a:lnTo>
                  <a:lnTo>
                    <a:pt x="1118711" y="90202"/>
                  </a:lnTo>
                  <a:lnTo>
                    <a:pt x="1111853" y="87821"/>
                  </a:lnTo>
                  <a:lnTo>
                    <a:pt x="1117282" y="83153"/>
                  </a:lnTo>
                  <a:lnTo>
                    <a:pt x="1103662" y="62865"/>
                  </a:lnTo>
                  <a:lnTo>
                    <a:pt x="1081849" y="51625"/>
                  </a:lnTo>
                  <a:lnTo>
                    <a:pt x="1067276" y="35052"/>
                  </a:lnTo>
                  <a:lnTo>
                    <a:pt x="1046512" y="42672"/>
                  </a:lnTo>
                  <a:lnTo>
                    <a:pt x="1032986" y="35052"/>
                  </a:lnTo>
                  <a:lnTo>
                    <a:pt x="1004411" y="35719"/>
                  </a:lnTo>
                  <a:lnTo>
                    <a:pt x="1003078" y="43720"/>
                  </a:lnTo>
                  <a:lnTo>
                    <a:pt x="973741" y="44387"/>
                  </a:lnTo>
                  <a:lnTo>
                    <a:pt x="995553" y="27813"/>
                  </a:lnTo>
                  <a:lnTo>
                    <a:pt x="982028" y="23146"/>
                  </a:lnTo>
                  <a:lnTo>
                    <a:pt x="955834" y="29623"/>
                  </a:lnTo>
                  <a:lnTo>
                    <a:pt x="929354" y="24955"/>
                  </a:lnTo>
                  <a:lnTo>
                    <a:pt x="955834" y="17050"/>
                  </a:lnTo>
                  <a:lnTo>
                    <a:pt x="960501" y="10573"/>
                  </a:lnTo>
                  <a:lnTo>
                    <a:pt x="971740" y="10573"/>
                  </a:lnTo>
                  <a:lnTo>
                    <a:pt x="963168" y="2667"/>
                  </a:lnTo>
                  <a:lnTo>
                    <a:pt x="907352" y="0"/>
                  </a:lnTo>
                  <a:lnTo>
                    <a:pt x="865537" y="26479"/>
                  </a:lnTo>
                  <a:lnTo>
                    <a:pt x="865537" y="35433"/>
                  </a:lnTo>
                  <a:lnTo>
                    <a:pt x="888302" y="50959"/>
                  </a:lnTo>
                  <a:lnTo>
                    <a:pt x="864489" y="45244"/>
                  </a:lnTo>
                  <a:lnTo>
                    <a:pt x="824103" y="45244"/>
                  </a:lnTo>
                  <a:lnTo>
                    <a:pt x="845153" y="61722"/>
                  </a:lnTo>
                  <a:lnTo>
                    <a:pt x="851154" y="98108"/>
                  </a:lnTo>
                  <a:lnTo>
                    <a:pt x="829628" y="82963"/>
                  </a:lnTo>
                  <a:lnTo>
                    <a:pt x="823722" y="54388"/>
                  </a:lnTo>
                  <a:lnTo>
                    <a:pt x="804672" y="65627"/>
                  </a:lnTo>
                  <a:lnTo>
                    <a:pt x="777526" y="70199"/>
                  </a:lnTo>
                  <a:lnTo>
                    <a:pt x="760095" y="69533"/>
                  </a:lnTo>
                  <a:lnTo>
                    <a:pt x="765048" y="60008"/>
                  </a:lnTo>
                  <a:lnTo>
                    <a:pt x="738283" y="63341"/>
                  </a:lnTo>
                  <a:lnTo>
                    <a:pt x="712184" y="61341"/>
                  </a:lnTo>
                  <a:lnTo>
                    <a:pt x="706850" y="69247"/>
                  </a:lnTo>
                  <a:lnTo>
                    <a:pt x="730377" y="68675"/>
                  </a:lnTo>
                  <a:lnTo>
                    <a:pt x="719423" y="76200"/>
                  </a:lnTo>
                  <a:lnTo>
                    <a:pt x="692944" y="77057"/>
                  </a:lnTo>
                  <a:lnTo>
                    <a:pt x="683419" y="72104"/>
                  </a:lnTo>
                  <a:lnTo>
                    <a:pt x="679513" y="83439"/>
                  </a:lnTo>
                  <a:lnTo>
                    <a:pt x="634555" y="85154"/>
                  </a:lnTo>
                  <a:lnTo>
                    <a:pt x="613029" y="99441"/>
                  </a:lnTo>
                  <a:lnTo>
                    <a:pt x="597789" y="100489"/>
                  </a:lnTo>
                  <a:lnTo>
                    <a:pt x="601694" y="109252"/>
                  </a:lnTo>
                  <a:lnTo>
                    <a:pt x="589312" y="120872"/>
                  </a:lnTo>
                  <a:lnTo>
                    <a:pt x="567500" y="116300"/>
                  </a:lnTo>
                  <a:lnTo>
                    <a:pt x="567500" y="143446"/>
                  </a:lnTo>
                  <a:lnTo>
                    <a:pt x="583311" y="177546"/>
                  </a:lnTo>
                  <a:lnTo>
                    <a:pt x="570262" y="164116"/>
                  </a:lnTo>
                  <a:lnTo>
                    <a:pt x="560737" y="170307"/>
                  </a:lnTo>
                  <a:lnTo>
                    <a:pt x="566642" y="149162"/>
                  </a:lnTo>
                  <a:lnTo>
                    <a:pt x="554831" y="159449"/>
                  </a:lnTo>
                  <a:lnTo>
                    <a:pt x="523875" y="153829"/>
                  </a:lnTo>
                  <a:lnTo>
                    <a:pt x="462725" y="164116"/>
                  </a:lnTo>
                  <a:lnTo>
                    <a:pt x="468535" y="196405"/>
                  </a:lnTo>
                  <a:lnTo>
                    <a:pt x="492919" y="207264"/>
                  </a:lnTo>
                  <a:lnTo>
                    <a:pt x="495395" y="220313"/>
                  </a:lnTo>
                  <a:lnTo>
                    <a:pt x="523970" y="239363"/>
                  </a:lnTo>
                  <a:lnTo>
                    <a:pt x="504920" y="276511"/>
                  </a:lnTo>
                  <a:lnTo>
                    <a:pt x="514445" y="300895"/>
                  </a:lnTo>
                  <a:lnTo>
                    <a:pt x="493014" y="280702"/>
                  </a:lnTo>
                  <a:lnTo>
                    <a:pt x="513397" y="242602"/>
                  </a:lnTo>
                  <a:lnTo>
                    <a:pt x="484060" y="235267"/>
                  </a:lnTo>
                  <a:lnTo>
                    <a:pt x="465010" y="215455"/>
                  </a:lnTo>
                  <a:lnTo>
                    <a:pt x="422338" y="208121"/>
                  </a:lnTo>
                  <a:lnTo>
                    <a:pt x="414147" y="228695"/>
                  </a:lnTo>
                  <a:lnTo>
                    <a:pt x="390334" y="222028"/>
                  </a:lnTo>
                  <a:lnTo>
                    <a:pt x="372523" y="227362"/>
                  </a:lnTo>
                  <a:lnTo>
                    <a:pt x="377476" y="240601"/>
                  </a:lnTo>
                  <a:lnTo>
                    <a:pt x="402526" y="251841"/>
                  </a:lnTo>
                  <a:lnTo>
                    <a:pt x="412051" y="249174"/>
                  </a:lnTo>
                  <a:lnTo>
                    <a:pt x="420624" y="267081"/>
                  </a:lnTo>
                  <a:lnTo>
                    <a:pt x="433768" y="263080"/>
                  </a:lnTo>
                  <a:lnTo>
                    <a:pt x="418909" y="278225"/>
                  </a:lnTo>
                  <a:lnTo>
                    <a:pt x="405479" y="257461"/>
                  </a:lnTo>
                  <a:lnTo>
                    <a:pt x="361188" y="251555"/>
                  </a:lnTo>
                  <a:lnTo>
                    <a:pt x="362902" y="232505"/>
                  </a:lnTo>
                  <a:lnTo>
                    <a:pt x="352330" y="188214"/>
                  </a:lnTo>
                  <a:lnTo>
                    <a:pt x="348520" y="220123"/>
                  </a:lnTo>
                  <a:lnTo>
                    <a:pt x="323279" y="230505"/>
                  </a:lnTo>
                  <a:lnTo>
                    <a:pt x="313087" y="246793"/>
                  </a:lnTo>
                  <a:lnTo>
                    <a:pt x="338518" y="275939"/>
                  </a:lnTo>
                  <a:lnTo>
                    <a:pt x="323755" y="301752"/>
                  </a:lnTo>
                  <a:lnTo>
                    <a:pt x="328613" y="331280"/>
                  </a:lnTo>
                  <a:lnTo>
                    <a:pt x="363664" y="326993"/>
                  </a:lnTo>
                  <a:lnTo>
                    <a:pt x="404527" y="338804"/>
                  </a:lnTo>
                  <a:lnTo>
                    <a:pt x="403765" y="368141"/>
                  </a:lnTo>
                  <a:lnTo>
                    <a:pt x="432340" y="381857"/>
                  </a:lnTo>
                  <a:lnTo>
                    <a:pt x="405479" y="381857"/>
                  </a:lnTo>
                  <a:lnTo>
                    <a:pt x="393859" y="374809"/>
                  </a:lnTo>
                  <a:lnTo>
                    <a:pt x="394906" y="351377"/>
                  </a:lnTo>
                  <a:lnTo>
                    <a:pt x="379762" y="338709"/>
                  </a:lnTo>
                  <a:lnTo>
                    <a:pt x="335471" y="347091"/>
                  </a:lnTo>
                  <a:lnTo>
                    <a:pt x="346900" y="378047"/>
                  </a:lnTo>
                  <a:lnTo>
                    <a:pt x="329470" y="400336"/>
                  </a:lnTo>
                  <a:lnTo>
                    <a:pt x="302133" y="412718"/>
                  </a:lnTo>
                  <a:lnTo>
                    <a:pt x="292608" y="425101"/>
                  </a:lnTo>
                  <a:lnTo>
                    <a:pt x="240697" y="415576"/>
                  </a:lnTo>
                  <a:lnTo>
                    <a:pt x="234125" y="401860"/>
                  </a:lnTo>
                  <a:lnTo>
                    <a:pt x="270224" y="407765"/>
                  </a:lnTo>
                  <a:lnTo>
                    <a:pt x="309943" y="372523"/>
                  </a:lnTo>
                  <a:lnTo>
                    <a:pt x="305276" y="359950"/>
                  </a:lnTo>
                  <a:lnTo>
                    <a:pt x="318230" y="351472"/>
                  </a:lnTo>
                  <a:lnTo>
                    <a:pt x="303562" y="336137"/>
                  </a:lnTo>
                  <a:lnTo>
                    <a:pt x="300895" y="292417"/>
                  </a:lnTo>
                  <a:lnTo>
                    <a:pt x="309181" y="268605"/>
                  </a:lnTo>
                  <a:lnTo>
                    <a:pt x="288703" y="244792"/>
                  </a:lnTo>
                  <a:lnTo>
                    <a:pt x="310134" y="212408"/>
                  </a:lnTo>
                  <a:lnTo>
                    <a:pt x="309181" y="195834"/>
                  </a:lnTo>
                  <a:lnTo>
                    <a:pt x="243840" y="185261"/>
                  </a:lnTo>
                  <a:lnTo>
                    <a:pt x="232886" y="197167"/>
                  </a:lnTo>
                  <a:lnTo>
                    <a:pt x="220313" y="236887"/>
                  </a:lnTo>
                  <a:lnTo>
                    <a:pt x="183166" y="262795"/>
                  </a:lnTo>
                  <a:lnTo>
                    <a:pt x="199644" y="270129"/>
                  </a:lnTo>
                  <a:lnTo>
                    <a:pt x="189643" y="317754"/>
                  </a:lnTo>
                  <a:lnTo>
                    <a:pt x="215455" y="318230"/>
                  </a:lnTo>
                  <a:lnTo>
                    <a:pt x="222694" y="336518"/>
                  </a:lnTo>
                  <a:lnTo>
                    <a:pt x="237554" y="337566"/>
                  </a:lnTo>
                  <a:lnTo>
                    <a:pt x="226314" y="358045"/>
                  </a:lnTo>
                  <a:lnTo>
                    <a:pt x="218027" y="358045"/>
                  </a:lnTo>
                  <a:lnTo>
                    <a:pt x="195929" y="340328"/>
                  </a:lnTo>
                  <a:lnTo>
                    <a:pt x="151733" y="324517"/>
                  </a:lnTo>
                  <a:lnTo>
                    <a:pt x="146875" y="341757"/>
                  </a:lnTo>
                  <a:lnTo>
                    <a:pt x="167354" y="352425"/>
                  </a:lnTo>
                  <a:lnTo>
                    <a:pt x="160401" y="373094"/>
                  </a:lnTo>
                  <a:lnTo>
                    <a:pt x="174403" y="373761"/>
                  </a:lnTo>
                  <a:lnTo>
                    <a:pt x="179070" y="380333"/>
                  </a:lnTo>
                  <a:lnTo>
                    <a:pt x="173164" y="386239"/>
                  </a:lnTo>
                  <a:lnTo>
                    <a:pt x="177165" y="389668"/>
                  </a:lnTo>
                  <a:lnTo>
                    <a:pt x="159163" y="402336"/>
                  </a:lnTo>
                  <a:lnTo>
                    <a:pt x="157258" y="409480"/>
                  </a:lnTo>
                  <a:lnTo>
                    <a:pt x="121539" y="426625"/>
                  </a:lnTo>
                  <a:lnTo>
                    <a:pt x="111157" y="443293"/>
                  </a:lnTo>
                  <a:lnTo>
                    <a:pt x="93154" y="448628"/>
                  </a:lnTo>
                  <a:lnTo>
                    <a:pt x="82486" y="458153"/>
                  </a:lnTo>
                  <a:lnTo>
                    <a:pt x="84963" y="463867"/>
                  </a:lnTo>
                  <a:lnTo>
                    <a:pt x="69723" y="471773"/>
                  </a:lnTo>
                  <a:lnTo>
                    <a:pt x="60674" y="465106"/>
                  </a:lnTo>
                  <a:lnTo>
                    <a:pt x="48577" y="477107"/>
                  </a:lnTo>
                  <a:lnTo>
                    <a:pt x="48577" y="490633"/>
                  </a:lnTo>
                  <a:lnTo>
                    <a:pt x="55150" y="493109"/>
                  </a:lnTo>
                  <a:lnTo>
                    <a:pt x="45625" y="503587"/>
                  </a:lnTo>
                  <a:lnTo>
                    <a:pt x="40291" y="528828"/>
                  </a:lnTo>
                  <a:lnTo>
                    <a:pt x="43720" y="542258"/>
                  </a:lnTo>
                  <a:lnTo>
                    <a:pt x="52578" y="544639"/>
                  </a:lnTo>
                  <a:lnTo>
                    <a:pt x="43910" y="557022"/>
                  </a:lnTo>
                  <a:lnTo>
                    <a:pt x="47244" y="573881"/>
                  </a:lnTo>
                  <a:lnTo>
                    <a:pt x="40291" y="579882"/>
                  </a:lnTo>
                  <a:lnTo>
                    <a:pt x="45148" y="602075"/>
                  </a:lnTo>
                  <a:lnTo>
                    <a:pt x="39433" y="610838"/>
                  </a:lnTo>
                  <a:lnTo>
                    <a:pt x="36576" y="622173"/>
                  </a:lnTo>
                  <a:lnTo>
                    <a:pt x="26003" y="630079"/>
                  </a:lnTo>
                  <a:lnTo>
                    <a:pt x="23908" y="637318"/>
                  </a:lnTo>
                  <a:lnTo>
                    <a:pt x="37814" y="646271"/>
                  </a:lnTo>
                  <a:lnTo>
                    <a:pt x="36576" y="660178"/>
                  </a:lnTo>
                  <a:lnTo>
                    <a:pt x="44672" y="662178"/>
                  </a:lnTo>
                  <a:lnTo>
                    <a:pt x="40481" y="673513"/>
                  </a:lnTo>
                  <a:lnTo>
                    <a:pt x="34195" y="672846"/>
                  </a:lnTo>
                  <a:lnTo>
                    <a:pt x="27718" y="679228"/>
                  </a:lnTo>
                  <a:lnTo>
                    <a:pt x="36100" y="690181"/>
                  </a:lnTo>
                  <a:lnTo>
                    <a:pt x="28384" y="695801"/>
                  </a:lnTo>
                  <a:lnTo>
                    <a:pt x="23717" y="691801"/>
                  </a:lnTo>
                  <a:lnTo>
                    <a:pt x="17526" y="691801"/>
                  </a:lnTo>
                  <a:lnTo>
                    <a:pt x="14383" y="701993"/>
                  </a:lnTo>
                  <a:lnTo>
                    <a:pt x="20955" y="710470"/>
                  </a:lnTo>
                  <a:lnTo>
                    <a:pt x="1905" y="716375"/>
                  </a:lnTo>
                  <a:lnTo>
                    <a:pt x="476" y="721424"/>
                  </a:lnTo>
                  <a:lnTo>
                    <a:pt x="5429" y="723995"/>
                  </a:lnTo>
                  <a:lnTo>
                    <a:pt x="7906" y="736854"/>
                  </a:lnTo>
                  <a:lnTo>
                    <a:pt x="30861" y="736854"/>
                  </a:lnTo>
                  <a:lnTo>
                    <a:pt x="36862" y="733711"/>
                  </a:lnTo>
                  <a:lnTo>
                    <a:pt x="44863" y="736473"/>
                  </a:lnTo>
                  <a:lnTo>
                    <a:pt x="37243" y="744474"/>
                  </a:lnTo>
                  <a:lnTo>
                    <a:pt x="49721" y="749427"/>
                  </a:lnTo>
                  <a:lnTo>
                    <a:pt x="49721" y="753523"/>
                  </a:lnTo>
                  <a:lnTo>
                    <a:pt x="41624" y="755904"/>
                  </a:lnTo>
                  <a:lnTo>
                    <a:pt x="37433" y="760667"/>
                  </a:lnTo>
                  <a:lnTo>
                    <a:pt x="29908" y="759809"/>
                  </a:lnTo>
                  <a:lnTo>
                    <a:pt x="32956" y="767334"/>
                  </a:lnTo>
                  <a:lnTo>
                    <a:pt x="29813" y="770192"/>
                  </a:lnTo>
                  <a:lnTo>
                    <a:pt x="23241" y="765238"/>
                  </a:lnTo>
                  <a:lnTo>
                    <a:pt x="17907" y="771144"/>
                  </a:lnTo>
                  <a:lnTo>
                    <a:pt x="13906" y="765429"/>
                  </a:lnTo>
                  <a:lnTo>
                    <a:pt x="19050" y="758857"/>
                  </a:lnTo>
                  <a:lnTo>
                    <a:pt x="12954" y="752856"/>
                  </a:lnTo>
                  <a:lnTo>
                    <a:pt x="10858" y="758000"/>
                  </a:lnTo>
                  <a:lnTo>
                    <a:pt x="5048" y="758000"/>
                  </a:lnTo>
                  <a:lnTo>
                    <a:pt x="0" y="771144"/>
                  </a:lnTo>
                  <a:lnTo>
                    <a:pt x="15907" y="786289"/>
                  </a:lnTo>
                  <a:lnTo>
                    <a:pt x="24289" y="782003"/>
                  </a:lnTo>
                  <a:lnTo>
                    <a:pt x="31147" y="783908"/>
                  </a:lnTo>
                  <a:lnTo>
                    <a:pt x="36862" y="780002"/>
                  </a:lnTo>
                  <a:lnTo>
                    <a:pt x="42672" y="779526"/>
                  </a:lnTo>
                  <a:lnTo>
                    <a:pt x="48577" y="771620"/>
                  </a:lnTo>
                  <a:lnTo>
                    <a:pt x="58102" y="772763"/>
                  </a:lnTo>
                  <a:lnTo>
                    <a:pt x="50578" y="786193"/>
                  </a:lnTo>
                  <a:lnTo>
                    <a:pt x="53911" y="793623"/>
                  </a:lnTo>
                  <a:lnTo>
                    <a:pt x="42577" y="793147"/>
                  </a:lnTo>
                  <a:lnTo>
                    <a:pt x="40196" y="800100"/>
                  </a:lnTo>
                  <a:lnTo>
                    <a:pt x="34100" y="798481"/>
                  </a:lnTo>
                  <a:lnTo>
                    <a:pt x="32194" y="815340"/>
                  </a:lnTo>
                  <a:lnTo>
                    <a:pt x="37243" y="820674"/>
                  </a:lnTo>
                  <a:lnTo>
                    <a:pt x="31051" y="826960"/>
                  </a:lnTo>
                  <a:lnTo>
                    <a:pt x="32290" y="838009"/>
                  </a:lnTo>
                  <a:lnTo>
                    <a:pt x="39719" y="842963"/>
                  </a:lnTo>
                  <a:lnTo>
                    <a:pt x="41624" y="835628"/>
                  </a:lnTo>
                  <a:lnTo>
                    <a:pt x="58579" y="833533"/>
                  </a:lnTo>
                  <a:lnTo>
                    <a:pt x="59246" y="843058"/>
                  </a:lnTo>
                  <a:lnTo>
                    <a:pt x="59246" y="843058"/>
                  </a:lnTo>
                  <a:lnTo>
                    <a:pt x="59246" y="843058"/>
                  </a:lnTo>
                  <a:lnTo>
                    <a:pt x="68771" y="841438"/>
                  </a:lnTo>
                  <a:lnTo>
                    <a:pt x="76009" y="837152"/>
                  </a:lnTo>
                  <a:lnTo>
                    <a:pt x="69818" y="827056"/>
                  </a:lnTo>
                  <a:lnTo>
                    <a:pt x="76295" y="819150"/>
                  </a:lnTo>
                  <a:lnTo>
                    <a:pt x="84296" y="818102"/>
                  </a:lnTo>
                  <a:lnTo>
                    <a:pt x="87725" y="821055"/>
                  </a:lnTo>
                  <a:lnTo>
                    <a:pt x="98203" y="818864"/>
                  </a:lnTo>
                  <a:lnTo>
                    <a:pt x="98679" y="815245"/>
                  </a:lnTo>
                  <a:lnTo>
                    <a:pt x="78867" y="809816"/>
                  </a:lnTo>
                  <a:lnTo>
                    <a:pt x="86296" y="805243"/>
                  </a:lnTo>
                  <a:lnTo>
                    <a:pt x="84487" y="799814"/>
                  </a:lnTo>
                  <a:lnTo>
                    <a:pt x="75724" y="802672"/>
                  </a:lnTo>
                  <a:lnTo>
                    <a:pt x="78296" y="795909"/>
                  </a:lnTo>
                  <a:lnTo>
                    <a:pt x="76009" y="789813"/>
                  </a:lnTo>
                  <a:lnTo>
                    <a:pt x="99727" y="790480"/>
                  </a:lnTo>
                  <a:lnTo>
                    <a:pt x="105727" y="795147"/>
                  </a:lnTo>
                  <a:lnTo>
                    <a:pt x="109538" y="787622"/>
                  </a:lnTo>
                  <a:lnTo>
                    <a:pt x="128588" y="783717"/>
                  </a:lnTo>
                  <a:lnTo>
                    <a:pt x="135541" y="785146"/>
                  </a:lnTo>
                  <a:lnTo>
                    <a:pt x="152590" y="779050"/>
                  </a:lnTo>
                  <a:lnTo>
                    <a:pt x="159067" y="784003"/>
                  </a:lnTo>
                  <a:lnTo>
                    <a:pt x="159829" y="775430"/>
                  </a:lnTo>
                  <a:lnTo>
                    <a:pt x="174498" y="773621"/>
                  </a:lnTo>
                  <a:lnTo>
                    <a:pt x="209645" y="765048"/>
                  </a:lnTo>
                  <a:lnTo>
                    <a:pt x="220409" y="765715"/>
                  </a:lnTo>
                  <a:lnTo>
                    <a:pt x="218408" y="756190"/>
                  </a:lnTo>
                  <a:lnTo>
                    <a:pt x="231743" y="748951"/>
                  </a:lnTo>
                  <a:lnTo>
                    <a:pt x="238506" y="756190"/>
                  </a:lnTo>
                  <a:lnTo>
                    <a:pt x="245173" y="751808"/>
                  </a:lnTo>
                  <a:lnTo>
                    <a:pt x="256508" y="759047"/>
                  </a:lnTo>
                  <a:lnTo>
                    <a:pt x="269462" y="753999"/>
                  </a:lnTo>
                  <a:lnTo>
                    <a:pt x="278225" y="774097"/>
                  </a:lnTo>
                  <a:lnTo>
                    <a:pt x="272034" y="782669"/>
                  </a:lnTo>
                  <a:lnTo>
                    <a:pt x="278701" y="790575"/>
                  </a:lnTo>
                  <a:lnTo>
                    <a:pt x="296799" y="781050"/>
                  </a:lnTo>
                  <a:lnTo>
                    <a:pt x="303467" y="793242"/>
                  </a:lnTo>
                  <a:lnTo>
                    <a:pt x="308705" y="785336"/>
                  </a:lnTo>
                  <a:lnTo>
                    <a:pt x="317468" y="788956"/>
                  </a:lnTo>
                  <a:lnTo>
                    <a:pt x="328231" y="784670"/>
                  </a:lnTo>
                  <a:lnTo>
                    <a:pt x="328231" y="793242"/>
                  </a:lnTo>
                  <a:lnTo>
                    <a:pt x="318706" y="798957"/>
                  </a:lnTo>
                  <a:lnTo>
                    <a:pt x="323374" y="806196"/>
                  </a:lnTo>
                  <a:lnTo>
                    <a:pt x="332899" y="799719"/>
                  </a:lnTo>
                  <a:lnTo>
                    <a:pt x="342424" y="806196"/>
                  </a:lnTo>
                  <a:lnTo>
                    <a:pt x="344424" y="797528"/>
                  </a:lnTo>
                  <a:lnTo>
                    <a:pt x="378523" y="778478"/>
                  </a:lnTo>
                  <a:lnTo>
                    <a:pt x="392430" y="776288"/>
                  </a:lnTo>
                  <a:lnTo>
                    <a:pt x="389382" y="787813"/>
                  </a:lnTo>
                  <a:lnTo>
                    <a:pt x="379762" y="787813"/>
                  </a:lnTo>
                  <a:lnTo>
                    <a:pt x="384905" y="794290"/>
                  </a:lnTo>
                  <a:lnTo>
                    <a:pt x="408337" y="809911"/>
                  </a:lnTo>
                  <a:lnTo>
                    <a:pt x="453295" y="880205"/>
                  </a:lnTo>
                  <a:lnTo>
                    <a:pt x="460438" y="875157"/>
                  </a:lnTo>
                  <a:lnTo>
                    <a:pt x="461486" y="864394"/>
                  </a:lnTo>
                  <a:lnTo>
                    <a:pt x="476440" y="865822"/>
                  </a:lnTo>
                  <a:lnTo>
                    <a:pt x="475012" y="876586"/>
                  </a:lnTo>
                  <a:lnTo>
                    <a:pt x="482251" y="873062"/>
                  </a:lnTo>
                  <a:lnTo>
                    <a:pt x="485299" y="882587"/>
                  </a:lnTo>
                  <a:lnTo>
                    <a:pt x="502920" y="882587"/>
                  </a:lnTo>
                  <a:lnTo>
                    <a:pt x="514255" y="871823"/>
                  </a:lnTo>
                  <a:lnTo>
                    <a:pt x="530257" y="876776"/>
                  </a:lnTo>
                  <a:lnTo>
                    <a:pt x="536448" y="894017"/>
                  </a:lnTo>
                  <a:lnTo>
                    <a:pt x="550831" y="897350"/>
                  </a:lnTo>
                  <a:lnTo>
                    <a:pt x="556069" y="910114"/>
                  </a:lnTo>
                  <a:lnTo>
                    <a:pt x="572548" y="912019"/>
                  </a:lnTo>
                  <a:lnTo>
                    <a:pt x="582073" y="902494"/>
                  </a:lnTo>
                  <a:lnTo>
                    <a:pt x="587788" y="906971"/>
                  </a:lnTo>
                  <a:lnTo>
                    <a:pt x="585216" y="912019"/>
                  </a:lnTo>
                  <a:lnTo>
                    <a:pt x="598837" y="923258"/>
                  </a:lnTo>
                  <a:lnTo>
                    <a:pt x="606171" y="921258"/>
                  </a:lnTo>
                  <a:lnTo>
                    <a:pt x="612457" y="919639"/>
                  </a:lnTo>
                  <a:lnTo>
                    <a:pt x="612457" y="914114"/>
                  </a:lnTo>
                  <a:lnTo>
                    <a:pt x="625221" y="914591"/>
                  </a:lnTo>
                  <a:lnTo>
                    <a:pt x="626935" y="910971"/>
                  </a:lnTo>
                  <a:lnTo>
                    <a:pt x="630841" y="913829"/>
                  </a:lnTo>
                  <a:lnTo>
                    <a:pt x="633793" y="909352"/>
                  </a:lnTo>
                  <a:lnTo>
                    <a:pt x="636651" y="911257"/>
                  </a:lnTo>
                  <a:lnTo>
                    <a:pt x="643033" y="908113"/>
                  </a:lnTo>
                  <a:lnTo>
                    <a:pt x="641890" y="902875"/>
                  </a:lnTo>
                  <a:lnTo>
                    <a:pt x="663130" y="894779"/>
                  </a:lnTo>
                  <a:lnTo>
                    <a:pt x="669703" y="888873"/>
                  </a:lnTo>
                  <a:lnTo>
                    <a:pt x="677132" y="888873"/>
                  </a:lnTo>
                  <a:lnTo>
                    <a:pt x="685038" y="881348"/>
                  </a:lnTo>
                  <a:lnTo>
                    <a:pt x="692372" y="881825"/>
                  </a:lnTo>
                  <a:lnTo>
                    <a:pt x="695515" y="875919"/>
                  </a:lnTo>
                  <a:lnTo>
                    <a:pt x="701897" y="882396"/>
                  </a:lnTo>
                  <a:lnTo>
                    <a:pt x="704564" y="878396"/>
                  </a:lnTo>
                  <a:lnTo>
                    <a:pt x="708469" y="878396"/>
                  </a:lnTo>
                  <a:lnTo>
                    <a:pt x="708469" y="883253"/>
                  </a:lnTo>
                  <a:lnTo>
                    <a:pt x="733997" y="885158"/>
                  </a:lnTo>
                  <a:lnTo>
                    <a:pt x="735330" y="894683"/>
                  </a:lnTo>
                  <a:lnTo>
                    <a:pt x="740569" y="900684"/>
                  </a:lnTo>
                  <a:lnTo>
                    <a:pt x="757809" y="903446"/>
                  </a:lnTo>
                  <a:lnTo>
                    <a:pt x="764477" y="899922"/>
                  </a:lnTo>
                  <a:lnTo>
                    <a:pt x="779145" y="904399"/>
                  </a:lnTo>
                  <a:lnTo>
                    <a:pt x="786955" y="902208"/>
                  </a:lnTo>
                  <a:lnTo>
                    <a:pt x="793147" y="907923"/>
                  </a:lnTo>
                  <a:lnTo>
                    <a:pt x="800862" y="902208"/>
                  </a:lnTo>
                  <a:lnTo>
                    <a:pt x="806482" y="902208"/>
                  </a:lnTo>
                  <a:lnTo>
                    <a:pt x="814483" y="886968"/>
                  </a:lnTo>
                  <a:lnTo>
                    <a:pt x="808577" y="883730"/>
                  </a:lnTo>
                  <a:lnTo>
                    <a:pt x="807339" y="877634"/>
                  </a:lnTo>
                  <a:lnTo>
                    <a:pt x="803148" y="873347"/>
                  </a:lnTo>
                  <a:lnTo>
                    <a:pt x="807815" y="860393"/>
                  </a:lnTo>
                  <a:lnTo>
                    <a:pt x="812197" y="860393"/>
                  </a:lnTo>
                  <a:lnTo>
                    <a:pt x="814292" y="852868"/>
                  </a:lnTo>
                  <a:lnTo>
                    <a:pt x="821246" y="850297"/>
                  </a:lnTo>
                  <a:lnTo>
                    <a:pt x="825627" y="840772"/>
                  </a:lnTo>
                  <a:lnTo>
                    <a:pt x="832104" y="845820"/>
                  </a:lnTo>
                  <a:lnTo>
                    <a:pt x="840867" y="847249"/>
                  </a:lnTo>
                  <a:lnTo>
                    <a:pt x="845439" y="852583"/>
                  </a:lnTo>
                  <a:lnTo>
                    <a:pt x="860965" y="854012"/>
                  </a:lnTo>
                  <a:lnTo>
                    <a:pt x="874586" y="860870"/>
                  </a:lnTo>
                  <a:lnTo>
                    <a:pt x="880777" y="859441"/>
                  </a:lnTo>
                  <a:lnTo>
                    <a:pt x="892683" y="862965"/>
                  </a:lnTo>
                  <a:lnTo>
                    <a:pt x="889825" y="867251"/>
                  </a:lnTo>
                  <a:lnTo>
                    <a:pt x="893445" y="884110"/>
                  </a:lnTo>
                  <a:lnTo>
                    <a:pt x="910495" y="891635"/>
                  </a:lnTo>
                  <a:lnTo>
                    <a:pt x="918210" y="897731"/>
                  </a:lnTo>
                  <a:lnTo>
                    <a:pt x="923354" y="894207"/>
                  </a:lnTo>
                  <a:lnTo>
                    <a:pt x="930307" y="897446"/>
                  </a:lnTo>
                  <a:lnTo>
                    <a:pt x="934498" y="892016"/>
                  </a:lnTo>
                  <a:lnTo>
                    <a:pt x="952309" y="886968"/>
                  </a:lnTo>
                  <a:lnTo>
                    <a:pt x="965930" y="889159"/>
                  </a:lnTo>
                  <a:lnTo>
                    <a:pt x="969550" y="893445"/>
                  </a:lnTo>
                  <a:lnTo>
                    <a:pt x="977551" y="890206"/>
                  </a:lnTo>
                  <a:lnTo>
                    <a:pt x="985552" y="894207"/>
                  </a:lnTo>
                  <a:lnTo>
                    <a:pt x="988886" y="900970"/>
                  </a:lnTo>
                  <a:lnTo>
                    <a:pt x="1005173" y="900970"/>
                  </a:lnTo>
                  <a:lnTo>
                    <a:pt x="1005173" y="908018"/>
                  </a:lnTo>
                  <a:lnTo>
                    <a:pt x="1017080" y="916305"/>
                  </a:lnTo>
                  <a:lnTo>
                    <a:pt x="1033177" y="915829"/>
                  </a:lnTo>
                  <a:lnTo>
                    <a:pt x="1038225" y="920115"/>
                  </a:lnTo>
                  <a:lnTo>
                    <a:pt x="1052894" y="917734"/>
                  </a:lnTo>
                  <a:lnTo>
                    <a:pt x="1058323" y="922020"/>
                  </a:lnTo>
                  <a:lnTo>
                    <a:pt x="1071848" y="914400"/>
                  </a:lnTo>
                  <a:lnTo>
                    <a:pt x="1093565" y="910971"/>
                  </a:lnTo>
                  <a:lnTo>
                    <a:pt x="1102042" y="914400"/>
                  </a:lnTo>
                  <a:lnTo>
                    <a:pt x="1106710" y="911447"/>
                  </a:lnTo>
                  <a:lnTo>
                    <a:pt x="1109758" y="903351"/>
                  </a:lnTo>
                  <a:lnTo>
                    <a:pt x="1129570" y="891921"/>
                  </a:lnTo>
                  <a:lnTo>
                    <a:pt x="1141476" y="892493"/>
                  </a:lnTo>
                  <a:lnTo>
                    <a:pt x="1152715" y="902875"/>
                  </a:lnTo>
                  <a:lnTo>
                    <a:pt x="1159288" y="902875"/>
                  </a:lnTo>
                  <a:lnTo>
                    <a:pt x="1168241" y="897636"/>
                  </a:lnTo>
                  <a:lnTo>
                    <a:pt x="1177766" y="900017"/>
                  </a:lnTo>
                  <a:lnTo>
                    <a:pt x="1179386" y="904304"/>
                  </a:lnTo>
                  <a:lnTo>
                    <a:pt x="1200626" y="912400"/>
                  </a:lnTo>
                  <a:lnTo>
                    <a:pt x="1217295" y="900493"/>
                  </a:lnTo>
                  <a:lnTo>
                    <a:pt x="1230821" y="898112"/>
                  </a:lnTo>
                  <a:lnTo>
                    <a:pt x="1233106" y="890397"/>
                  </a:lnTo>
                  <a:lnTo>
                    <a:pt x="1227677" y="887159"/>
                  </a:lnTo>
                  <a:lnTo>
                    <a:pt x="1244727" y="854297"/>
                  </a:lnTo>
                  <a:lnTo>
                    <a:pt x="1259014" y="843534"/>
                  </a:lnTo>
                  <a:lnTo>
                    <a:pt x="1257109" y="835533"/>
                  </a:lnTo>
                  <a:lnTo>
                    <a:pt x="1259014" y="829056"/>
                  </a:lnTo>
                  <a:lnTo>
                    <a:pt x="1251680" y="826865"/>
                  </a:lnTo>
                  <a:lnTo>
                    <a:pt x="1244346" y="830104"/>
                  </a:lnTo>
                  <a:lnTo>
                    <a:pt x="1243584" y="821531"/>
                  </a:lnTo>
                  <a:lnTo>
                    <a:pt x="1259396" y="808577"/>
                  </a:lnTo>
                  <a:lnTo>
                    <a:pt x="1308545" y="801053"/>
                  </a:lnTo>
                  <a:lnTo>
                    <a:pt x="1339120" y="815054"/>
                  </a:lnTo>
                  <a:lnTo>
                    <a:pt x="1345692" y="809720"/>
                  </a:lnTo>
                  <a:lnTo>
                    <a:pt x="1363885" y="822579"/>
                  </a:lnTo>
                  <a:lnTo>
                    <a:pt x="1361980" y="830675"/>
                  </a:lnTo>
                  <a:lnTo>
                    <a:pt x="1373600" y="840200"/>
                  </a:lnTo>
                  <a:lnTo>
                    <a:pt x="1371314" y="846201"/>
                  </a:lnTo>
                  <a:lnTo>
                    <a:pt x="1380839" y="863346"/>
                  </a:lnTo>
                  <a:lnTo>
                    <a:pt x="1380077" y="870395"/>
                  </a:lnTo>
                  <a:lnTo>
                    <a:pt x="1388173" y="880586"/>
                  </a:lnTo>
                  <a:lnTo>
                    <a:pt x="1388173" y="890111"/>
                  </a:lnTo>
                  <a:lnTo>
                    <a:pt x="1393603" y="895064"/>
                  </a:lnTo>
                  <a:lnTo>
                    <a:pt x="1393603" y="906018"/>
                  </a:lnTo>
                  <a:lnTo>
                    <a:pt x="1407128" y="912685"/>
                  </a:lnTo>
                  <a:lnTo>
                    <a:pt x="1417225" y="907923"/>
                  </a:lnTo>
                  <a:lnTo>
                    <a:pt x="1419892" y="914209"/>
                  </a:lnTo>
                  <a:lnTo>
                    <a:pt x="1433894" y="916114"/>
                  </a:lnTo>
                  <a:lnTo>
                    <a:pt x="1443419" y="925639"/>
                  </a:lnTo>
                  <a:lnTo>
                    <a:pt x="1454658" y="925639"/>
                  </a:lnTo>
                  <a:lnTo>
                    <a:pt x="1453134" y="933259"/>
                  </a:lnTo>
                  <a:lnTo>
                    <a:pt x="1459325" y="939927"/>
                  </a:lnTo>
                  <a:lnTo>
                    <a:pt x="1453896" y="946690"/>
                  </a:lnTo>
                  <a:lnTo>
                    <a:pt x="1460849" y="956691"/>
                  </a:lnTo>
                  <a:lnTo>
                    <a:pt x="1472089" y="953834"/>
                  </a:lnTo>
                  <a:lnTo>
                    <a:pt x="1477518" y="956691"/>
                  </a:lnTo>
                  <a:lnTo>
                    <a:pt x="1491806" y="955738"/>
                  </a:lnTo>
                  <a:lnTo>
                    <a:pt x="1494091" y="948595"/>
                  </a:lnTo>
                  <a:lnTo>
                    <a:pt x="1504950" y="943261"/>
                  </a:lnTo>
                  <a:lnTo>
                    <a:pt x="1511522" y="948118"/>
                  </a:lnTo>
                  <a:lnTo>
                    <a:pt x="1515808" y="941832"/>
                  </a:lnTo>
                  <a:lnTo>
                    <a:pt x="1531239" y="938022"/>
                  </a:lnTo>
                  <a:lnTo>
                    <a:pt x="1535906" y="941832"/>
                  </a:lnTo>
                  <a:lnTo>
                    <a:pt x="1532858" y="948595"/>
                  </a:lnTo>
                  <a:lnTo>
                    <a:pt x="1536668" y="955738"/>
                  </a:lnTo>
                  <a:lnTo>
                    <a:pt x="1534001" y="961454"/>
                  </a:lnTo>
                  <a:lnTo>
                    <a:pt x="1523905" y="965740"/>
                  </a:lnTo>
                  <a:lnTo>
                    <a:pt x="1522762" y="981361"/>
                  </a:lnTo>
                  <a:lnTo>
                    <a:pt x="1516952" y="985266"/>
                  </a:lnTo>
                  <a:lnTo>
                    <a:pt x="1519619" y="992410"/>
                  </a:lnTo>
                  <a:lnTo>
                    <a:pt x="1511522" y="1000506"/>
                  </a:lnTo>
                  <a:lnTo>
                    <a:pt x="1511522" y="1008602"/>
                  </a:lnTo>
                  <a:lnTo>
                    <a:pt x="1501997" y="1012888"/>
                  </a:lnTo>
                  <a:lnTo>
                    <a:pt x="1505045" y="1021556"/>
                  </a:lnTo>
                  <a:lnTo>
                    <a:pt x="1500378" y="1024890"/>
                  </a:lnTo>
                  <a:lnTo>
                    <a:pt x="1478375" y="1016318"/>
                  </a:lnTo>
                  <a:lnTo>
                    <a:pt x="1468850" y="1024414"/>
                  </a:lnTo>
                  <a:lnTo>
                    <a:pt x="1458849" y="1026795"/>
                  </a:lnTo>
                  <a:lnTo>
                    <a:pt x="1466183" y="1047369"/>
                  </a:lnTo>
                  <a:lnTo>
                    <a:pt x="1463040" y="1058323"/>
                  </a:lnTo>
                  <a:lnTo>
                    <a:pt x="1465802" y="1062133"/>
                  </a:lnTo>
                  <a:lnTo>
                    <a:pt x="1461135" y="1072610"/>
                  </a:lnTo>
                  <a:lnTo>
                    <a:pt x="1456849" y="1070705"/>
                  </a:lnTo>
                  <a:lnTo>
                    <a:pt x="1449896" y="1078325"/>
                  </a:lnTo>
                  <a:lnTo>
                    <a:pt x="1452467" y="1084802"/>
                  </a:lnTo>
                  <a:lnTo>
                    <a:pt x="1454467" y="1090136"/>
                  </a:lnTo>
                  <a:lnTo>
                    <a:pt x="1466088" y="1080611"/>
                  </a:lnTo>
                  <a:lnTo>
                    <a:pt x="1477328" y="1064323"/>
                  </a:lnTo>
                  <a:lnTo>
                    <a:pt x="1501426" y="1080230"/>
                  </a:lnTo>
                  <a:lnTo>
                    <a:pt x="1518571" y="1075754"/>
                  </a:lnTo>
                  <a:lnTo>
                    <a:pt x="1542955" y="1060228"/>
                  </a:lnTo>
                  <a:lnTo>
                    <a:pt x="1556861" y="1039463"/>
                  </a:lnTo>
                  <a:lnTo>
                    <a:pt x="1593152" y="1004030"/>
                  </a:lnTo>
                  <a:lnTo>
                    <a:pt x="1625251" y="954691"/>
                  </a:lnTo>
                  <a:lnTo>
                    <a:pt x="1643063" y="939165"/>
                  </a:lnTo>
                  <a:lnTo>
                    <a:pt x="1647349" y="904589"/>
                  </a:lnTo>
                  <a:lnTo>
                    <a:pt x="1653254" y="899255"/>
                  </a:lnTo>
                  <a:lnTo>
                    <a:pt x="1648682" y="882015"/>
                  </a:lnTo>
                  <a:lnTo>
                    <a:pt x="1661636" y="845058"/>
                  </a:lnTo>
                  <a:lnTo>
                    <a:pt x="1670114" y="842105"/>
                  </a:lnTo>
                  <a:lnTo>
                    <a:pt x="1661827" y="835247"/>
                  </a:lnTo>
                  <a:lnTo>
                    <a:pt x="1664494" y="822770"/>
                  </a:lnTo>
                  <a:lnTo>
                    <a:pt x="1653254" y="815435"/>
                  </a:lnTo>
                  <a:lnTo>
                    <a:pt x="1667447" y="810863"/>
                  </a:lnTo>
                  <a:lnTo>
                    <a:pt x="1634490" y="782288"/>
                  </a:lnTo>
                  <a:lnTo>
                    <a:pt x="1611344" y="791051"/>
                  </a:lnTo>
                  <a:lnTo>
                    <a:pt x="1586198" y="803910"/>
                  </a:lnTo>
                  <a:lnTo>
                    <a:pt x="1594485" y="782288"/>
                  </a:lnTo>
                  <a:lnTo>
                    <a:pt x="1576388" y="772763"/>
                  </a:lnTo>
                  <a:lnTo>
                    <a:pt x="1544955" y="771430"/>
                  </a:lnTo>
                  <a:lnTo>
                    <a:pt x="1544955" y="764953"/>
                  </a:lnTo>
                  <a:lnTo>
                    <a:pt x="1585246" y="743903"/>
                  </a:lnTo>
                  <a:lnTo>
                    <a:pt x="1598390" y="724853"/>
                  </a:lnTo>
                  <a:lnTo>
                    <a:pt x="1609534" y="722852"/>
                  </a:lnTo>
                  <a:lnTo>
                    <a:pt x="1612582" y="708374"/>
                  </a:lnTo>
                  <a:lnTo>
                    <a:pt x="1649635" y="685419"/>
                  </a:lnTo>
                  <a:lnTo>
                    <a:pt x="1655255" y="672084"/>
                  </a:lnTo>
                  <a:lnTo>
                    <a:pt x="1702880" y="642271"/>
                  </a:lnTo>
                  <a:lnTo>
                    <a:pt x="1751743" y="640842"/>
                  </a:lnTo>
                  <a:lnTo>
                    <a:pt x="1764697" y="647795"/>
                  </a:lnTo>
                  <a:lnTo>
                    <a:pt x="1768983" y="639889"/>
                  </a:lnTo>
                  <a:lnTo>
                    <a:pt x="1788033" y="646367"/>
                  </a:lnTo>
                  <a:lnTo>
                    <a:pt x="1802606" y="641318"/>
                  </a:lnTo>
                  <a:lnTo>
                    <a:pt x="1816132" y="646367"/>
                  </a:lnTo>
                  <a:lnTo>
                    <a:pt x="1813179" y="639509"/>
                  </a:lnTo>
                  <a:lnTo>
                    <a:pt x="1830324" y="631698"/>
                  </a:lnTo>
                  <a:lnTo>
                    <a:pt x="1851470" y="640366"/>
                  </a:lnTo>
                  <a:lnTo>
                    <a:pt x="1864995" y="636270"/>
                  </a:lnTo>
                  <a:lnTo>
                    <a:pt x="1883188" y="646367"/>
                  </a:lnTo>
                  <a:lnTo>
                    <a:pt x="1858994" y="649605"/>
                  </a:lnTo>
                  <a:lnTo>
                    <a:pt x="1864042" y="657416"/>
                  </a:lnTo>
                  <a:lnTo>
                    <a:pt x="1884426" y="651415"/>
                  </a:lnTo>
                  <a:lnTo>
                    <a:pt x="1895380" y="655510"/>
                  </a:lnTo>
                  <a:lnTo>
                    <a:pt x="1940623" y="648176"/>
                  </a:lnTo>
                  <a:lnTo>
                    <a:pt x="1937766" y="640366"/>
                  </a:lnTo>
                  <a:lnTo>
                    <a:pt x="1919669" y="634651"/>
                  </a:lnTo>
                  <a:lnTo>
                    <a:pt x="1935671" y="613886"/>
                  </a:lnTo>
                  <a:lnTo>
                    <a:pt x="1954721" y="602075"/>
                  </a:lnTo>
                  <a:lnTo>
                    <a:pt x="1958626" y="592550"/>
                  </a:lnTo>
                  <a:lnTo>
                    <a:pt x="1969865" y="586073"/>
                  </a:lnTo>
                  <a:lnTo>
                    <a:pt x="1970532" y="575881"/>
                  </a:lnTo>
                  <a:lnTo>
                    <a:pt x="1986058" y="567309"/>
                  </a:lnTo>
                  <a:lnTo>
                    <a:pt x="2020062" y="563499"/>
                  </a:lnTo>
                  <a:lnTo>
                    <a:pt x="2026730" y="571595"/>
                  </a:lnTo>
                  <a:lnTo>
                    <a:pt x="2042541" y="562070"/>
                  </a:lnTo>
                  <a:lnTo>
                    <a:pt x="2038540" y="606076"/>
                  </a:lnTo>
                  <a:lnTo>
                    <a:pt x="2083498" y="571214"/>
                  </a:lnTo>
                  <a:lnTo>
                    <a:pt x="2101024" y="571214"/>
                  </a:lnTo>
                  <a:lnTo>
                    <a:pt x="2101024" y="542639"/>
                  </a:lnTo>
                  <a:lnTo>
                    <a:pt x="2122837" y="537210"/>
                  </a:lnTo>
                  <a:lnTo>
                    <a:pt x="2148269" y="545878"/>
                  </a:lnTo>
                  <a:lnTo>
                    <a:pt x="2125790" y="545878"/>
                  </a:lnTo>
                  <a:lnTo>
                    <a:pt x="2117884" y="551783"/>
                  </a:lnTo>
                  <a:lnTo>
                    <a:pt x="2115883" y="581787"/>
                  </a:lnTo>
                  <a:lnTo>
                    <a:pt x="2109597" y="596837"/>
                  </a:lnTo>
                  <a:lnTo>
                    <a:pt x="2074259" y="611410"/>
                  </a:lnTo>
                  <a:lnTo>
                    <a:pt x="2072354" y="620268"/>
                  </a:lnTo>
                  <a:lnTo>
                    <a:pt x="2045875" y="638461"/>
                  </a:lnTo>
                  <a:lnTo>
                    <a:pt x="2019776" y="662368"/>
                  </a:lnTo>
                  <a:lnTo>
                    <a:pt x="2021110" y="668369"/>
                  </a:lnTo>
                  <a:lnTo>
                    <a:pt x="2003965" y="675894"/>
                  </a:lnTo>
                  <a:lnTo>
                    <a:pt x="2003298" y="682562"/>
                  </a:lnTo>
                  <a:lnTo>
                    <a:pt x="1974247" y="686657"/>
                  </a:lnTo>
                  <a:lnTo>
                    <a:pt x="1971294" y="706469"/>
                  </a:lnTo>
                  <a:lnTo>
                    <a:pt x="1956054" y="717899"/>
                  </a:lnTo>
                  <a:lnTo>
                    <a:pt x="1948148" y="754571"/>
                  </a:lnTo>
                  <a:lnTo>
                    <a:pt x="1959007" y="822960"/>
                  </a:lnTo>
                  <a:lnTo>
                    <a:pt x="1969484" y="828580"/>
                  </a:lnTo>
                  <a:lnTo>
                    <a:pt x="1962722" y="832199"/>
                  </a:lnTo>
                  <a:lnTo>
                    <a:pt x="1967294" y="865251"/>
                  </a:lnTo>
                  <a:lnTo>
                    <a:pt x="1974152" y="863537"/>
                  </a:lnTo>
                  <a:lnTo>
                    <a:pt x="1970437" y="876586"/>
                  </a:lnTo>
                  <a:lnTo>
                    <a:pt x="1995488" y="858679"/>
                  </a:lnTo>
                  <a:lnTo>
                    <a:pt x="2002822" y="847725"/>
                  </a:lnTo>
                  <a:lnTo>
                    <a:pt x="2005774" y="817817"/>
                  </a:lnTo>
                  <a:lnTo>
                    <a:pt x="2029587" y="811339"/>
                  </a:lnTo>
                  <a:lnTo>
                    <a:pt x="2037779" y="815530"/>
                  </a:lnTo>
                  <a:lnTo>
                    <a:pt x="2034254" y="799529"/>
                  </a:lnTo>
                  <a:lnTo>
                    <a:pt x="2038731" y="785241"/>
                  </a:lnTo>
                  <a:lnTo>
                    <a:pt x="2053590" y="775716"/>
                  </a:lnTo>
                  <a:lnTo>
                    <a:pt x="2078736" y="769715"/>
                  </a:lnTo>
                  <a:lnTo>
                    <a:pt x="2093881" y="734854"/>
                  </a:lnTo>
                  <a:lnTo>
                    <a:pt x="2103406" y="730282"/>
                  </a:lnTo>
                  <a:lnTo>
                    <a:pt x="2091214" y="698563"/>
                  </a:lnTo>
                  <a:lnTo>
                    <a:pt x="2101787" y="687134"/>
                  </a:lnTo>
                  <a:lnTo>
                    <a:pt x="2090547" y="681609"/>
                  </a:lnTo>
                  <a:lnTo>
                    <a:pt x="2081689" y="686181"/>
                  </a:lnTo>
                  <a:lnTo>
                    <a:pt x="2075402" y="678847"/>
                  </a:lnTo>
                  <a:lnTo>
                    <a:pt x="2094452" y="649510"/>
                  </a:lnTo>
                  <a:lnTo>
                    <a:pt x="2100739" y="651796"/>
                  </a:lnTo>
                  <a:lnTo>
                    <a:pt x="2109311" y="624745"/>
                  </a:lnTo>
                  <a:lnTo>
                    <a:pt x="2132743" y="631603"/>
                  </a:lnTo>
                  <a:lnTo>
                    <a:pt x="2139410" y="624745"/>
                  </a:lnTo>
                  <a:lnTo>
                    <a:pt x="2163794" y="609505"/>
                  </a:lnTo>
                  <a:lnTo>
                    <a:pt x="2158174" y="630269"/>
                  </a:lnTo>
                  <a:lnTo>
                    <a:pt x="2167128" y="625602"/>
                  </a:lnTo>
                  <a:lnTo>
                    <a:pt x="2176653" y="611600"/>
                  </a:lnTo>
                  <a:lnTo>
                    <a:pt x="2191512" y="607885"/>
                  </a:lnTo>
                  <a:lnTo>
                    <a:pt x="2220087" y="605695"/>
                  </a:lnTo>
                  <a:lnTo>
                    <a:pt x="2240566" y="627983"/>
                  </a:lnTo>
                  <a:lnTo>
                    <a:pt x="2245805" y="611029"/>
                  </a:lnTo>
                  <a:lnTo>
                    <a:pt x="2275523" y="598170"/>
                  </a:lnTo>
                  <a:lnTo>
                    <a:pt x="2275523" y="590074"/>
                  </a:lnTo>
                  <a:lnTo>
                    <a:pt x="2290000" y="575786"/>
                  </a:lnTo>
                  <a:lnTo>
                    <a:pt x="2326672" y="561689"/>
                  </a:lnTo>
                  <a:lnTo>
                    <a:pt x="2338007" y="563594"/>
                  </a:lnTo>
                  <a:lnTo>
                    <a:pt x="2339912" y="555784"/>
                  </a:lnTo>
                  <a:lnTo>
                    <a:pt x="2375249" y="543211"/>
                  </a:lnTo>
                  <a:lnTo>
                    <a:pt x="2373440" y="533686"/>
                  </a:lnTo>
                  <a:lnTo>
                    <a:pt x="2381441" y="543211"/>
                  </a:lnTo>
                  <a:lnTo>
                    <a:pt x="2393633" y="544068"/>
                  </a:lnTo>
                  <a:lnTo>
                    <a:pt x="2414683" y="552641"/>
                  </a:lnTo>
                  <a:lnTo>
                    <a:pt x="2408111" y="509111"/>
                  </a:lnTo>
                  <a:lnTo>
                    <a:pt x="2396585" y="482822"/>
                  </a:lnTo>
                  <a:lnTo>
                    <a:pt x="2380012" y="471583"/>
                  </a:lnTo>
                  <a:lnTo>
                    <a:pt x="2355914" y="479584"/>
                  </a:lnTo>
                  <a:lnTo>
                    <a:pt x="2352104" y="468439"/>
                  </a:lnTo>
                  <a:lnTo>
                    <a:pt x="2371154" y="470154"/>
                  </a:lnTo>
                  <a:lnTo>
                    <a:pt x="2360581" y="457962"/>
                  </a:lnTo>
                  <a:lnTo>
                    <a:pt x="2408206" y="474250"/>
                  </a:lnTo>
                  <a:lnTo>
                    <a:pt x="2406491" y="483775"/>
                  </a:lnTo>
                  <a:lnTo>
                    <a:pt x="2423065" y="470630"/>
                  </a:lnTo>
                  <a:lnTo>
                    <a:pt x="2436971" y="434150"/>
                  </a:lnTo>
                  <a:lnTo>
                    <a:pt x="2449544" y="419100"/>
                  </a:lnTo>
                  <a:lnTo>
                    <a:pt x="2462022" y="448151"/>
                  </a:lnTo>
                  <a:lnTo>
                    <a:pt x="2491454" y="444913"/>
                  </a:lnTo>
                  <a:lnTo>
                    <a:pt x="2510504" y="449199"/>
                  </a:lnTo>
                  <a:lnTo>
                    <a:pt x="2522696" y="471773"/>
                  </a:lnTo>
                  <a:lnTo>
                    <a:pt x="2546509" y="475488"/>
                  </a:lnTo>
                  <a:lnTo>
                    <a:pt x="2558415" y="485680"/>
                  </a:lnTo>
                  <a:lnTo>
                    <a:pt x="2563654" y="477107"/>
                  </a:lnTo>
                  <a:lnTo>
                    <a:pt x="2571083" y="485870"/>
                  </a:lnTo>
                  <a:lnTo>
                    <a:pt x="2574893" y="442150"/>
                  </a:lnTo>
                  <a:lnTo>
                    <a:pt x="2600992" y="437864"/>
                  </a:lnTo>
                  <a:lnTo>
                    <a:pt x="2620804" y="443293"/>
                  </a:lnTo>
                  <a:lnTo>
                    <a:pt x="2636996" y="42824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dirty="0"/>
            </a:p>
          </p:txBody>
        </p:sp>
        <p:sp>
          <p:nvSpPr>
            <p:cNvPr id="222686" name="Freeform: Shape 2676">
              <a:extLst>
                <a:ext uri="{FF2B5EF4-FFF2-40B4-BE49-F238E27FC236}">
                  <a16:creationId xmlns:a16="http://schemas.microsoft.com/office/drawing/2014/main" id="{4BADCAFC-E8E6-C6DF-E1E6-B6731D47E895}"/>
                </a:ext>
              </a:extLst>
            </p:cNvPr>
            <p:cNvSpPr/>
            <p:nvPr/>
          </p:nvSpPr>
          <p:spPr>
            <a:xfrm>
              <a:off x="2751296" y="4079684"/>
              <a:ext cx="14573" cy="32194"/>
            </a:xfrm>
            <a:custGeom>
              <a:avLst/>
              <a:gdLst>
                <a:gd name="connsiteX0" fmla="*/ 14573 w 14573"/>
                <a:gd name="connsiteY0" fmla="*/ 5239 h 32194"/>
                <a:gd name="connsiteX1" fmla="*/ 8287 w 14573"/>
                <a:gd name="connsiteY1" fmla="*/ 0 h 32194"/>
                <a:gd name="connsiteX2" fmla="*/ 286 w 14573"/>
                <a:gd name="connsiteY2" fmla="*/ 10287 h 32194"/>
                <a:gd name="connsiteX3" fmla="*/ 0 w 14573"/>
                <a:gd name="connsiteY3" fmla="*/ 29433 h 32194"/>
                <a:gd name="connsiteX4" fmla="*/ 6477 w 14573"/>
                <a:gd name="connsiteY4" fmla="*/ 32195 h 32194"/>
                <a:gd name="connsiteX5" fmla="*/ 14192 w 14573"/>
                <a:gd name="connsiteY5" fmla="*/ 20098 h 32194"/>
                <a:gd name="connsiteX6" fmla="*/ 14573 w 14573"/>
                <a:gd name="connsiteY6" fmla="*/ 5239 h 3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73" h="32194">
                  <a:moveTo>
                    <a:pt x="14573" y="5239"/>
                  </a:moveTo>
                  <a:lnTo>
                    <a:pt x="8287" y="0"/>
                  </a:lnTo>
                  <a:lnTo>
                    <a:pt x="286" y="10287"/>
                  </a:lnTo>
                  <a:lnTo>
                    <a:pt x="0" y="29433"/>
                  </a:lnTo>
                  <a:lnTo>
                    <a:pt x="6477" y="32195"/>
                  </a:lnTo>
                  <a:lnTo>
                    <a:pt x="14192" y="20098"/>
                  </a:lnTo>
                  <a:lnTo>
                    <a:pt x="14573" y="5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7" name="Freeform: Shape 2677">
              <a:extLst>
                <a:ext uri="{FF2B5EF4-FFF2-40B4-BE49-F238E27FC236}">
                  <a16:creationId xmlns:a16="http://schemas.microsoft.com/office/drawing/2014/main" id="{1A0D99F0-4D16-AF1F-24D2-AD0AFE45B6D1}"/>
                </a:ext>
              </a:extLst>
            </p:cNvPr>
            <p:cNvSpPr/>
            <p:nvPr/>
          </p:nvSpPr>
          <p:spPr>
            <a:xfrm>
              <a:off x="4117371" y="4233322"/>
              <a:ext cx="85153" cy="126491"/>
            </a:xfrm>
            <a:custGeom>
              <a:avLst/>
              <a:gdLst>
                <a:gd name="connsiteX0" fmla="*/ 5906 w 85153"/>
                <a:gd name="connsiteY0" fmla="*/ 80963 h 126491"/>
                <a:gd name="connsiteX1" fmla="*/ 13811 w 85153"/>
                <a:gd name="connsiteY1" fmla="*/ 88678 h 126491"/>
                <a:gd name="connsiteX2" fmla="*/ 16097 w 85153"/>
                <a:gd name="connsiteY2" fmla="*/ 78962 h 126491"/>
                <a:gd name="connsiteX3" fmla="*/ 23717 w 85153"/>
                <a:gd name="connsiteY3" fmla="*/ 86011 h 126491"/>
                <a:gd name="connsiteX4" fmla="*/ 15812 w 85153"/>
                <a:gd name="connsiteY4" fmla="*/ 92774 h 126491"/>
                <a:gd name="connsiteX5" fmla="*/ 16764 w 85153"/>
                <a:gd name="connsiteY5" fmla="*/ 101155 h 126491"/>
                <a:gd name="connsiteX6" fmla="*/ 38957 w 85153"/>
                <a:gd name="connsiteY6" fmla="*/ 98203 h 126491"/>
                <a:gd name="connsiteX7" fmla="*/ 55817 w 85153"/>
                <a:gd name="connsiteY7" fmla="*/ 114014 h 126491"/>
                <a:gd name="connsiteX8" fmla="*/ 54483 w 85153"/>
                <a:gd name="connsiteY8" fmla="*/ 97822 h 126491"/>
                <a:gd name="connsiteX9" fmla="*/ 69628 w 85153"/>
                <a:gd name="connsiteY9" fmla="*/ 117062 h 126491"/>
                <a:gd name="connsiteX10" fmla="*/ 83820 w 85153"/>
                <a:gd name="connsiteY10" fmla="*/ 118015 h 126491"/>
                <a:gd name="connsiteX11" fmla="*/ 79534 w 85153"/>
                <a:gd name="connsiteY11" fmla="*/ 120777 h 126491"/>
                <a:gd name="connsiteX12" fmla="*/ 85154 w 85153"/>
                <a:gd name="connsiteY12" fmla="*/ 126492 h 126491"/>
                <a:gd name="connsiteX13" fmla="*/ 82201 w 85153"/>
                <a:gd name="connsiteY13" fmla="*/ 101537 h 126491"/>
                <a:gd name="connsiteX14" fmla="*/ 64389 w 85153"/>
                <a:gd name="connsiteY14" fmla="*/ 95155 h 126491"/>
                <a:gd name="connsiteX15" fmla="*/ 54102 w 85153"/>
                <a:gd name="connsiteY15" fmla="*/ 90011 h 126491"/>
                <a:gd name="connsiteX16" fmla="*/ 47149 w 85153"/>
                <a:gd name="connsiteY16" fmla="*/ 93726 h 126491"/>
                <a:gd name="connsiteX17" fmla="*/ 49816 w 85153"/>
                <a:gd name="connsiteY17" fmla="*/ 97536 h 126491"/>
                <a:gd name="connsiteX18" fmla="*/ 42863 w 85153"/>
                <a:gd name="connsiteY18" fmla="*/ 97536 h 126491"/>
                <a:gd name="connsiteX19" fmla="*/ 31623 w 85153"/>
                <a:gd name="connsiteY19" fmla="*/ 71152 h 126491"/>
                <a:gd name="connsiteX20" fmla="*/ 41434 w 85153"/>
                <a:gd name="connsiteY20" fmla="*/ 52959 h 126491"/>
                <a:gd name="connsiteX21" fmla="*/ 47816 w 85153"/>
                <a:gd name="connsiteY21" fmla="*/ 51911 h 126491"/>
                <a:gd name="connsiteX22" fmla="*/ 54483 w 85153"/>
                <a:gd name="connsiteY22" fmla="*/ 34385 h 126491"/>
                <a:gd name="connsiteX23" fmla="*/ 47149 w 85153"/>
                <a:gd name="connsiteY23" fmla="*/ 24289 h 126491"/>
                <a:gd name="connsiteX24" fmla="*/ 50959 w 85153"/>
                <a:gd name="connsiteY24" fmla="*/ 0 h 126491"/>
                <a:gd name="connsiteX25" fmla="*/ 42482 w 85153"/>
                <a:gd name="connsiteY25" fmla="*/ 6858 h 126491"/>
                <a:gd name="connsiteX26" fmla="*/ 20765 w 85153"/>
                <a:gd name="connsiteY26" fmla="*/ 3048 h 126491"/>
                <a:gd name="connsiteX27" fmla="*/ 16097 w 85153"/>
                <a:gd name="connsiteY27" fmla="*/ 5429 h 126491"/>
                <a:gd name="connsiteX28" fmla="*/ 10859 w 85153"/>
                <a:gd name="connsiteY28" fmla="*/ 24955 h 126491"/>
                <a:gd name="connsiteX29" fmla="*/ 11811 w 85153"/>
                <a:gd name="connsiteY29" fmla="*/ 51911 h 126491"/>
                <a:gd name="connsiteX30" fmla="*/ 7906 w 85153"/>
                <a:gd name="connsiteY30" fmla="*/ 56007 h 126491"/>
                <a:gd name="connsiteX31" fmla="*/ 0 w 85153"/>
                <a:gd name="connsiteY31" fmla="*/ 50197 h 126491"/>
                <a:gd name="connsiteX32" fmla="*/ 5906 w 85153"/>
                <a:gd name="connsiteY32" fmla="*/ 80963 h 12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153" h="126491">
                  <a:moveTo>
                    <a:pt x="5906" y="80963"/>
                  </a:moveTo>
                  <a:lnTo>
                    <a:pt x="13811" y="88678"/>
                  </a:lnTo>
                  <a:lnTo>
                    <a:pt x="16097" y="78962"/>
                  </a:lnTo>
                  <a:lnTo>
                    <a:pt x="23717" y="86011"/>
                  </a:lnTo>
                  <a:lnTo>
                    <a:pt x="15812" y="92774"/>
                  </a:lnTo>
                  <a:lnTo>
                    <a:pt x="16764" y="101155"/>
                  </a:lnTo>
                  <a:lnTo>
                    <a:pt x="38957" y="98203"/>
                  </a:lnTo>
                  <a:lnTo>
                    <a:pt x="55817" y="114014"/>
                  </a:lnTo>
                  <a:lnTo>
                    <a:pt x="54483" y="97822"/>
                  </a:lnTo>
                  <a:lnTo>
                    <a:pt x="69628" y="117062"/>
                  </a:lnTo>
                  <a:lnTo>
                    <a:pt x="83820" y="118015"/>
                  </a:lnTo>
                  <a:lnTo>
                    <a:pt x="79534" y="120777"/>
                  </a:lnTo>
                  <a:lnTo>
                    <a:pt x="85154" y="126492"/>
                  </a:lnTo>
                  <a:lnTo>
                    <a:pt x="82201" y="101537"/>
                  </a:lnTo>
                  <a:lnTo>
                    <a:pt x="64389" y="95155"/>
                  </a:lnTo>
                  <a:lnTo>
                    <a:pt x="54102" y="90011"/>
                  </a:lnTo>
                  <a:lnTo>
                    <a:pt x="47149" y="93726"/>
                  </a:lnTo>
                  <a:lnTo>
                    <a:pt x="49816" y="97536"/>
                  </a:lnTo>
                  <a:lnTo>
                    <a:pt x="42863" y="97536"/>
                  </a:lnTo>
                  <a:lnTo>
                    <a:pt x="31623" y="71152"/>
                  </a:lnTo>
                  <a:lnTo>
                    <a:pt x="41434" y="52959"/>
                  </a:lnTo>
                  <a:lnTo>
                    <a:pt x="47816" y="51911"/>
                  </a:lnTo>
                  <a:lnTo>
                    <a:pt x="54483" y="34385"/>
                  </a:lnTo>
                  <a:lnTo>
                    <a:pt x="47149" y="24289"/>
                  </a:lnTo>
                  <a:lnTo>
                    <a:pt x="50959" y="0"/>
                  </a:lnTo>
                  <a:lnTo>
                    <a:pt x="42482" y="6858"/>
                  </a:lnTo>
                  <a:lnTo>
                    <a:pt x="20765" y="3048"/>
                  </a:lnTo>
                  <a:lnTo>
                    <a:pt x="16097" y="5429"/>
                  </a:lnTo>
                  <a:lnTo>
                    <a:pt x="10859" y="24955"/>
                  </a:lnTo>
                  <a:lnTo>
                    <a:pt x="11811" y="51911"/>
                  </a:lnTo>
                  <a:lnTo>
                    <a:pt x="7906" y="56007"/>
                  </a:lnTo>
                  <a:lnTo>
                    <a:pt x="0" y="50197"/>
                  </a:lnTo>
                  <a:lnTo>
                    <a:pt x="5906" y="8096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8" name="Freeform: Shape 2678">
              <a:extLst>
                <a:ext uri="{FF2B5EF4-FFF2-40B4-BE49-F238E27FC236}">
                  <a16:creationId xmlns:a16="http://schemas.microsoft.com/office/drawing/2014/main" id="{0EF6CDCD-B422-6B16-4389-6D13FD1A30FE}"/>
                </a:ext>
              </a:extLst>
            </p:cNvPr>
            <p:cNvSpPr/>
            <p:nvPr/>
          </p:nvSpPr>
          <p:spPr>
            <a:xfrm>
              <a:off x="4128897" y="4340288"/>
              <a:ext cx="22955" cy="25908"/>
            </a:xfrm>
            <a:custGeom>
              <a:avLst/>
              <a:gdLst>
                <a:gd name="connsiteX0" fmla="*/ 14859 w 22955"/>
                <a:gd name="connsiteY0" fmla="*/ 25908 h 25908"/>
                <a:gd name="connsiteX1" fmla="*/ 22955 w 22955"/>
                <a:gd name="connsiteY1" fmla="*/ 20383 h 25908"/>
                <a:gd name="connsiteX2" fmla="*/ 22669 w 22955"/>
                <a:gd name="connsiteY2" fmla="*/ 3429 h 25908"/>
                <a:gd name="connsiteX3" fmla="*/ 0 w 22955"/>
                <a:gd name="connsiteY3" fmla="*/ 0 h 25908"/>
                <a:gd name="connsiteX4" fmla="*/ 8763 w 22955"/>
                <a:gd name="connsiteY4" fmla="*/ 8763 h 25908"/>
                <a:gd name="connsiteX5" fmla="*/ 14859 w 22955"/>
                <a:gd name="connsiteY5" fmla="*/ 25908 h 2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55" h="25908">
                  <a:moveTo>
                    <a:pt x="14859" y="25908"/>
                  </a:moveTo>
                  <a:lnTo>
                    <a:pt x="22955" y="20383"/>
                  </a:lnTo>
                  <a:lnTo>
                    <a:pt x="22669" y="3429"/>
                  </a:lnTo>
                  <a:lnTo>
                    <a:pt x="0" y="0"/>
                  </a:lnTo>
                  <a:lnTo>
                    <a:pt x="8763" y="8763"/>
                  </a:lnTo>
                  <a:lnTo>
                    <a:pt x="14859" y="2590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89" name="Freeform: Shape 2679">
              <a:extLst>
                <a:ext uri="{FF2B5EF4-FFF2-40B4-BE49-F238E27FC236}">
                  <a16:creationId xmlns:a16="http://schemas.microsoft.com/office/drawing/2014/main" id="{F542A1E3-33E1-C4CE-27D8-802EDE835CDD}"/>
                </a:ext>
              </a:extLst>
            </p:cNvPr>
            <p:cNvSpPr/>
            <p:nvPr/>
          </p:nvSpPr>
          <p:spPr>
            <a:xfrm>
              <a:off x="4206811" y="4359148"/>
              <a:ext cx="27812" cy="52863"/>
            </a:xfrm>
            <a:custGeom>
              <a:avLst/>
              <a:gdLst>
                <a:gd name="connsiteX0" fmla="*/ 13906 w 27812"/>
                <a:gd name="connsiteY0" fmla="*/ 51054 h 52863"/>
                <a:gd name="connsiteX1" fmla="*/ 18479 w 27812"/>
                <a:gd name="connsiteY1" fmla="*/ 52864 h 52863"/>
                <a:gd name="connsiteX2" fmla="*/ 19812 w 27812"/>
                <a:gd name="connsiteY2" fmla="*/ 30004 h 52863"/>
                <a:gd name="connsiteX3" fmla="*/ 27813 w 27812"/>
                <a:gd name="connsiteY3" fmla="*/ 33338 h 52863"/>
                <a:gd name="connsiteX4" fmla="*/ 19145 w 27812"/>
                <a:gd name="connsiteY4" fmla="*/ 1714 h 52863"/>
                <a:gd name="connsiteX5" fmla="*/ 0 w 27812"/>
                <a:gd name="connsiteY5" fmla="*/ 0 h 52863"/>
                <a:gd name="connsiteX6" fmla="*/ 15526 w 27812"/>
                <a:gd name="connsiteY6" fmla="*/ 24955 h 52863"/>
                <a:gd name="connsiteX7" fmla="*/ 2286 w 27812"/>
                <a:gd name="connsiteY7" fmla="*/ 21241 h 52863"/>
                <a:gd name="connsiteX8" fmla="*/ 13906 w 27812"/>
                <a:gd name="connsiteY8" fmla="*/ 51054 h 5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2" h="52863">
                  <a:moveTo>
                    <a:pt x="13906" y="51054"/>
                  </a:moveTo>
                  <a:lnTo>
                    <a:pt x="18479" y="52864"/>
                  </a:lnTo>
                  <a:lnTo>
                    <a:pt x="19812" y="30004"/>
                  </a:lnTo>
                  <a:lnTo>
                    <a:pt x="27813" y="33338"/>
                  </a:lnTo>
                  <a:lnTo>
                    <a:pt x="19145" y="1714"/>
                  </a:lnTo>
                  <a:lnTo>
                    <a:pt x="0" y="0"/>
                  </a:lnTo>
                  <a:lnTo>
                    <a:pt x="15526" y="24955"/>
                  </a:lnTo>
                  <a:lnTo>
                    <a:pt x="2286" y="21241"/>
                  </a:lnTo>
                  <a:lnTo>
                    <a:pt x="13906" y="510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0" name="Freeform: Shape 2680">
              <a:extLst>
                <a:ext uri="{FF2B5EF4-FFF2-40B4-BE49-F238E27FC236}">
                  <a16:creationId xmlns:a16="http://schemas.microsoft.com/office/drawing/2014/main" id="{48ED1A5C-3554-A8C0-94B1-7463E5E6B0EA}"/>
                </a:ext>
              </a:extLst>
            </p:cNvPr>
            <p:cNvSpPr/>
            <p:nvPr/>
          </p:nvSpPr>
          <p:spPr>
            <a:xfrm>
              <a:off x="4159948" y="4372959"/>
              <a:ext cx="24383" cy="29908"/>
            </a:xfrm>
            <a:custGeom>
              <a:avLst/>
              <a:gdLst>
                <a:gd name="connsiteX0" fmla="*/ 0 w 24383"/>
                <a:gd name="connsiteY0" fmla="*/ 29909 h 29908"/>
                <a:gd name="connsiteX1" fmla="*/ 15812 w 24383"/>
                <a:gd name="connsiteY1" fmla="*/ 22288 h 29908"/>
                <a:gd name="connsiteX2" fmla="*/ 24384 w 24383"/>
                <a:gd name="connsiteY2" fmla="*/ 8763 h 29908"/>
                <a:gd name="connsiteX3" fmla="*/ 2000 w 24383"/>
                <a:gd name="connsiteY3" fmla="*/ 0 h 29908"/>
                <a:gd name="connsiteX4" fmla="*/ 0 w 24383"/>
                <a:gd name="connsiteY4" fmla="*/ 29909 h 29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3" h="29908">
                  <a:moveTo>
                    <a:pt x="0" y="29909"/>
                  </a:moveTo>
                  <a:lnTo>
                    <a:pt x="15812" y="22288"/>
                  </a:lnTo>
                  <a:lnTo>
                    <a:pt x="24384" y="8763"/>
                  </a:lnTo>
                  <a:lnTo>
                    <a:pt x="2000" y="0"/>
                  </a:lnTo>
                  <a:lnTo>
                    <a:pt x="0" y="2990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1" name="Freeform: Shape 2681">
              <a:extLst>
                <a:ext uri="{FF2B5EF4-FFF2-40B4-BE49-F238E27FC236}">
                  <a16:creationId xmlns:a16="http://schemas.microsoft.com/office/drawing/2014/main" id="{49B32D59-E295-4C86-12EB-0CAC0F2337D9}"/>
                </a:ext>
              </a:extLst>
            </p:cNvPr>
            <p:cNvSpPr/>
            <p:nvPr/>
          </p:nvSpPr>
          <p:spPr>
            <a:xfrm>
              <a:off x="4169187" y="4397057"/>
              <a:ext cx="26098" cy="32194"/>
            </a:xfrm>
            <a:custGeom>
              <a:avLst/>
              <a:gdLst>
                <a:gd name="connsiteX0" fmla="*/ 11716 w 26098"/>
                <a:gd name="connsiteY0" fmla="*/ 1810 h 32194"/>
                <a:gd name="connsiteX1" fmla="*/ 9239 w 26098"/>
                <a:gd name="connsiteY1" fmla="*/ 13049 h 32194"/>
                <a:gd name="connsiteX2" fmla="*/ 0 w 26098"/>
                <a:gd name="connsiteY2" fmla="*/ 17717 h 32194"/>
                <a:gd name="connsiteX3" fmla="*/ 16193 w 26098"/>
                <a:gd name="connsiteY3" fmla="*/ 32195 h 32194"/>
                <a:gd name="connsiteX4" fmla="*/ 25813 w 26098"/>
                <a:gd name="connsiteY4" fmla="*/ 16764 h 32194"/>
                <a:gd name="connsiteX5" fmla="*/ 26099 w 26098"/>
                <a:gd name="connsiteY5" fmla="*/ 6001 h 32194"/>
                <a:gd name="connsiteX6" fmla="*/ 16669 w 26098"/>
                <a:gd name="connsiteY6" fmla="*/ 22193 h 32194"/>
                <a:gd name="connsiteX7" fmla="*/ 19812 w 26098"/>
                <a:gd name="connsiteY7" fmla="*/ 0 h 32194"/>
                <a:gd name="connsiteX8" fmla="*/ 11716 w 26098"/>
                <a:gd name="connsiteY8" fmla="*/ 1810 h 3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98" h="32194">
                  <a:moveTo>
                    <a:pt x="11716" y="1810"/>
                  </a:moveTo>
                  <a:lnTo>
                    <a:pt x="9239" y="13049"/>
                  </a:lnTo>
                  <a:lnTo>
                    <a:pt x="0" y="17717"/>
                  </a:lnTo>
                  <a:lnTo>
                    <a:pt x="16193" y="32195"/>
                  </a:lnTo>
                  <a:lnTo>
                    <a:pt x="25813" y="16764"/>
                  </a:lnTo>
                  <a:lnTo>
                    <a:pt x="26099" y="6001"/>
                  </a:lnTo>
                  <a:lnTo>
                    <a:pt x="16669" y="22193"/>
                  </a:lnTo>
                  <a:lnTo>
                    <a:pt x="19812" y="0"/>
                  </a:lnTo>
                  <a:lnTo>
                    <a:pt x="11716" y="181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2" name="Freeform: Shape 2682">
              <a:extLst>
                <a:ext uri="{FF2B5EF4-FFF2-40B4-BE49-F238E27FC236}">
                  <a16:creationId xmlns:a16="http://schemas.microsoft.com/office/drawing/2014/main" id="{29A92461-9039-0429-20D3-A9EC46D4B084}"/>
                </a:ext>
              </a:extLst>
            </p:cNvPr>
            <p:cNvSpPr/>
            <p:nvPr/>
          </p:nvSpPr>
          <p:spPr>
            <a:xfrm>
              <a:off x="4065841" y="4383055"/>
              <a:ext cx="50196" cy="61436"/>
            </a:xfrm>
            <a:custGeom>
              <a:avLst/>
              <a:gdLst>
                <a:gd name="connsiteX0" fmla="*/ 30766 w 50196"/>
                <a:gd name="connsiteY0" fmla="*/ 31052 h 61436"/>
                <a:gd name="connsiteX1" fmla="*/ 50197 w 50196"/>
                <a:gd name="connsiteY1" fmla="*/ 18288 h 61436"/>
                <a:gd name="connsiteX2" fmla="*/ 46196 w 50196"/>
                <a:gd name="connsiteY2" fmla="*/ 0 h 61436"/>
                <a:gd name="connsiteX3" fmla="*/ 41243 w 50196"/>
                <a:gd name="connsiteY3" fmla="*/ 18288 h 61436"/>
                <a:gd name="connsiteX4" fmla="*/ 36005 w 50196"/>
                <a:gd name="connsiteY4" fmla="*/ 20479 h 61436"/>
                <a:gd name="connsiteX5" fmla="*/ 9239 w 50196"/>
                <a:gd name="connsiteY5" fmla="*/ 47244 h 61436"/>
                <a:gd name="connsiteX6" fmla="*/ 0 w 50196"/>
                <a:gd name="connsiteY6" fmla="*/ 61436 h 61436"/>
                <a:gd name="connsiteX7" fmla="*/ 26099 w 50196"/>
                <a:gd name="connsiteY7" fmla="*/ 42291 h 61436"/>
                <a:gd name="connsiteX8" fmla="*/ 30766 w 50196"/>
                <a:gd name="connsiteY8" fmla="*/ 31052 h 6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196" h="61436">
                  <a:moveTo>
                    <a:pt x="30766" y="31052"/>
                  </a:moveTo>
                  <a:lnTo>
                    <a:pt x="50197" y="18288"/>
                  </a:lnTo>
                  <a:lnTo>
                    <a:pt x="46196" y="0"/>
                  </a:lnTo>
                  <a:lnTo>
                    <a:pt x="41243" y="18288"/>
                  </a:lnTo>
                  <a:lnTo>
                    <a:pt x="36005" y="20479"/>
                  </a:lnTo>
                  <a:lnTo>
                    <a:pt x="9239" y="47244"/>
                  </a:lnTo>
                  <a:lnTo>
                    <a:pt x="0" y="61436"/>
                  </a:lnTo>
                  <a:lnTo>
                    <a:pt x="26099" y="42291"/>
                  </a:lnTo>
                  <a:lnTo>
                    <a:pt x="30766" y="3105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3" name="Freeform: Shape 2683">
              <a:extLst>
                <a:ext uri="{FF2B5EF4-FFF2-40B4-BE49-F238E27FC236}">
                  <a16:creationId xmlns:a16="http://schemas.microsoft.com/office/drawing/2014/main" id="{A790FA3C-072F-D3E0-C0B6-992F80899377}"/>
                </a:ext>
              </a:extLst>
            </p:cNvPr>
            <p:cNvSpPr/>
            <p:nvPr/>
          </p:nvSpPr>
          <p:spPr>
            <a:xfrm>
              <a:off x="4158900" y="4415440"/>
              <a:ext cx="93821" cy="83534"/>
            </a:xfrm>
            <a:custGeom>
              <a:avLst/>
              <a:gdLst>
                <a:gd name="connsiteX0" fmla="*/ 35719 w 93821"/>
                <a:gd name="connsiteY0" fmla="*/ 36290 h 83534"/>
                <a:gd name="connsiteX1" fmla="*/ 30099 w 93821"/>
                <a:gd name="connsiteY1" fmla="*/ 21431 h 83534"/>
                <a:gd name="connsiteX2" fmla="*/ 6953 w 93821"/>
                <a:gd name="connsiteY2" fmla="*/ 36290 h 83534"/>
                <a:gd name="connsiteX3" fmla="*/ 0 w 93821"/>
                <a:gd name="connsiteY3" fmla="*/ 53435 h 83534"/>
                <a:gd name="connsiteX4" fmla="*/ 24479 w 93821"/>
                <a:gd name="connsiteY4" fmla="*/ 40577 h 83534"/>
                <a:gd name="connsiteX5" fmla="*/ 30766 w 93821"/>
                <a:gd name="connsiteY5" fmla="*/ 48196 h 83534"/>
                <a:gd name="connsiteX6" fmla="*/ 31052 w 93821"/>
                <a:gd name="connsiteY6" fmla="*/ 39624 h 83534"/>
                <a:gd name="connsiteX7" fmla="*/ 35719 w 93821"/>
                <a:gd name="connsiteY7" fmla="*/ 39243 h 83534"/>
                <a:gd name="connsiteX8" fmla="*/ 43339 w 93821"/>
                <a:gd name="connsiteY8" fmla="*/ 67342 h 83534"/>
                <a:gd name="connsiteX9" fmla="*/ 50863 w 93821"/>
                <a:gd name="connsiteY9" fmla="*/ 73628 h 83534"/>
                <a:gd name="connsiteX10" fmla="*/ 63055 w 93821"/>
                <a:gd name="connsiteY10" fmla="*/ 78200 h 83534"/>
                <a:gd name="connsiteX11" fmla="*/ 66770 w 93821"/>
                <a:gd name="connsiteY11" fmla="*/ 73247 h 83534"/>
                <a:gd name="connsiteX12" fmla="*/ 69723 w 93821"/>
                <a:gd name="connsiteY12" fmla="*/ 83534 h 83534"/>
                <a:gd name="connsiteX13" fmla="*/ 73342 w 93821"/>
                <a:gd name="connsiteY13" fmla="*/ 72390 h 83534"/>
                <a:gd name="connsiteX14" fmla="*/ 69342 w 93821"/>
                <a:gd name="connsiteY14" fmla="*/ 61722 h 83534"/>
                <a:gd name="connsiteX15" fmla="*/ 74962 w 93821"/>
                <a:gd name="connsiteY15" fmla="*/ 50483 h 83534"/>
                <a:gd name="connsiteX16" fmla="*/ 85534 w 93821"/>
                <a:gd name="connsiteY16" fmla="*/ 70009 h 83534"/>
                <a:gd name="connsiteX17" fmla="*/ 93821 w 93821"/>
                <a:gd name="connsiteY17" fmla="*/ 50197 h 83534"/>
                <a:gd name="connsiteX18" fmla="*/ 83534 w 93821"/>
                <a:gd name="connsiteY18" fmla="*/ 23717 h 83534"/>
                <a:gd name="connsiteX19" fmla="*/ 88582 w 93821"/>
                <a:gd name="connsiteY19" fmla="*/ 19145 h 83534"/>
                <a:gd name="connsiteX20" fmla="*/ 85915 w 93821"/>
                <a:gd name="connsiteY20" fmla="*/ 9906 h 83534"/>
                <a:gd name="connsiteX21" fmla="*/ 70675 w 93821"/>
                <a:gd name="connsiteY21" fmla="*/ 0 h 83534"/>
                <a:gd name="connsiteX22" fmla="*/ 72009 w 93821"/>
                <a:gd name="connsiteY22" fmla="*/ 15812 h 83534"/>
                <a:gd name="connsiteX23" fmla="*/ 50578 w 93821"/>
                <a:gd name="connsiteY23" fmla="*/ 23432 h 83534"/>
                <a:gd name="connsiteX24" fmla="*/ 46577 w 93821"/>
                <a:gd name="connsiteY24" fmla="*/ 31718 h 83534"/>
                <a:gd name="connsiteX25" fmla="*/ 35719 w 93821"/>
                <a:gd name="connsiteY25" fmla="*/ 36290 h 8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3821" h="83534">
                  <a:moveTo>
                    <a:pt x="35719" y="36290"/>
                  </a:moveTo>
                  <a:lnTo>
                    <a:pt x="30099" y="21431"/>
                  </a:lnTo>
                  <a:lnTo>
                    <a:pt x="6953" y="36290"/>
                  </a:lnTo>
                  <a:lnTo>
                    <a:pt x="0" y="53435"/>
                  </a:lnTo>
                  <a:lnTo>
                    <a:pt x="24479" y="40577"/>
                  </a:lnTo>
                  <a:lnTo>
                    <a:pt x="30766" y="48196"/>
                  </a:lnTo>
                  <a:lnTo>
                    <a:pt x="31052" y="39624"/>
                  </a:lnTo>
                  <a:lnTo>
                    <a:pt x="35719" y="39243"/>
                  </a:lnTo>
                  <a:lnTo>
                    <a:pt x="43339" y="67342"/>
                  </a:lnTo>
                  <a:lnTo>
                    <a:pt x="50863" y="73628"/>
                  </a:lnTo>
                  <a:lnTo>
                    <a:pt x="63055" y="78200"/>
                  </a:lnTo>
                  <a:lnTo>
                    <a:pt x="66770" y="73247"/>
                  </a:lnTo>
                  <a:lnTo>
                    <a:pt x="69723" y="83534"/>
                  </a:lnTo>
                  <a:lnTo>
                    <a:pt x="73342" y="72390"/>
                  </a:lnTo>
                  <a:lnTo>
                    <a:pt x="69342" y="61722"/>
                  </a:lnTo>
                  <a:lnTo>
                    <a:pt x="74962" y="50483"/>
                  </a:lnTo>
                  <a:lnTo>
                    <a:pt x="85534" y="70009"/>
                  </a:lnTo>
                  <a:lnTo>
                    <a:pt x="93821" y="50197"/>
                  </a:lnTo>
                  <a:lnTo>
                    <a:pt x="83534" y="23717"/>
                  </a:lnTo>
                  <a:lnTo>
                    <a:pt x="88582" y="19145"/>
                  </a:lnTo>
                  <a:lnTo>
                    <a:pt x="85915" y="9906"/>
                  </a:lnTo>
                  <a:lnTo>
                    <a:pt x="70675" y="0"/>
                  </a:lnTo>
                  <a:lnTo>
                    <a:pt x="72009" y="15812"/>
                  </a:lnTo>
                  <a:lnTo>
                    <a:pt x="50578" y="23432"/>
                  </a:lnTo>
                  <a:lnTo>
                    <a:pt x="46577" y="31718"/>
                  </a:lnTo>
                  <a:lnTo>
                    <a:pt x="35719" y="3629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4" name="Freeform: Shape 2684">
              <a:extLst>
                <a:ext uri="{FF2B5EF4-FFF2-40B4-BE49-F238E27FC236}">
                  <a16:creationId xmlns:a16="http://schemas.microsoft.com/office/drawing/2014/main" id="{7C61DC39-F54A-E521-EA62-8940F4526D3C}"/>
                </a:ext>
              </a:extLst>
            </p:cNvPr>
            <p:cNvSpPr/>
            <p:nvPr/>
          </p:nvSpPr>
          <p:spPr>
            <a:xfrm>
              <a:off x="2950083" y="3846512"/>
              <a:ext cx="287559" cy="284321"/>
            </a:xfrm>
            <a:custGeom>
              <a:avLst/>
              <a:gdLst>
                <a:gd name="connsiteX0" fmla="*/ 280988 w 287559"/>
                <a:gd name="connsiteY0" fmla="*/ 96203 h 284321"/>
                <a:gd name="connsiteX1" fmla="*/ 275082 w 287559"/>
                <a:gd name="connsiteY1" fmla="*/ 96869 h 284321"/>
                <a:gd name="connsiteX2" fmla="*/ 274415 w 287559"/>
                <a:gd name="connsiteY2" fmla="*/ 88678 h 284321"/>
                <a:gd name="connsiteX3" fmla="*/ 265843 w 287559"/>
                <a:gd name="connsiteY3" fmla="*/ 89154 h 284321"/>
                <a:gd name="connsiteX4" fmla="*/ 251841 w 287559"/>
                <a:gd name="connsiteY4" fmla="*/ 77629 h 284321"/>
                <a:gd name="connsiteX5" fmla="*/ 248031 w 287559"/>
                <a:gd name="connsiteY5" fmla="*/ 56197 h 284321"/>
                <a:gd name="connsiteX6" fmla="*/ 248031 w 287559"/>
                <a:gd name="connsiteY6" fmla="*/ 41624 h 284321"/>
                <a:gd name="connsiteX7" fmla="*/ 255651 w 287559"/>
                <a:gd name="connsiteY7" fmla="*/ 36100 h 284321"/>
                <a:gd name="connsiteX8" fmla="*/ 244221 w 287559"/>
                <a:gd name="connsiteY8" fmla="*/ 17431 h 284321"/>
                <a:gd name="connsiteX9" fmla="*/ 236887 w 287559"/>
                <a:gd name="connsiteY9" fmla="*/ 17240 h 284321"/>
                <a:gd name="connsiteX10" fmla="*/ 237934 w 287559"/>
                <a:gd name="connsiteY10" fmla="*/ 10287 h 284321"/>
                <a:gd name="connsiteX11" fmla="*/ 250603 w 287559"/>
                <a:gd name="connsiteY11" fmla="*/ 286 h 284321"/>
                <a:gd name="connsiteX12" fmla="*/ 250412 w 287559"/>
                <a:gd name="connsiteY12" fmla="*/ 190 h 284321"/>
                <a:gd name="connsiteX13" fmla="*/ 240221 w 287559"/>
                <a:gd name="connsiteY13" fmla="*/ 0 h 284321"/>
                <a:gd name="connsiteX14" fmla="*/ 221933 w 287559"/>
                <a:gd name="connsiteY14" fmla="*/ 4572 h 284321"/>
                <a:gd name="connsiteX15" fmla="*/ 204406 w 287559"/>
                <a:gd name="connsiteY15" fmla="*/ 16573 h 284321"/>
                <a:gd name="connsiteX16" fmla="*/ 212693 w 287559"/>
                <a:gd name="connsiteY16" fmla="*/ 26003 h 284321"/>
                <a:gd name="connsiteX17" fmla="*/ 211646 w 287559"/>
                <a:gd name="connsiteY17" fmla="*/ 32575 h 284321"/>
                <a:gd name="connsiteX18" fmla="*/ 214598 w 287559"/>
                <a:gd name="connsiteY18" fmla="*/ 36766 h 284321"/>
                <a:gd name="connsiteX19" fmla="*/ 200406 w 287559"/>
                <a:gd name="connsiteY19" fmla="*/ 50959 h 284321"/>
                <a:gd name="connsiteX20" fmla="*/ 203740 w 287559"/>
                <a:gd name="connsiteY20" fmla="*/ 54292 h 284321"/>
                <a:gd name="connsiteX21" fmla="*/ 203263 w 287559"/>
                <a:gd name="connsiteY21" fmla="*/ 61817 h 284321"/>
                <a:gd name="connsiteX22" fmla="*/ 191834 w 287559"/>
                <a:gd name="connsiteY22" fmla="*/ 62103 h 284321"/>
                <a:gd name="connsiteX23" fmla="*/ 179546 w 287559"/>
                <a:gd name="connsiteY23" fmla="*/ 60484 h 284321"/>
                <a:gd name="connsiteX24" fmla="*/ 178784 w 287559"/>
                <a:gd name="connsiteY24" fmla="*/ 68485 h 284321"/>
                <a:gd name="connsiteX25" fmla="*/ 186880 w 287559"/>
                <a:gd name="connsiteY25" fmla="*/ 76009 h 284321"/>
                <a:gd name="connsiteX26" fmla="*/ 181166 w 287559"/>
                <a:gd name="connsiteY26" fmla="*/ 84677 h 284321"/>
                <a:gd name="connsiteX27" fmla="*/ 172403 w 287559"/>
                <a:gd name="connsiteY27" fmla="*/ 83058 h 284321"/>
                <a:gd name="connsiteX28" fmla="*/ 166116 w 287559"/>
                <a:gd name="connsiteY28" fmla="*/ 97250 h 284321"/>
                <a:gd name="connsiteX29" fmla="*/ 166211 w 287559"/>
                <a:gd name="connsiteY29" fmla="*/ 98203 h 284321"/>
                <a:gd name="connsiteX30" fmla="*/ 167735 w 287559"/>
                <a:gd name="connsiteY30" fmla="*/ 108490 h 284321"/>
                <a:gd name="connsiteX31" fmla="*/ 158877 w 287559"/>
                <a:gd name="connsiteY31" fmla="*/ 118491 h 284321"/>
                <a:gd name="connsiteX32" fmla="*/ 154114 w 287559"/>
                <a:gd name="connsiteY32" fmla="*/ 110680 h 284321"/>
                <a:gd name="connsiteX33" fmla="*/ 144589 w 287559"/>
                <a:gd name="connsiteY33" fmla="*/ 111062 h 284321"/>
                <a:gd name="connsiteX34" fmla="*/ 133064 w 287559"/>
                <a:gd name="connsiteY34" fmla="*/ 117824 h 284321"/>
                <a:gd name="connsiteX35" fmla="*/ 138398 w 287559"/>
                <a:gd name="connsiteY35" fmla="*/ 122301 h 284321"/>
                <a:gd name="connsiteX36" fmla="*/ 123444 w 287559"/>
                <a:gd name="connsiteY36" fmla="*/ 124968 h 284321"/>
                <a:gd name="connsiteX37" fmla="*/ 121063 w 287559"/>
                <a:gd name="connsiteY37" fmla="*/ 121348 h 284321"/>
                <a:gd name="connsiteX38" fmla="*/ 109633 w 287559"/>
                <a:gd name="connsiteY38" fmla="*/ 130873 h 284321"/>
                <a:gd name="connsiteX39" fmla="*/ 107537 w 287559"/>
                <a:gd name="connsiteY39" fmla="*/ 147352 h 284321"/>
                <a:gd name="connsiteX40" fmla="*/ 108966 w 287559"/>
                <a:gd name="connsiteY40" fmla="*/ 153543 h 284321"/>
                <a:gd name="connsiteX41" fmla="*/ 84677 w 287559"/>
                <a:gd name="connsiteY41" fmla="*/ 161449 h 284321"/>
                <a:gd name="connsiteX42" fmla="*/ 68104 w 287559"/>
                <a:gd name="connsiteY42" fmla="*/ 160972 h 284321"/>
                <a:gd name="connsiteX43" fmla="*/ 65342 w 287559"/>
                <a:gd name="connsiteY43" fmla="*/ 166402 h 284321"/>
                <a:gd name="connsiteX44" fmla="*/ 53816 w 287559"/>
                <a:gd name="connsiteY44" fmla="*/ 161449 h 284321"/>
                <a:gd name="connsiteX45" fmla="*/ 32004 w 287559"/>
                <a:gd name="connsiteY45" fmla="*/ 164782 h 284321"/>
                <a:gd name="connsiteX46" fmla="*/ 0 w 287559"/>
                <a:gd name="connsiteY46" fmla="*/ 154972 h 284321"/>
                <a:gd name="connsiteX47" fmla="*/ 15526 w 287559"/>
                <a:gd name="connsiteY47" fmla="*/ 177832 h 284321"/>
                <a:gd name="connsiteX48" fmla="*/ 30385 w 287559"/>
                <a:gd name="connsiteY48" fmla="*/ 185547 h 284321"/>
                <a:gd name="connsiteX49" fmla="*/ 32861 w 287559"/>
                <a:gd name="connsiteY49" fmla="*/ 189357 h 284321"/>
                <a:gd name="connsiteX50" fmla="*/ 38005 w 287559"/>
                <a:gd name="connsiteY50" fmla="*/ 188690 h 284321"/>
                <a:gd name="connsiteX51" fmla="*/ 37624 w 287559"/>
                <a:gd name="connsiteY51" fmla="*/ 209645 h 284321"/>
                <a:gd name="connsiteX52" fmla="*/ 48578 w 287559"/>
                <a:gd name="connsiteY52" fmla="*/ 209645 h 284321"/>
                <a:gd name="connsiteX53" fmla="*/ 46006 w 287559"/>
                <a:gd name="connsiteY53" fmla="*/ 221932 h 284321"/>
                <a:gd name="connsiteX54" fmla="*/ 30194 w 287559"/>
                <a:gd name="connsiteY54" fmla="*/ 222980 h 284321"/>
                <a:gd name="connsiteX55" fmla="*/ 19431 w 287559"/>
                <a:gd name="connsiteY55" fmla="*/ 231362 h 284321"/>
                <a:gd name="connsiteX56" fmla="*/ 14859 w 287559"/>
                <a:gd name="connsiteY56" fmla="*/ 253174 h 284321"/>
                <a:gd name="connsiteX57" fmla="*/ 52197 w 287559"/>
                <a:gd name="connsiteY57" fmla="*/ 253460 h 284321"/>
                <a:gd name="connsiteX58" fmla="*/ 64389 w 287559"/>
                <a:gd name="connsiteY58" fmla="*/ 247840 h 284321"/>
                <a:gd name="connsiteX59" fmla="*/ 75247 w 287559"/>
                <a:gd name="connsiteY59" fmla="*/ 253841 h 284321"/>
                <a:gd name="connsiteX60" fmla="*/ 76962 w 287559"/>
                <a:gd name="connsiteY60" fmla="*/ 250698 h 284321"/>
                <a:gd name="connsiteX61" fmla="*/ 98774 w 287559"/>
                <a:gd name="connsiteY61" fmla="*/ 248603 h 284321"/>
                <a:gd name="connsiteX62" fmla="*/ 108966 w 287559"/>
                <a:gd name="connsiteY62" fmla="*/ 244412 h 284321"/>
                <a:gd name="connsiteX63" fmla="*/ 112967 w 287559"/>
                <a:gd name="connsiteY63" fmla="*/ 255937 h 284321"/>
                <a:gd name="connsiteX64" fmla="*/ 120682 w 287559"/>
                <a:gd name="connsiteY64" fmla="*/ 256318 h 284321"/>
                <a:gd name="connsiteX65" fmla="*/ 131064 w 287559"/>
                <a:gd name="connsiteY65" fmla="*/ 280797 h 284321"/>
                <a:gd name="connsiteX66" fmla="*/ 142018 w 287559"/>
                <a:gd name="connsiteY66" fmla="*/ 284321 h 284321"/>
                <a:gd name="connsiteX67" fmla="*/ 145256 w 287559"/>
                <a:gd name="connsiteY67" fmla="*/ 283273 h 284321"/>
                <a:gd name="connsiteX68" fmla="*/ 146971 w 287559"/>
                <a:gd name="connsiteY68" fmla="*/ 279463 h 284321"/>
                <a:gd name="connsiteX69" fmla="*/ 156210 w 287559"/>
                <a:gd name="connsiteY69" fmla="*/ 279082 h 284321"/>
                <a:gd name="connsiteX70" fmla="*/ 157448 w 287559"/>
                <a:gd name="connsiteY70" fmla="*/ 271367 h 284321"/>
                <a:gd name="connsiteX71" fmla="*/ 172403 w 287559"/>
                <a:gd name="connsiteY71" fmla="*/ 271367 h 284321"/>
                <a:gd name="connsiteX72" fmla="*/ 181642 w 287559"/>
                <a:gd name="connsiteY72" fmla="*/ 276606 h 284321"/>
                <a:gd name="connsiteX73" fmla="*/ 183261 w 287559"/>
                <a:gd name="connsiteY73" fmla="*/ 271748 h 284321"/>
                <a:gd name="connsiteX74" fmla="*/ 192881 w 287559"/>
                <a:gd name="connsiteY74" fmla="*/ 269653 h 284321"/>
                <a:gd name="connsiteX75" fmla="*/ 193072 w 287559"/>
                <a:gd name="connsiteY75" fmla="*/ 274987 h 284321"/>
                <a:gd name="connsiteX76" fmla="*/ 202692 w 287559"/>
                <a:gd name="connsiteY76" fmla="*/ 269653 h 284321"/>
                <a:gd name="connsiteX77" fmla="*/ 202121 w 287559"/>
                <a:gd name="connsiteY77" fmla="*/ 263366 h 284321"/>
                <a:gd name="connsiteX78" fmla="*/ 194500 w 287559"/>
                <a:gd name="connsiteY78" fmla="*/ 248983 h 284321"/>
                <a:gd name="connsiteX79" fmla="*/ 194120 w 287559"/>
                <a:gd name="connsiteY79" fmla="*/ 241173 h 284321"/>
                <a:gd name="connsiteX80" fmla="*/ 187642 w 287559"/>
                <a:gd name="connsiteY80" fmla="*/ 242697 h 284321"/>
                <a:gd name="connsiteX81" fmla="*/ 182594 w 287559"/>
                <a:gd name="connsiteY81" fmla="*/ 236315 h 284321"/>
                <a:gd name="connsiteX82" fmla="*/ 185356 w 287559"/>
                <a:gd name="connsiteY82" fmla="*/ 223742 h 284321"/>
                <a:gd name="connsiteX83" fmla="*/ 176403 w 287559"/>
                <a:gd name="connsiteY83" fmla="*/ 223361 h 284321"/>
                <a:gd name="connsiteX84" fmla="*/ 171069 w 287559"/>
                <a:gd name="connsiteY84" fmla="*/ 220504 h 284321"/>
                <a:gd name="connsiteX85" fmla="*/ 171545 w 287559"/>
                <a:gd name="connsiteY85" fmla="*/ 212979 h 284321"/>
                <a:gd name="connsiteX86" fmla="*/ 181642 w 287559"/>
                <a:gd name="connsiteY86" fmla="*/ 204121 h 284321"/>
                <a:gd name="connsiteX87" fmla="*/ 182785 w 287559"/>
                <a:gd name="connsiteY87" fmla="*/ 196882 h 284321"/>
                <a:gd name="connsiteX88" fmla="*/ 191071 w 287559"/>
                <a:gd name="connsiteY88" fmla="*/ 192691 h 284321"/>
                <a:gd name="connsiteX89" fmla="*/ 196787 w 287559"/>
                <a:gd name="connsiteY89" fmla="*/ 200215 h 284321"/>
                <a:gd name="connsiteX90" fmla="*/ 218694 w 287559"/>
                <a:gd name="connsiteY90" fmla="*/ 193929 h 284321"/>
                <a:gd name="connsiteX91" fmla="*/ 226504 w 287559"/>
                <a:gd name="connsiteY91" fmla="*/ 179927 h 284321"/>
                <a:gd name="connsiteX92" fmla="*/ 239363 w 287559"/>
                <a:gd name="connsiteY92" fmla="*/ 172498 h 284321"/>
                <a:gd name="connsiteX93" fmla="*/ 248031 w 287559"/>
                <a:gd name="connsiteY93" fmla="*/ 151829 h 284321"/>
                <a:gd name="connsiteX94" fmla="*/ 258889 w 287559"/>
                <a:gd name="connsiteY94" fmla="*/ 148685 h 284321"/>
                <a:gd name="connsiteX95" fmla="*/ 257175 w 287559"/>
                <a:gd name="connsiteY95" fmla="*/ 144018 h 284321"/>
                <a:gd name="connsiteX96" fmla="*/ 273367 w 287559"/>
                <a:gd name="connsiteY96" fmla="*/ 128302 h 284321"/>
                <a:gd name="connsiteX97" fmla="*/ 270415 w 287559"/>
                <a:gd name="connsiteY97" fmla="*/ 113347 h 284321"/>
                <a:gd name="connsiteX98" fmla="*/ 277559 w 287559"/>
                <a:gd name="connsiteY98" fmla="*/ 106871 h 284321"/>
                <a:gd name="connsiteX99" fmla="*/ 283464 w 287559"/>
                <a:gd name="connsiteY99" fmla="*/ 106871 h 284321"/>
                <a:gd name="connsiteX100" fmla="*/ 287560 w 287559"/>
                <a:gd name="connsiteY100" fmla="*/ 101060 h 284321"/>
                <a:gd name="connsiteX101" fmla="*/ 280988 w 287559"/>
                <a:gd name="connsiteY101" fmla="*/ 96203 h 28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87559" h="284321">
                  <a:moveTo>
                    <a:pt x="280988" y="96203"/>
                  </a:moveTo>
                  <a:lnTo>
                    <a:pt x="275082" y="96869"/>
                  </a:lnTo>
                  <a:lnTo>
                    <a:pt x="274415" y="88678"/>
                  </a:lnTo>
                  <a:lnTo>
                    <a:pt x="265843" y="89154"/>
                  </a:lnTo>
                  <a:lnTo>
                    <a:pt x="251841" y="77629"/>
                  </a:lnTo>
                  <a:lnTo>
                    <a:pt x="248031" y="56197"/>
                  </a:lnTo>
                  <a:lnTo>
                    <a:pt x="248031" y="41624"/>
                  </a:lnTo>
                  <a:lnTo>
                    <a:pt x="255651" y="36100"/>
                  </a:lnTo>
                  <a:lnTo>
                    <a:pt x="244221" y="17431"/>
                  </a:lnTo>
                  <a:lnTo>
                    <a:pt x="236887" y="17240"/>
                  </a:lnTo>
                  <a:lnTo>
                    <a:pt x="237934" y="10287"/>
                  </a:lnTo>
                  <a:lnTo>
                    <a:pt x="250603" y="286"/>
                  </a:lnTo>
                  <a:lnTo>
                    <a:pt x="250412" y="190"/>
                  </a:lnTo>
                  <a:lnTo>
                    <a:pt x="240221" y="0"/>
                  </a:lnTo>
                  <a:lnTo>
                    <a:pt x="221933" y="4572"/>
                  </a:lnTo>
                  <a:lnTo>
                    <a:pt x="204406" y="16573"/>
                  </a:lnTo>
                  <a:lnTo>
                    <a:pt x="212693" y="26003"/>
                  </a:lnTo>
                  <a:lnTo>
                    <a:pt x="211646" y="32575"/>
                  </a:lnTo>
                  <a:lnTo>
                    <a:pt x="214598" y="36766"/>
                  </a:lnTo>
                  <a:lnTo>
                    <a:pt x="200406" y="50959"/>
                  </a:lnTo>
                  <a:lnTo>
                    <a:pt x="203740" y="54292"/>
                  </a:lnTo>
                  <a:lnTo>
                    <a:pt x="203263" y="61817"/>
                  </a:lnTo>
                  <a:lnTo>
                    <a:pt x="191834" y="62103"/>
                  </a:lnTo>
                  <a:lnTo>
                    <a:pt x="179546" y="60484"/>
                  </a:lnTo>
                  <a:lnTo>
                    <a:pt x="178784" y="68485"/>
                  </a:lnTo>
                  <a:lnTo>
                    <a:pt x="186880" y="76009"/>
                  </a:lnTo>
                  <a:lnTo>
                    <a:pt x="181166" y="84677"/>
                  </a:lnTo>
                  <a:lnTo>
                    <a:pt x="172403" y="83058"/>
                  </a:lnTo>
                  <a:lnTo>
                    <a:pt x="166116" y="97250"/>
                  </a:lnTo>
                  <a:lnTo>
                    <a:pt x="166211" y="98203"/>
                  </a:lnTo>
                  <a:lnTo>
                    <a:pt x="167735" y="108490"/>
                  </a:lnTo>
                  <a:lnTo>
                    <a:pt x="158877" y="118491"/>
                  </a:lnTo>
                  <a:lnTo>
                    <a:pt x="154114" y="110680"/>
                  </a:lnTo>
                  <a:lnTo>
                    <a:pt x="144589" y="111062"/>
                  </a:lnTo>
                  <a:lnTo>
                    <a:pt x="133064" y="117824"/>
                  </a:lnTo>
                  <a:lnTo>
                    <a:pt x="138398" y="122301"/>
                  </a:lnTo>
                  <a:lnTo>
                    <a:pt x="123444" y="124968"/>
                  </a:lnTo>
                  <a:lnTo>
                    <a:pt x="121063" y="121348"/>
                  </a:lnTo>
                  <a:lnTo>
                    <a:pt x="109633" y="130873"/>
                  </a:lnTo>
                  <a:lnTo>
                    <a:pt x="107537" y="147352"/>
                  </a:lnTo>
                  <a:lnTo>
                    <a:pt x="108966" y="153543"/>
                  </a:lnTo>
                  <a:lnTo>
                    <a:pt x="84677" y="161449"/>
                  </a:lnTo>
                  <a:lnTo>
                    <a:pt x="68104" y="160972"/>
                  </a:lnTo>
                  <a:lnTo>
                    <a:pt x="65342" y="166402"/>
                  </a:lnTo>
                  <a:lnTo>
                    <a:pt x="53816" y="161449"/>
                  </a:lnTo>
                  <a:lnTo>
                    <a:pt x="32004" y="164782"/>
                  </a:lnTo>
                  <a:lnTo>
                    <a:pt x="0" y="154972"/>
                  </a:lnTo>
                  <a:lnTo>
                    <a:pt x="15526" y="177832"/>
                  </a:lnTo>
                  <a:lnTo>
                    <a:pt x="30385" y="185547"/>
                  </a:lnTo>
                  <a:lnTo>
                    <a:pt x="32861" y="189357"/>
                  </a:lnTo>
                  <a:lnTo>
                    <a:pt x="38005" y="188690"/>
                  </a:lnTo>
                  <a:lnTo>
                    <a:pt x="37624" y="209645"/>
                  </a:lnTo>
                  <a:lnTo>
                    <a:pt x="48578" y="209645"/>
                  </a:lnTo>
                  <a:lnTo>
                    <a:pt x="46006" y="221932"/>
                  </a:lnTo>
                  <a:lnTo>
                    <a:pt x="30194" y="222980"/>
                  </a:lnTo>
                  <a:lnTo>
                    <a:pt x="19431" y="231362"/>
                  </a:lnTo>
                  <a:lnTo>
                    <a:pt x="14859" y="253174"/>
                  </a:lnTo>
                  <a:lnTo>
                    <a:pt x="52197" y="253460"/>
                  </a:lnTo>
                  <a:lnTo>
                    <a:pt x="64389" y="247840"/>
                  </a:lnTo>
                  <a:lnTo>
                    <a:pt x="75247" y="253841"/>
                  </a:lnTo>
                  <a:lnTo>
                    <a:pt x="76962" y="250698"/>
                  </a:lnTo>
                  <a:lnTo>
                    <a:pt x="98774" y="248603"/>
                  </a:lnTo>
                  <a:lnTo>
                    <a:pt x="108966" y="244412"/>
                  </a:lnTo>
                  <a:lnTo>
                    <a:pt x="112967" y="255937"/>
                  </a:lnTo>
                  <a:lnTo>
                    <a:pt x="120682" y="256318"/>
                  </a:lnTo>
                  <a:lnTo>
                    <a:pt x="131064" y="280797"/>
                  </a:lnTo>
                  <a:lnTo>
                    <a:pt x="142018" y="284321"/>
                  </a:lnTo>
                  <a:lnTo>
                    <a:pt x="145256" y="283273"/>
                  </a:lnTo>
                  <a:lnTo>
                    <a:pt x="146971" y="279463"/>
                  </a:lnTo>
                  <a:lnTo>
                    <a:pt x="156210" y="279082"/>
                  </a:lnTo>
                  <a:lnTo>
                    <a:pt x="157448" y="271367"/>
                  </a:lnTo>
                  <a:lnTo>
                    <a:pt x="172403" y="271367"/>
                  </a:lnTo>
                  <a:lnTo>
                    <a:pt x="181642" y="276606"/>
                  </a:lnTo>
                  <a:lnTo>
                    <a:pt x="183261" y="271748"/>
                  </a:lnTo>
                  <a:lnTo>
                    <a:pt x="192881" y="269653"/>
                  </a:lnTo>
                  <a:lnTo>
                    <a:pt x="193072" y="274987"/>
                  </a:lnTo>
                  <a:lnTo>
                    <a:pt x="202692" y="269653"/>
                  </a:lnTo>
                  <a:lnTo>
                    <a:pt x="202121" y="263366"/>
                  </a:lnTo>
                  <a:lnTo>
                    <a:pt x="194500" y="248983"/>
                  </a:lnTo>
                  <a:lnTo>
                    <a:pt x="194120" y="241173"/>
                  </a:lnTo>
                  <a:lnTo>
                    <a:pt x="187642" y="242697"/>
                  </a:lnTo>
                  <a:lnTo>
                    <a:pt x="182594" y="236315"/>
                  </a:lnTo>
                  <a:lnTo>
                    <a:pt x="185356" y="223742"/>
                  </a:lnTo>
                  <a:lnTo>
                    <a:pt x="176403" y="223361"/>
                  </a:lnTo>
                  <a:lnTo>
                    <a:pt x="171069" y="220504"/>
                  </a:lnTo>
                  <a:lnTo>
                    <a:pt x="171545" y="212979"/>
                  </a:lnTo>
                  <a:lnTo>
                    <a:pt x="181642" y="204121"/>
                  </a:lnTo>
                  <a:lnTo>
                    <a:pt x="182785" y="196882"/>
                  </a:lnTo>
                  <a:lnTo>
                    <a:pt x="191071" y="192691"/>
                  </a:lnTo>
                  <a:lnTo>
                    <a:pt x="196787" y="200215"/>
                  </a:lnTo>
                  <a:lnTo>
                    <a:pt x="218694" y="193929"/>
                  </a:lnTo>
                  <a:lnTo>
                    <a:pt x="226504" y="179927"/>
                  </a:lnTo>
                  <a:lnTo>
                    <a:pt x="239363" y="172498"/>
                  </a:lnTo>
                  <a:lnTo>
                    <a:pt x="248031" y="151829"/>
                  </a:lnTo>
                  <a:lnTo>
                    <a:pt x="258889" y="148685"/>
                  </a:lnTo>
                  <a:lnTo>
                    <a:pt x="257175" y="144018"/>
                  </a:lnTo>
                  <a:lnTo>
                    <a:pt x="273367" y="128302"/>
                  </a:lnTo>
                  <a:lnTo>
                    <a:pt x="270415" y="113347"/>
                  </a:lnTo>
                  <a:lnTo>
                    <a:pt x="277559" y="106871"/>
                  </a:lnTo>
                  <a:lnTo>
                    <a:pt x="283464" y="106871"/>
                  </a:lnTo>
                  <a:lnTo>
                    <a:pt x="287560" y="101060"/>
                  </a:lnTo>
                  <a:lnTo>
                    <a:pt x="280988" y="9620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5" name="Freeform: Shape 2685">
              <a:extLst>
                <a:ext uri="{FF2B5EF4-FFF2-40B4-BE49-F238E27FC236}">
                  <a16:creationId xmlns:a16="http://schemas.microsoft.com/office/drawing/2014/main" id="{2612A1A7-1332-43FE-05B5-C18597634476}"/>
                </a:ext>
              </a:extLst>
            </p:cNvPr>
            <p:cNvSpPr/>
            <p:nvPr/>
          </p:nvSpPr>
          <p:spPr>
            <a:xfrm>
              <a:off x="2422112" y="3925855"/>
              <a:ext cx="28670" cy="81438"/>
            </a:xfrm>
            <a:custGeom>
              <a:avLst/>
              <a:gdLst>
                <a:gd name="connsiteX0" fmla="*/ 9906 w 28670"/>
                <a:gd name="connsiteY0" fmla="*/ 29146 h 81438"/>
                <a:gd name="connsiteX1" fmla="*/ 0 w 28670"/>
                <a:gd name="connsiteY1" fmla="*/ 42958 h 81438"/>
                <a:gd name="connsiteX2" fmla="*/ 9811 w 28670"/>
                <a:gd name="connsiteY2" fmla="*/ 81439 h 81438"/>
                <a:gd name="connsiteX3" fmla="*/ 15716 w 28670"/>
                <a:gd name="connsiteY3" fmla="*/ 79343 h 81438"/>
                <a:gd name="connsiteX4" fmla="*/ 19622 w 28670"/>
                <a:gd name="connsiteY4" fmla="*/ 70580 h 81438"/>
                <a:gd name="connsiteX5" fmla="*/ 18479 w 28670"/>
                <a:gd name="connsiteY5" fmla="*/ 63532 h 81438"/>
                <a:gd name="connsiteX6" fmla="*/ 25813 w 28670"/>
                <a:gd name="connsiteY6" fmla="*/ 48101 h 81438"/>
                <a:gd name="connsiteX7" fmla="*/ 23432 w 28670"/>
                <a:gd name="connsiteY7" fmla="*/ 44482 h 81438"/>
                <a:gd name="connsiteX8" fmla="*/ 17526 w 28670"/>
                <a:gd name="connsiteY8" fmla="*/ 48387 h 81438"/>
                <a:gd name="connsiteX9" fmla="*/ 13526 w 28670"/>
                <a:gd name="connsiteY9" fmla="*/ 39910 h 81438"/>
                <a:gd name="connsiteX10" fmla="*/ 20098 w 28670"/>
                <a:gd name="connsiteY10" fmla="*/ 33623 h 81438"/>
                <a:gd name="connsiteX11" fmla="*/ 15716 w 28670"/>
                <a:gd name="connsiteY11" fmla="*/ 29051 h 81438"/>
                <a:gd name="connsiteX12" fmla="*/ 19812 w 28670"/>
                <a:gd name="connsiteY12" fmla="*/ 15716 h 81438"/>
                <a:gd name="connsiteX13" fmla="*/ 26765 w 28670"/>
                <a:gd name="connsiteY13" fmla="*/ 18669 h 81438"/>
                <a:gd name="connsiteX14" fmla="*/ 26765 w 28670"/>
                <a:gd name="connsiteY14" fmla="*/ 13430 h 81438"/>
                <a:gd name="connsiteX15" fmla="*/ 28385 w 28670"/>
                <a:gd name="connsiteY15" fmla="*/ 12668 h 81438"/>
                <a:gd name="connsiteX16" fmla="*/ 28670 w 28670"/>
                <a:gd name="connsiteY16" fmla="*/ 0 h 81438"/>
                <a:gd name="connsiteX17" fmla="*/ 17526 w 28670"/>
                <a:gd name="connsiteY17" fmla="*/ 3334 h 81438"/>
                <a:gd name="connsiteX18" fmla="*/ 9906 w 28670"/>
                <a:gd name="connsiteY18" fmla="*/ 29146 h 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70" h="81438">
                  <a:moveTo>
                    <a:pt x="9906" y="29146"/>
                  </a:moveTo>
                  <a:lnTo>
                    <a:pt x="0" y="42958"/>
                  </a:lnTo>
                  <a:lnTo>
                    <a:pt x="9811" y="81439"/>
                  </a:lnTo>
                  <a:lnTo>
                    <a:pt x="15716" y="79343"/>
                  </a:lnTo>
                  <a:lnTo>
                    <a:pt x="19622" y="70580"/>
                  </a:lnTo>
                  <a:lnTo>
                    <a:pt x="18479" y="63532"/>
                  </a:lnTo>
                  <a:lnTo>
                    <a:pt x="25813" y="48101"/>
                  </a:lnTo>
                  <a:lnTo>
                    <a:pt x="23432" y="44482"/>
                  </a:lnTo>
                  <a:lnTo>
                    <a:pt x="17526" y="48387"/>
                  </a:lnTo>
                  <a:lnTo>
                    <a:pt x="13526" y="39910"/>
                  </a:lnTo>
                  <a:lnTo>
                    <a:pt x="20098" y="33623"/>
                  </a:lnTo>
                  <a:lnTo>
                    <a:pt x="15716" y="29051"/>
                  </a:lnTo>
                  <a:lnTo>
                    <a:pt x="19812" y="15716"/>
                  </a:lnTo>
                  <a:lnTo>
                    <a:pt x="26765" y="18669"/>
                  </a:lnTo>
                  <a:lnTo>
                    <a:pt x="26765" y="13430"/>
                  </a:lnTo>
                  <a:lnTo>
                    <a:pt x="28385" y="12668"/>
                  </a:lnTo>
                  <a:lnTo>
                    <a:pt x="28670" y="0"/>
                  </a:lnTo>
                  <a:lnTo>
                    <a:pt x="17526" y="3334"/>
                  </a:lnTo>
                  <a:lnTo>
                    <a:pt x="9906" y="2914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6" name="Freeform: Shape 2686">
              <a:extLst>
                <a:ext uri="{FF2B5EF4-FFF2-40B4-BE49-F238E27FC236}">
                  <a16:creationId xmlns:a16="http://schemas.microsoft.com/office/drawing/2014/main" id="{534B56C4-8019-D6FD-AD6F-7673C28DCDDC}"/>
                </a:ext>
              </a:extLst>
            </p:cNvPr>
            <p:cNvSpPr/>
            <p:nvPr/>
          </p:nvSpPr>
          <p:spPr>
            <a:xfrm>
              <a:off x="2772441" y="4105973"/>
              <a:ext cx="156495" cy="172021"/>
            </a:xfrm>
            <a:custGeom>
              <a:avLst/>
              <a:gdLst>
                <a:gd name="connsiteX0" fmla="*/ 136017 w 156495"/>
                <a:gd name="connsiteY0" fmla="*/ 28765 h 172021"/>
                <a:gd name="connsiteX1" fmla="*/ 104299 w 156495"/>
                <a:gd name="connsiteY1" fmla="*/ 20288 h 172021"/>
                <a:gd name="connsiteX2" fmla="*/ 87820 w 156495"/>
                <a:gd name="connsiteY2" fmla="*/ 0 h 172021"/>
                <a:gd name="connsiteX3" fmla="*/ 83820 w 156495"/>
                <a:gd name="connsiteY3" fmla="*/ 3524 h 172021"/>
                <a:gd name="connsiteX4" fmla="*/ 77248 w 156495"/>
                <a:gd name="connsiteY4" fmla="*/ 381 h 172021"/>
                <a:gd name="connsiteX5" fmla="*/ 81534 w 156495"/>
                <a:gd name="connsiteY5" fmla="*/ 17145 h 172021"/>
                <a:gd name="connsiteX6" fmla="*/ 70675 w 156495"/>
                <a:gd name="connsiteY6" fmla="*/ 19621 h 172021"/>
                <a:gd name="connsiteX7" fmla="*/ 66008 w 156495"/>
                <a:gd name="connsiteY7" fmla="*/ 37814 h 172021"/>
                <a:gd name="connsiteX8" fmla="*/ 65341 w 156495"/>
                <a:gd name="connsiteY8" fmla="*/ 46292 h 172021"/>
                <a:gd name="connsiteX9" fmla="*/ 74581 w 156495"/>
                <a:gd name="connsiteY9" fmla="*/ 60960 h 172021"/>
                <a:gd name="connsiteX10" fmla="*/ 61436 w 156495"/>
                <a:gd name="connsiteY10" fmla="*/ 103061 h 172021"/>
                <a:gd name="connsiteX11" fmla="*/ 2000 w 156495"/>
                <a:gd name="connsiteY11" fmla="*/ 123254 h 172021"/>
                <a:gd name="connsiteX12" fmla="*/ 0 w 156495"/>
                <a:gd name="connsiteY12" fmla="*/ 132397 h 172021"/>
                <a:gd name="connsiteX13" fmla="*/ 16669 w 156495"/>
                <a:gd name="connsiteY13" fmla="*/ 156686 h 172021"/>
                <a:gd name="connsiteX14" fmla="*/ 14668 w 156495"/>
                <a:gd name="connsiteY14" fmla="*/ 162115 h 172021"/>
                <a:gd name="connsiteX15" fmla="*/ 23431 w 156495"/>
                <a:gd name="connsiteY15" fmla="*/ 172021 h 172021"/>
                <a:gd name="connsiteX16" fmla="*/ 23431 w 156495"/>
                <a:gd name="connsiteY16" fmla="*/ 172021 h 172021"/>
                <a:gd name="connsiteX17" fmla="*/ 43624 w 156495"/>
                <a:gd name="connsiteY17" fmla="*/ 163449 h 172021"/>
                <a:gd name="connsiteX18" fmla="*/ 62770 w 156495"/>
                <a:gd name="connsiteY18" fmla="*/ 163449 h 172021"/>
                <a:gd name="connsiteX19" fmla="*/ 70009 w 156495"/>
                <a:gd name="connsiteY19" fmla="*/ 146876 h 172021"/>
                <a:gd name="connsiteX20" fmla="*/ 88106 w 156495"/>
                <a:gd name="connsiteY20" fmla="*/ 144875 h 172021"/>
                <a:gd name="connsiteX21" fmla="*/ 97441 w 156495"/>
                <a:gd name="connsiteY21" fmla="*/ 128302 h 172021"/>
                <a:gd name="connsiteX22" fmla="*/ 116872 w 156495"/>
                <a:gd name="connsiteY22" fmla="*/ 123920 h 172021"/>
                <a:gd name="connsiteX23" fmla="*/ 125158 w 156495"/>
                <a:gd name="connsiteY23" fmla="*/ 94964 h 172021"/>
                <a:gd name="connsiteX24" fmla="*/ 156496 w 156495"/>
                <a:gd name="connsiteY24" fmla="*/ 56388 h 172021"/>
                <a:gd name="connsiteX25" fmla="*/ 136017 w 156495"/>
                <a:gd name="connsiteY25" fmla="*/ 28765 h 17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6495" h="172021">
                  <a:moveTo>
                    <a:pt x="136017" y="28765"/>
                  </a:moveTo>
                  <a:lnTo>
                    <a:pt x="104299" y="20288"/>
                  </a:lnTo>
                  <a:lnTo>
                    <a:pt x="87820" y="0"/>
                  </a:lnTo>
                  <a:lnTo>
                    <a:pt x="83820" y="3524"/>
                  </a:lnTo>
                  <a:lnTo>
                    <a:pt x="77248" y="381"/>
                  </a:lnTo>
                  <a:lnTo>
                    <a:pt x="81534" y="17145"/>
                  </a:lnTo>
                  <a:lnTo>
                    <a:pt x="70675" y="19621"/>
                  </a:lnTo>
                  <a:lnTo>
                    <a:pt x="66008" y="37814"/>
                  </a:lnTo>
                  <a:lnTo>
                    <a:pt x="65341" y="46292"/>
                  </a:lnTo>
                  <a:lnTo>
                    <a:pt x="74581" y="60960"/>
                  </a:lnTo>
                  <a:lnTo>
                    <a:pt x="61436" y="103061"/>
                  </a:lnTo>
                  <a:lnTo>
                    <a:pt x="2000" y="123254"/>
                  </a:lnTo>
                  <a:lnTo>
                    <a:pt x="0" y="132397"/>
                  </a:lnTo>
                  <a:lnTo>
                    <a:pt x="16669" y="156686"/>
                  </a:lnTo>
                  <a:lnTo>
                    <a:pt x="14668" y="162115"/>
                  </a:lnTo>
                  <a:lnTo>
                    <a:pt x="23431" y="172021"/>
                  </a:lnTo>
                  <a:lnTo>
                    <a:pt x="23431" y="172021"/>
                  </a:lnTo>
                  <a:lnTo>
                    <a:pt x="43624" y="163449"/>
                  </a:lnTo>
                  <a:lnTo>
                    <a:pt x="62770" y="163449"/>
                  </a:lnTo>
                  <a:lnTo>
                    <a:pt x="70009" y="146876"/>
                  </a:lnTo>
                  <a:lnTo>
                    <a:pt x="88106" y="144875"/>
                  </a:lnTo>
                  <a:lnTo>
                    <a:pt x="97441" y="128302"/>
                  </a:lnTo>
                  <a:lnTo>
                    <a:pt x="116872" y="123920"/>
                  </a:lnTo>
                  <a:lnTo>
                    <a:pt x="125158" y="94964"/>
                  </a:lnTo>
                  <a:lnTo>
                    <a:pt x="156496" y="56388"/>
                  </a:lnTo>
                  <a:lnTo>
                    <a:pt x="136017" y="2876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7" name="Freeform: Shape 2687">
              <a:extLst>
                <a:ext uri="{FF2B5EF4-FFF2-40B4-BE49-F238E27FC236}">
                  <a16:creationId xmlns:a16="http://schemas.microsoft.com/office/drawing/2014/main" id="{1C7227F7-5A77-D579-FA9A-3139960DCD0B}"/>
                </a:ext>
              </a:extLst>
            </p:cNvPr>
            <p:cNvSpPr/>
            <p:nvPr/>
          </p:nvSpPr>
          <p:spPr>
            <a:xfrm>
              <a:off x="2856833" y="4074731"/>
              <a:ext cx="7524" cy="12668"/>
            </a:xfrm>
            <a:custGeom>
              <a:avLst/>
              <a:gdLst>
                <a:gd name="connsiteX0" fmla="*/ 4096 w 7524"/>
                <a:gd name="connsiteY0" fmla="*/ 0 h 12668"/>
                <a:gd name="connsiteX1" fmla="*/ 0 w 7524"/>
                <a:gd name="connsiteY1" fmla="*/ 5048 h 12668"/>
                <a:gd name="connsiteX2" fmla="*/ 0 w 7524"/>
                <a:gd name="connsiteY2" fmla="*/ 5048 h 12668"/>
                <a:gd name="connsiteX3" fmla="*/ 6001 w 7524"/>
                <a:gd name="connsiteY3" fmla="*/ 12668 h 12668"/>
                <a:gd name="connsiteX4" fmla="*/ 6001 w 7524"/>
                <a:gd name="connsiteY4" fmla="*/ 12668 h 12668"/>
                <a:gd name="connsiteX5" fmla="*/ 7525 w 7524"/>
                <a:gd name="connsiteY5" fmla="*/ 1905 h 12668"/>
                <a:gd name="connsiteX6" fmla="*/ 4096 w 7524"/>
                <a:gd name="connsiteY6" fmla="*/ 0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4" h="12668">
                  <a:moveTo>
                    <a:pt x="4096" y="0"/>
                  </a:moveTo>
                  <a:lnTo>
                    <a:pt x="0" y="5048"/>
                  </a:lnTo>
                  <a:lnTo>
                    <a:pt x="0" y="5048"/>
                  </a:lnTo>
                  <a:lnTo>
                    <a:pt x="6001" y="12668"/>
                  </a:lnTo>
                  <a:lnTo>
                    <a:pt x="6001" y="12668"/>
                  </a:lnTo>
                  <a:lnTo>
                    <a:pt x="7525" y="1905"/>
                  </a:lnTo>
                  <a:lnTo>
                    <a:pt x="4096"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8" name="Freeform: Shape 2688">
              <a:extLst>
                <a:ext uri="{FF2B5EF4-FFF2-40B4-BE49-F238E27FC236}">
                  <a16:creationId xmlns:a16="http://schemas.microsoft.com/office/drawing/2014/main" id="{4E915450-9642-7B2B-CA34-AD8F899F489C}"/>
                </a:ext>
              </a:extLst>
            </p:cNvPr>
            <p:cNvSpPr/>
            <p:nvPr/>
          </p:nvSpPr>
          <p:spPr>
            <a:xfrm>
              <a:off x="4208335" y="3700684"/>
              <a:ext cx="124586" cy="124682"/>
            </a:xfrm>
            <a:custGeom>
              <a:avLst/>
              <a:gdLst>
                <a:gd name="connsiteX0" fmla="*/ 116205 w 124586"/>
                <a:gd name="connsiteY0" fmla="*/ 14383 h 124682"/>
                <a:gd name="connsiteX1" fmla="*/ 114205 w 124586"/>
                <a:gd name="connsiteY1" fmla="*/ 1905 h 124682"/>
                <a:gd name="connsiteX2" fmla="*/ 108013 w 124586"/>
                <a:gd name="connsiteY2" fmla="*/ 0 h 124682"/>
                <a:gd name="connsiteX3" fmla="*/ 106871 w 124586"/>
                <a:gd name="connsiteY3" fmla="*/ 12954 h 124682"/>
                <a:gd name="connsiteX4" fmla="*/ 103061 w 124586"/>
                <a:gd name="connsiteY4" fmla="*/ 16288 h 124682"/>
                <a:gd name="connsiteX5" fmla="*/ 96869 w 124586"/>
                <a:gd name="connsiteY5" fmla="*/ 13906 h 124682"/>
                <a:gd name="connsiteX6" fmla="*/ 89440 w 124586"/>
                <a:gd name="connsiteY6" fmla="*/ 23908 h 124682"/>
                <a:gd name="connsiteX7" fmla="*/ 72104 w 124586"/>
                <a:gd name="connsiteY7" fmla="*/ 25337 h 124682"/>
                <a:gd name="connsiteX8" fmla="*/ 78676 w 124586"/>
                <a:gd name="connsiteY8" fmla="*/ 34862 h 124682"/>
                <a:gd name="connsiteX9" fmla="*/ 74771 w 124586"/>
                <a:gd name="connsiteY9" fmla="*/ 40672 h 124682"/>
                <a:gd name="connsiteX10" fmla="*/ 57721 w 124586"/>
                <a:gd name="connsiteY10" fmla="*/ 37243 h 124682"/>
                <a:gd name="connsiteX11" fmla="*/ 51911 w 124586"/>
                <a:gd name="connsiteY11" fmla="*/ 29146 h 124682"/>
                <a:gd name="connsiteX12" fmla="*/ 43053 w 124586"/>
                <a:gd name="connsiteY12" fmla="*/ 32480 h 124682"/>
                <a:gd name="connsiteX13" fmla="*/ 41910 w 124586"/>
                <a:gd name="connsiteY13" fmla="*/ 42577 h 124682"/>
                <a:gd name="connsiteX14" fmla="*/ 33338 w 124586"/>
                <a:gd name="connsiteY14" fmla="*/ 52102 h 124682"/>
                <a:gd name="connsiteX15" fmla="*/ 24860 w 124586"/>
                <a:gd name="connsiteY15" fmla="*/ 54007 h 124682"/>
                <a:gd name="connsiteX16" fmla="*/ 0 w 124586"/>
                <a:gd name="connsiteY16" fmla="*/ 71628 h 124682"/>
                <a:gd name="connsiteX17" fmla="*/ 21241 w 124586"/>
                <a:gd name="connsiteY17" fmla="*/ 83153 h 124682"/>
                <a:gd name="connsiteX18" fmla="*/ 14954 w 124586"/>
                <a:gd name="connsiteY18" fmla="*/ 100679 h 124682"/>
                <a:gd name="connsiteX19" fmla="*/ 25241 w 124586"/>
                <a:gd name="connsiteY19" fmla="*/ 104489 h 124682"/>
                <a:gd name="connsiteX20" fmla="*/ 5715 w 124586"/>
                <a:gd name="connsiteY20" fmla="*/ 116014 h 124682"/>
                <a:gd name="connsiteX21" fmla="*/ 23908 w 124586"/>
                <a:gd name="connsiteY21" fmla="*/ 117920 h 124682"/>
                <a:gd name="connsiteX22" fmla="*/ 34766 w 124586"/>
                <a:gd name="connsiteY22" fmla="*/ 124682 h 124682"/>
                <a:gd name="connsiteX23" fmla="*/ 45148 w 124586"/>
                <a:gd name="connsiteY23" fmla="*/ 122491 h 124682"/>
                <a:gd name="connsiteX24" fmla="*/ 45339 w 124586"/>
                <a:gd name="connsiteY24" fmla="*/ 122206 h 124682"/>
                <a:gd name="connsiteX25" fmla="*/ 55436 w 124586"/>
                <a:gd name="connsiteY25" fmla="*/ 109918 h 124682"/>
                <a:gd name="connsiteX26" fmla="*/ 74771 w 124586"/>
                <a:gd name="connsiteY26" fmla="*/ 111252 h 124682"/>
                <a:gd name="connsiteX27" fmla="*/ 78676 w 124586"/>
                <a:gd name="connsiteY27" fmla="*/ 104680 h 124682"/>
                <a:gd name="connsiteX28" fmla="*/ 78772 w 124586"/>
                <a:gd name="connsiteY28" fmla="*/ 104489 h 124682"/>
                <a:gd name="connsiteX29" fmla="*/ 61913 w 124586"/>
                <a:gd name="connsiteY29" fmla="*/ 80200 h 124682"/>
                <a:gd name="connsiteX30" fmla="*/ 84677 w 124586"/>
                <a:gd name="connsiteY30" fmla="*/ 69723 h 124682"/>
                <a:gd name="connsiteX31" fmla="*/ 93536 w 124586"/>
                <a:gd name="connsiteY31" fmla="*/ 62389 h 124682"/>
                <a:gd name="connsiteX32" fmla="*/ 95917 w 124586"/>
                <a:gd name="connsiteY32" fmla="*/ 57150 h 124682"/>
                <a:gd name="connsiteX33" fmla="*/ 105823 w 124586"/>
                <a:gd name="connsiteY33" fmla="*/ 53435 h 124682"/>
                <a:gd name="connsiteX34" fmla="*/ 105442 w 124586"/>
                <a:gd name="connsiteY34" fmla="*/ 33433 h 124682"/>
                <a:gd name="connsiteX35" fmla="*/ 124587 w 124586"/>
                <a:gd name="connsiteY35" fmla="*/ 18002 h 124682"/>
                <a:gd name="connsiteX36" fmla="*/ 122587 w 124586"/>
                <a:gd name="connsiteY36" fmla="*/ 12668 h 124682"/>
                <a:gd name="connsiteX37" fmla="*/ 122396 w 124586"/>
                <a:gd name="connsiteY37" fmla="*/ 12954 h 124682"/>
                <a:gd name="connsiteX38" fmla="*/ 116205 w 124586"/>
                <a:gd name="connsiteY38" fmla="*/ 14383 h 124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4586" h="124682">
                  <a:moveTo>
                    <a:pt x="116205" y="14383"/>
                  </a:moveTo>
                  <a:lnTo>
                    <a:pt x="114205" y="1905"/>
                  </a:lnTo>
                  <a:lnTo>
                    <a:pt x="108013" y="0"/>
                  </a:lnTo>
                  <a:lnTo>
                    <a:pt x="106871" y="12954"/>
                  </a:lnTo>
                  <a:lnTo>
                    <a:pt x="103061" y="16288"/>
                  </a:lnTo>
                  <a:lnTo>
                    <a:pt x="96869" y="13906"/>
                  </a:lnTo>
                  <a:lnTo>
                    <a:pt x="89440" y="23908"/>
                  </a:lnTo>
                  <a:lnTo>
                    <a:pt x="72104" y="25337"/>
                  </a:lnTo>
                  <a:lnTo>
                    <a:pt x="78676" y="34862"/>
                  </a:lnTo>
                  <a:lnTo>
                    <a:pt x="74771" y="40672"/>
                  </a:lnTo>
                  <a:lnTo>
                    <a:pt x="57721" y="37243"/>
                  </a:lnTo>
                  <a:lnTo>
                    <a:pt x="51911" y="29146"/>
                  </a:lnTo>
                  <a:lnTo>
                    <a:pt x="43053" y="32480"/>
                  </a:lnTo>
                  <a:lnTo>
                    <a:pt x="41910" y="42577"/>
                  </a:lnTo>
                  <a:lnTo>
                    <a:pt x="33338" y="52102"/>
                  </a:lnTo>
                  <a:lnTo>
                    <a:pt x="24860" y="54007"/>
                  </a:lnTo>
                  <a:lnTo>
                    <a:pt x="0" y="71628"/>
                  </a:lnTo>
                  <a:lnTo>
                    <a:pt x="21241" y="83153"/>
                  </a:lnTo>
                  <a:lnTo>
                    <a:pt x="14954" y="100679"/>
                  </a:lnTo>
                  <a:lnTo>
                    <a:pt x="25241" y="104489"/>
                  </a:lnTo>
                  <a:lnTo>
                    <a:pt x="5715" y="116014"/>
                  </a:lnTo>
                  <a:lnTo>
                    <a:pt x="23908" y="117920"/>
                  </a:lnTo>
                  <a:lnTo>
                    <a:pt x="34766" y="124682"/>
                  </a:lnTo>
                  <a:lnTo>
                    <a:pt x="45148" y="122491"/>
                  </a:lnTo>
                  <a:lnTo>
                    <a:pt x="45339" y="122206"/>
                  </a:lnTo>
                  <a:lnTo>
                    <a:pt x="55436" y="109918"/>
                  </a:lnTo>
                  <a:lnTo>
                    <a:pt x="74771" y="111252"/>
                  </a:lnTo>
                  <a:lnTo>
                    <a:pt x="78676" y="104680"/>
                  </a:lnTo>
                  <a:lnTo>
                    <a:pt x="78772" y="104489"/>
                  </a:lnTo>
                  <a:lnTo>
                    <a:pt x="61913" y="80200"/>
                  </a:lnTo>
                  <a:lnTo>
                    <a:pt x="84677" y="69723"/>
                  </a:lnTo>
                  <a:lnTo>
                    <a:pt x="93536" y="62389"/>
                  </a:lnTo>
                  <a:lnTo>
                    <a:pt x="95917" y="57150"/>
                  </a:lnTo>
                  <a:lnTo>
                    <a:pt x="105823" y="53435"/>
                  </a:lnTo>
                  <a:lnTo>
                    <a:pt x="105442" y="33433"/>
                  </a:lnTo>
                  <a:lnTo>
                    <a:pt x="124587" y="18002"/>
                  </a:lnTo>
                  <a:lnTo>
                    <a:pt x="122587" y="12668"/>
                  </a:lnTo>
                  <a:lnTo>
                    <a:pt x="122396" y="12954"/>
                  </a:lnTo>
                  <a:lnTo>
                    <a:pt x="116205" y="1438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699" name="Freeform: Shape 2689">
              <a:extLst>
                <a:ext uri="{FF2B5EF4-FFF2-40B4-BE49-F238E27FC236}">
                  <a16:creationId xmlns:a16="http://schemas.microsoft.com/office/drawing/2014/main" id="{DD8A0FD0-5F33-E183-DB94-5CBAB498BE8E}"/>
                </a:ext>
              </a:extLst>
            </p:cNvPr>
            <p:cNvSpPr/>
            <p:nvPr/>
          </p:nvSpPr>
          <p:spPr>
            <a:xfrm>
              <a:off x="3329368" y="3990054"/>
              <a:ext cx="162782" cy="85629"/>
            </a:xfrm>
            <a:custGeom>
              <a:avLst/>
              <a:gdLst>
                <a:gd name="connsiteX0" fmla="*/ 156591 w 162782"/>
                <a:gd name="connsiteY0" fmla="*/ 52006 h 85629"/>
                <a:gd name="connsiteX1" fmla="*/ 152972 w 162782"/>
                <a:gd name="connsiteY1" fmla="*/ 54769 h 85629"/>
                <a:gd name="connsiteX2" fmla="*/ 142399 w 162782"/>
                <a:gd name="connsiteY2" fmla="*/ 53911 h 85629"/>
                <a:gd name="connsiteX3" fmla="*/ 130016 w 162782"/>
                <a:gd name="connsiteY3" fmla="*/ 47911 h 85629"/>
                <a:gd name="connsiteX4" fmla="*/ 127730 w 162782"/>
                <a:gd name="connsiteY4" fmla="*/ 53340 h 85629"/>
                <a:gd name="connsiteX5" fmla="*/ 121539 w 162782"/>
                <a:gd name="connsiteY5" fmla="*/ 47339 h 85629"/>
                <a:gd name="connsiteX6" fmla="*/ 118967 w 162782"/>
                <a:gd name="connsiteY6" fmla="*/ 53340 h 85629"/>
                <a:gd name="connsiteX7" fmla="*/ 112490 w 162782"/>
                <a:gd name="connsiteY7" fmla="*/ 44577 h 85629"/>
                <a:gd name="connsiteX8" fmla="*/ 101632 w 162782"/>
                <a:gd name="connsiteY8" fmla="*/ 43529 h 85629"/>
                <a:gd name="connsiteX9" fmla="*/ 102394 w 162782"/>
                <a:gd name="connsiteY9" fmla="*/ 36957 h 85629"/>
                <a:gd name="connsiteX10" fmla="*/ 95441 w 162782"/>
                <a:gd name="connsiteY10" fmla="*/ 38862 h 85629"/>
                <a:gd name="connsiteX11" fmla="*/ 84392 w 162782"/>
                <a:gd name="connsiteY11" fmla="*/ 31432 h 85629"/>
                <a:gd name="connsiteX12" fmla="*/ 83058 w 162782"/>
                <a:gd name="connsiteY12" fmla="*/ 24860 h 85629"/>
                <a:gd name="connsiteX13" fmla="*/ 79248 w 162782"/>
                <a:gd name="connsiteY13" fmla="*/ 23241 h 85629"/>
                <a:gd name="connsiteX14" fmla="*/ 71438 w 162782"/>
                <a:gd name="connsiteY14" fmla="*/ 26765 h 85629"/>
                <a:gd name="connsiteX15" fmla="*/ 65056 w 162782"/>
                <a:gd name="connsiteY15" fmla="*/ 17240 h 85629"/>
                <a:gd name="connsiteX16" fmla="*/ 56769 w 162782"/>
                <a:gd name="connsiteY16" fmla="*/ 15526 h 85629"/>
                <a:gd name="connsiteX17" fmla="*/ 50292 w 162782"/>
                <a:gd name="connsiteY17" fmla="*/ 9525 h 85629"/>
                <a:gd name="connsiteX18" fmla="*/ 42863 w 162782"/>
                <a:gd name="connsiteY18" fmla="*/ 6763 h 85629"/>
                <a:gd name="connsiteX19" fmla="*/ 40767 w 162782"/>
                <a:gd name="connsiteY19" fmla="*/ 0 h 85629"/>
                <a:gd name="connsiteX20" fmla="*/ 27908 w 162782"/>
                <a:gd name="connsiteY20" fmla="*/ 286 h 85629"/>
                <a:gd name="connsiteX21" fmla="*/ 22765 w 162782"/>
                <a:gd name="connsiteY21" fmla="*/ 8953 h 85629"/>
                <a:gd name="connsiteX22" fmla="*/ 18860 w 162782"/>
                <a:gd name="connsiteY22" fmla="*/ 3238 h 85629"/>
                <a:gd name="connsiteX23" fmla="*/ 7239 w 162782"/>
                <a:gd name="connsiteY23" fmla="*/ 13049 h 85629"/>
                <a:gd name="connsiteX24" fmla="*/ 8001 w 162782"/>
                <a:gd name="connsiteY24" fmla="*/ 18859 h 85629"/>
                <a:gd name="connsiteX25" fmla="*/ 3143 w 162782"/>
                <a:gd name="connsiteY25" fmla="*/ 21336 h 85629"/>
                <a:gd name="connsiteX26" fmla="*/ 6001 w 162782"/>
                <a:gd name="connsiteY26" fmla="*/ 26289 h 85629"/>
                <a:gd name="connsiteX27" fmla="*/ 0 w 162782"/>
                <a:gd name="connsiteY27" fmla="*/ 31432 h 85629"/>
                <a:gd name="connsiteX28" fmla="*/ 9525 w 162782"/>
                <a:gd name="connsiteY28" fmla="*/ 38862 h 85629"/>
                <a:gd name="connsiteX29" fmla="*/ 12383 w 162782"/>
                <a:gd name="connsiteY29" fmla="*/ 36100 h 85629"/>
                <a:gd name="connsiteX30" fmla="*/ 36195 w 162782"/>
                <a:gd name="connsiteY30" fmla="*/ 53340 h 85629"/>
                <a:gd name="connsiteX31" fmla="*/ 40767 w 162782"/>
                <a:gd name="connsiteY31" fmla="*/ 51149 h 85629"/>
                <a:gd name="connsiteX32" fmla="*/ 45720 w 162782"/>
                <a:gd name="connsiteY32" fmla="*/ 56102 h 85629"/>
                <a:gd name="connsiteX33" fmla="*/ 52673 w 162782"/>
                <a:gd name="connsiteY33" fmla="*/ 55816 h 85629"/>
                <a:gd name="connsiteX34" fmla="*/ 54674 w 162782"/>
                <a:gd name="connsiteY34" fmla="*/ 60484 h 85629"/>
                <a:gd name="connsiteX35" fmla="*/ 65532 w 162782"/>
                <a:gd name="connsiteY35" fmla="*/ 63722 h 85629"/>
                <a:gd name="connsiteX36" fmla="*/ 80772 w 162782"/>
                <a:gd name="connsiteY36" fmla="*/ 59912 h 85629"/>
                <a:gd name="connsiteX37" fmla="*/ 91631 w 162782"/>
                <a:gd name="connsiteY37" fmla="*/ 64294 h 85629"/>
                <a:gd name="connsiteX38" fmla="*/ 92107 w 162782"/>
                <a:gd name="connsiteY38" fmla="*/ 70866 h 85629"/>
                <a:gd name="connsiteX39" fmla="*/ 105251 w 162782"/>
                <a:gd name="connsiteY39" fmla="*/ 77438 h 85629"/>
                <a:gd name="connsiteX40" fmla="*/ 111443 w 162782"/>
                <a:gd name="connsiteY40" fmla="*/ 73628 h 85629"/>
                <a:gd name="connsiteX41" fmla="*/ 116110 w 162782"/>
                <a:gd name="connsiteY41" fmla="*/ 80963 h 85629"/>
                <a:gd name="connsiteX42" fmla="*/ 121825 w 162782"/>
                <a:gd name="connsiteY42" fmla="*/ 78581 h 85629"/>
                <a:gd name="connsiteX43" fmla="*/ 132874 w 162782"/>
                <a:gd name="connsiteY43" fmla="*/ 83439 h 85629"/>
                <a:gd name="connsiteX44" fmla="*/ 139351 w 162782"/>
                <a:gd name="connsiteY44" fmla="*/ 79629 h 85629"/>
                <a:gd name="connsiteX45" fmla="*/ 141637 w 162782"/>
                <a:gd name="connsiteY45" fmla="*/ 84582 h 85629"/>
                <a:gd name="connsiteX46" fmla="*/ 158401 w 162782"/>
                <a:gd name="connsiteY46" fmla="*/ 85630 h 85629"/>
                <a:gd name="connsiteX47" fmla="*/ 162306 w 162782"/>
                <a:gd name="connsiteY47" fmla="*/ 76676 h 85629"/>
                <a:gd name="connsiteX48" fmla="*/ 158210 w 162782"/>
                <a:gd name="connsiteY48" fmla="*/ 68675 h 85629"/>
                <a:gd name="connsiteX49" fmla="*/ 162782 w 162782"/>
                <a:gd name="connsiteY49" fmla="*/ 53626 h 85629"/>
                <a:gd name="connsiteX50" fmla="*/ 156591 w 162782"/>
                <a:gd name="connsiteY50" fmla="*/ 52006 h 85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2782" h="85629">
                  <a:moveTo>
                    <a:pt x="156591" y="52006"/>
                  </a:moveTo>
                  <a:lnTo>
                    <a:pt x="152972" y="54769"/>
                  </a:lnTo>
                  <a:lnTo>
                    <a:pt x="142399" y="53911"/>
                  </a:lnTo>
                  <a:lnTo>
                    <a:pt x="130016" y="47911"/>
                  </a:lnTo>
                  <a:lnTo>
                    <a:pt x="127730" y="53340"/>
                  </a:lnTo>
                  <a:lnTo>
                    <a:pt x="121539" y="47339"/>
                  </a:lnTo>
                  <a:lnTo>
                    <a:pt x="118967" y="53340"/>
                  </a:lnTo>
                  <a:lnTo>
                    <a:pt x="112490" y="44577"/>
                  </a:lnTo>
                  <a:lnTo>
                    <a:pt x="101632" y="43529"/>
                  </a:lnTo>
                  <a:lnTo>
                    <a:pt x="102394" y="36957"/>
                  </a:lnTo>
                  <a:lnTo>
                    <a:pt x="95441" y="38862"/>
                  </a:lnTo>
                  <a:lnTo>
                    <a:pt x="84392" y="31432"/>
                  </a:lnTo>
                  <a:lnTo>
                    <a:pt x="83058" y="24860"/>
                  </a:lnTo>
                  <a:lnTo>
                    <a:pt x="79248" y="23241"/>
                  </a:lnTo>
                  <a:lnTo>
                    <a:pt x="71438" y="26765"/>
                  </a:lnTo>
                  <a:lnTo>
                    <a:pt x="65056" y="17240"/>
                  </a:lnTo>
                  <a:lnTo>
                    <a:pt x="56769" y="15526"/>
                  </a:lnTo>
                  <a:lnTo>
                    <a:pt x="50292" y="9525"/>
                  </a:lnTo>
                  <a:lnTo>
                    <a:pt x="42863" y="6763"/>
                  </a:lnTo>
                  <a:lnTo>
                    <a:pt x="40767" y="0"/>
                  </a:lnTo>
                  <a:lnTo>
                    <a:pt x="27908" y="286"/>
                  </a:lnTo>
                  <a:lnTo>
                    <a:pt x="22765" y="8953"/>
                  </a:lnTo>
                  <a:lnTo>
                    <a:pt x="18860" y="3238"/>
                  </a:lnTo>
                  <a:lnTo>
                    <a:pt x="7239" y="13049"/>
                  </a:lnTo>
                  <a:lnTo>
                    <a:pt x="8001" y="18859"/>
                  </a:lnTo>
                  <a:lnTo>
                    <a:pt x="3143" y="21336"/>
                  </a:lnTo>
                  <a:lnTo>
                    <a:pt x="6001" y="26289"/>
                  </a:lnTo>
                  <a:lnTo>
                    <a:pt x="0" y="31432"/>
                  </a:lnTo>
                  <a:lnTo>
                    <a:pt x="9525" y="38862"/>
                  </a:lnTo>
                  <a:lnTo>
                    <a:pt x="12383" y="36100"/>
                  </a:lnTo>
                  <a:lnTo>
                    <a:pt x="36195" y="53340"/>
                  </a:lnTo>
                  <a:lnTo>
                    <a:pt x="40767" y="51149"/>
                  </a:lnTo>
                  <a:lnTo>
                    <a:pt x="45720" y="56102"/>
                  </a:lnTo>
                  <a:lnTo>
                    <a:pt x="52673" y="55816"/>
                  </a:lnTo>
                  <a:lnTo>
                    <a:pt x="54674" y="60484"/>
                  </a:lnTo>
                  <a:lnTo>
                    <a:pt x="65532" y="63722"/>
                  </a:lnTo>
                  <a:lnTo>
                    <a:pt x="80772" y="59912"/>
                  </a:lnTo>
                  <a:lnTo>
                    <a:pt x="91631" y="64294"/>
                  </a:lnTo>
                  <a:lnTo>
                    <a:pt x="92107" y="70866"/>
                  </a:lnTo>
                  <a:lnTo>
                    <a:pt x="105251" y="77438"/>
                  </a:lnTo>
                  <a:lnTo>
                    <a:pt x="111443" y="73628"/>
                  </a:lnTo>
                  <a:lnTo>
                    <a:pt x="116110" y="80963"/>
                  </a:lnTo>
                  <a:lnTo>
                    <a:pt x="121825" y="78581"/>
                  </a:lnTo>
                  <a:lnTo>
                    <a:pt x="132874" y="83439"/>
                  </a:lnTo>
                  <a:lnTo>
                    <a:pt x="139351" y="79629"/>
                  </a:lnTo>
                  <a:lnTo>
                    <a:pt x="141637" y="84582"/>
                  </a:lnTo>
                  <a:lnTo>
                    <a:pt x="158401" y="85630"/>
                  </a:lnTo>
                  <a:lnTo>
                    <a:pt x="162306" y="76676"/>
                  </a:lnTo>
                  <a:lnTo>
                    <a:pt x="158210" y="68675"/>
                  </a:lnTo>
                  <a:lnTo>
                    <a:pt x="162782" y="53626"/>
                  </a:lnTo>
                  <a:lnTo>
                    <a:pt x="156591" y="5200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0" name="Freeform: Shape 2690">
              <a:extLst>
                <a:ext uri="{FF2B5EF4-FFF2-40B4-BE49-F238E27FC236}">
                  <a16:creationId xmlns:a16="http://schemas.microsoft.com/office/drawing/2014/main" id="{CD174716-D672-AED6-B440-A1D7B1F6289A}"/>
                </a:ext>
              </a:extLst>
            </p:cNvPr>
            <p:cNvSpPr/>
            <p:nvPr/>
          </p:nvSpPr>
          <p:spPr>
            <a:xfrm>
              <a:off x="3570636" y="4029773"/>
              <a:ext cx="179260" cy="383857"/>
            </a:xfrm>
            <a:custGeom>
              <a:avLst/>
              <a:gdLst>
                <a:gd name="connsiteX0" fmla="*/ 179261 w 179260"/>
                <a:gd name="connsiteY0" fmla="*/ 146399 h 383857"/>
                <a:gd name="connsiteX1" fmla="*/ 177927 w 179260"/>
                <a:gd name="connsiteY1" fmla="*/ 140970 h 383857"/>
                <a:gd name="connsiteX2" fmla="*/ 171736 w 179260"/>
                <a:gd name="connsiteY2" fmla="*/ 142589 h 383857"/>
                <a:gd name="connsiteX3" fmla="*/ 166878 w 179260"/>
                <a:gd name="connsiteY3" fmla="*/ 147828 h 383857"/>
                <a:gd name="connsiteX4" fmla="*/ 162782 w 179260"/>
                <a:gd name="connsiteY4" fmla="*/ 145352 h 383857"/>
                <a:gd name="connsiteX5" fmla="*/ 158115 w 179260"/>
                <a:gd name="connsiteY5" fmla="*/ 148400 h 383857"/>
                <a:gd name="connsiteX6" fmla="*/ 153448 w 179260"/>
                <a:gd name="connsiteY6" fmla="*/ 136588 h 383857"/>
                <a:gd name="connsiteX7" fmla="*/ 138017 w 179260"/>
                <a:gd name="connsiteY7" fmla="*/ 133350 h 383857"/>
                <a:gd name="connsiteX8" fmla="*/ 142589 w 179260"/>
                <a:gd name="connsiteY8" fmla="*/ 126492 h 383857"/>
                <a:gd name="connsiteX9" fmla="*/ 141351 w 179260"/>
                <a:gd name="connsiteY9" fmla="*/ 120682 h 383857"/>
                <a:gd name="connsiteX10" fmla="*/ 146971 w 179260"/>
                <a:gd name="connsiteY10" fmla="*/ 117920 h 383857"/>
                <a:gd name="connsiteX11" fmla="*/ 144399 w 179260"/>
                <a:gd name="connsiteY11" fmla="*/ 113062 h 383857"/>
                <a:gd name="connsiteX12" fmla="*/ 133541 w 179260"/>
                <a:gd name="connsiteY12" fmla="*/ 111633 h 383857"/>
                <a:gd name="connsiteX13" fmla="*/ 129445 w 179260"/>
                <a:gd name="connsiteY13" fmla="*/ 98774 h 383857"/>
                <a:gd name="connsiteX14" fmla="*/ 132779 w 179260"/>
                <a:gd name="connsiteY14" fmla="*/ 91440 h 383857"/>
                <a:gd name="connsiteX15" fmla="*/ 125635 w 179260"/>
                <a:gd name="connsiteY15" fmla="*/ 92488 h 383857"/>
                <a:gd name="connsiteX16" fmla="*/ 118396 w 179260"/>
                <a:gd name="connsiteY16" fmla="*/ 91916 h 383857"/>
                <a:gd name="connsiteX17" fmla="*/ 107252 w 179260"/>
                <a:gd name="connsiteY17" fmla="*/ 100203 h 383857"/>
                <a:gd name="connsiteX18" fmla="*/ 109347 w 179260"/>
                <a:gd name="connsiteY18" fmla="*/ 90297 h 383857"/>
                <a:gd name="connsiteX19" fmla="*/ 105728 w 179260"/>
                <a:gd name="connsiteY19" fmla="*/ 80201 h 383857"/>
                <a:gd name="connsiteX20" fmla="*/ 111157 w 179260"/>
                <a:gd name="connsiteY20" fmla="*/ 77438 h 383857"/>
                <a:gd name="connsiteX21" fmla="*/ 110395 w 179260"/>
                <a:gd name="connsiteY21" fmla="*/ 67818 h 383857"/>
                <a:gd name="connsiteX22" fmla="*/ 115253 w 179260"/>
                <a:gd name="connsiteY22" fmla="*/ 69723 h 383857"/>
                <a:gd name="connsiteX23" fmla="*/ 117824 w 179260"/>
                <a:gd name="connsiteY23" fmla="*/ 60770 h 383857"/>
                <a:gd name="connsiteX24" fmla="*/ 122492 w 179260"/>
                <a:gd name="connsiteY24" fmla="*/ 63151 h 383857"/>
                <a:gd name="connsiteX25" fmla="*/ 124587 w 179260"/>
                <a:gd name="connsiteY25" fmla="*/ 56388 h 383857"/>
                <a:gd name="connsiteX26" fmla="*/ 128969 w 179260"/>
                <a:gd name="connsiteY26" fmla="*/ 57150 h 383857"/>
                <a:gd name="connsiteX27" fmla="*/ 126873 w 179260"/>
                <a:gd name="connsiteY27" fmla="*/ 50006 h 383857"/>
                <a:gd name="connsiteX28" fmla="*/ 130969 w 179260"/>
                <a:gd name="connsiteY28" fmla="*/ 39338 h 383857"/>
                <a:gd name="connsiteX29" fmla="*/ 129445 w 179260"/>
                <a:gd name="connsiteY29" fmla="*/ 18860 h 383857"/>
                <a:gd name="connsiteX30" fmla="*/ 123539 w 179260"/>
                <a:gd name="connsiteY30" fmla="*/ 16669 h 383857"/>
                <a:gd name="connsiteX31" fmla="*/ 120968 w 179260"/>
                <a:gd name="connsiteY31" fmla="*/ 21336 h 383857"/>
                <a:gd name="connsiteX32" fmla="*/ 116014 w 179260"/>
                <a:gd name="connsiteY32" fmla="*/ 6477 h 383857"/>
                <a:gd name="connsiteX33" fmla="*/ 106204 w 179260"/>
                <a:gd name="connsiteY33" fmla="*/ 0 h 383857"/>
                <a:gd name="connsiteX34" fmla="*/ 102108 w 179260"/>
                <a:gd name="connsiteY34" fmla="*/ 6287 h 383857"/>
                <a:gd name="connsiteX35" fmla="*/ 103251 w 179260"/>
                <a:gd name="connsiteY35" fmla="*/ 12859 h 383857"/>
                <a:gd name="connsiteX36" fmla="*/ 100108 w 179260"/>
                <a:gd name="connsiteY36" fmla="*/ 12478 h 383857"/>
                <a:gd name="connsiteX37" fmla="*/ 96774 w 179260"/>
                <a:gd name="connsiteY37" fmla="*/ 16383 h 383857"/>
                <a:gd name="connsiteX38" fmla="*/ 93536 w 179260"/>
                <a:gd name="connsiteY38" fmla="*/ 20098 h 383857"/>
                <a:gd name="connsiteX39" fmla="*/ 98965 w 179260"/>
                <a:gd name="connsiteY39" fmla="*/ 29528 h 383857"/>
                <a:gd name="connsiteX40" fmla="*/ 92202 w 179260"/>
                <a:gd name="connsiteY40" fmla="*/ 28670 h 383857"/>
                <a:gd name="connsiteX41" fmla="*/ 89059 w 179260"/>
                <a:gd name="connsiteY41" fmla="*/ 23813 h 383857"/>
                <a:gd name="connsiteX42" fmla="*/ 76105 w 179260"/>
                <a:gd name="connsiteY42" fmla="*/ 27432 h 383857"/>
                <a:gd name="connsiteX43" fmla="*/ 70295 w 179260"/>
                <a:gd name="connsiteY43" fmla="*/ 34480 h 383857"/>
                <a:gd name="connsiteX44" fmla="*/ 58960 w 179260"/>
                <a:gd name="connsiteY44" fmla="*/ 39529 h 383857"/>
                <a:gd name="connsiteX45" fmla="*/ 56960 w 179260"/>
                <a:gd name="connsiteY45" fmla="*/ 45911 h 383857"/>
                <a:gd name="connsiteX46" fmla="*/ 59531 w 179260"/>
                <a:gd name="connsiteY46" fmla="*/ 52483 h 383857"/>
                <a:gd name="connsiteX47" fmla="*/ 56007 w 179260"/>
                <a:gd name="connsiteY47" fmla="*/ 54769 h 383857"/>
                <a:gd name="connsiteX48" fmla="*/ 56197 w 179260"/>
                <a:gd name="connsiteY48" fmla="*/ 59055 h 383857"/>
                <a:gd name="connsiteX49" fmla="*/ 47339 w 179260"/>
                <a:gd name="connsiteY49" fmla="*/ 65246 h 383857"/>
                <a:gd name="connsiteX50" fmla="*/ 46768 w 179260"/>
                <a:gd name="connsiteY50" fmla="*/ 69723 h 383857"/>
                <a:gd name="connsiteX51" fmla="*/ 51721 w 179260"/>
                <a:gd name="connsiteY51" fmla="*/ 71819 h 383857"/>
                <a:gd name="connsiteX52" fmla="*/ 43244 w 179260"/>
                <a:gd name="connsiteY52" fmla="*/ 84392 h 383857"/>
                <a:gd name="connsiteX53" fmla="*/ 39338 w 179260"/>
                <a:gd name="connsiteY53" fmla="*/ 97917 h 383857"/>
                <a:gd name="connsiteX54" fmla="*/ 29908 w 179260"/>
                <a:gd name="connsiteY54" fmla="*/ 94202 h 383857"/>
                <a:gd name="connsiteX55" fmla="*/ 27337 w 179260"/>
                <a:gd name="connsiteY55" fmla="*/ 95440 h 383857"/>
                <a:gd name="connsiteX56" fmla="*/ 23717 w 179260"/>
                <a:gd name="connsiteY56" fmla="*/ 92202 h 383857"/>
                <a:gd name="connsiteX57" fmla="*/ 21336 w 179260"/>
                <a:gd name="connsiteY57" fmla="*/ 94774 h 383857"/>
                <a:gd name="connsiteX58" fmla="*/ 23908 w 179260"/>
                <a:gd name="connsiteY58" fmla="*/ 100584 h 383857"/>
                <a:gd name="connsiteX59" fmla="*/ 22955 w 179260"/>
                <a:gd name="connsiteY59" fmla="*/ 115538 h 383857"/>
                <a:gd name="connsiteX60" fmla="*/ 19050 w 179260"/>
                <a:gd name="connsiteY60" fmla="*/ 114300 h 383857"/>
                <a:gd name="connsiteX61" fmla="*/ 17717 w 179260"/>
                <a:gd name="connsiteY61" fmla="*/ 124778 h 383857"/>
                <a:gd name="connsiteX62" fmla="*/ 20955 w 179260"/>
                <a:gd name="connsiteY62" fmla="*/ 130112 h 383857"/>
                <a:gd name="connsiteX63" fmla="*/ 17336 w 179260"/>
                <a:gd name="connsiteY63" fmla="*/ 132779 h 383857"/>
                <a:gd name="connsiteX64" fmla="*/ 15907 w 179260"/>
                <a:gd name="connsiteY64" fmla="*/ 137541 h 383857"/>
                <a:gd name="connsiteX65" fmla="*/ 11906 w 179260"/>
                <a:gd name="connsiteY65" fmla="*/ 134207 h 383857"/>
                <a:gd name="connsiteX66" fmla="*/ 8192 w 179260"/>
                <a:gd name="connsiteY66" fmla="*/ 137922 h 383857"/>
                <a:gd name="connsiteX67" fmla="*/ 9525 w 179260"/>
                <a:gd name="connsiteY67" fmla="*/ 151924 h 383857"/>
                <a:gd name="connsiteX68" fmla="*/ 3620 w 179260"/>
                <a:gd name="connsiteY68" fmla="*/ 148876 h 383857"/>
                <a:gd name="connsiteX69" fmla="*/ 191 w 179260"/>
                <a:gd name="connsiteY69" fmla="*/ 150781 h 383857"/>
                <a:gd name="connsiteX70" fmla="*/ 0 w 179260"/>
                <a:gd name="connsiteY70" fmla="*/ 157925 h 383857"/>
                <a:gd name="connsiteX71" fmla="*/ 18669 w 179260"/>
                <a:gd name="connsiteY71" fmla="*/ 177546 h 383857"/>
                <a:gd name="connsiteX72" fmla="*/ 30956 w 179260"/>
                <a:gd name="connsiteY72" fmla="*/ 180975 h 383857"/>
                <a:gd name="connsiteX73" fmla="*/ 28004 w 179260"/>
                <a:gd name="connsiteY73" fmla="*/ 184976 h 383857"/>
                <a:gd name="connsiteX74" fmla="*/ 35909 w 179260"/>
                <a:gd name="connsiteY74" fmla="*/ 191738 h 383857"/>
                <a:gd name="connsiteX75" fmla="*/ 25622 w 179260"/>
                <a:gd name="connsiteY75" fmla="*/ 191738 h 383857"/>
                <a:gd name="connsiteX76" fmla="*/ 29623 w 179260"/>
                <a:gd name="connsiteY76" fmla="*/ 199168 h 383857"/>
                <a:gd name="connsiteX77" fmla="*/ 34862 w 179260"/>
                <a:gd name="connsiteY77" fmla="*/ 199168 h 383857"/>
                <a:gd name="connsiteX78" fmla="*/ 37529 w 179260"/>
                <a:gd name="connsiteY78" fmla="*/ 191738 h 383857"/>
                <a:gd name="connsiteX79" fmla="*/ 36576 w 179260"/>
                <a:gd name="connsiteY79" fmla="*/ 202502 h 383857"/>
                <a:gd name="connsiteX80" fmla="*/ 48101 w 179260"/>
                <a:gd name="connsiteY80" fmla="*/ 228790 h 383857"/>
                <a:gd name="connsiteX81" fmla="*/ 41148 w 179260"/>
                <a:gd name="connsiteY81" fmla="*/ 249460 h 383857"/>
                <a:gd name="connsiteX82" fmla="*/ 40862 w 179260"/>
                <a:gd name="connsiteY82" fmla="*/ 260890 h 383857"/>
                <a:gd name="connsiteX83" fmla="*/ 68866 w 179260"/>
                <a:gd name="connsiteY83" fmla="*/ 261176 h 383857"/>
                <a:gd name="connsiteX84" fmla="*/ 91059 w 179260"/>
                <a:gd name="connsiteY84" fmla="*/ 245745 h 383857"/>
                <a:gd name="connsiteX85" fmla="*/ 92964 w 179260"/>
                <a:gd name="connsiteY85" fmla="*/ 230886 h 383857"/>
                <a:gd name="connsiteX86" fmla="*/ 109823 w 179260"/>
                <a:gd name="connsiteY86" fmla="*/ 248698 h 383857"/>
                <a:gd name="connsiteX87" fmla="*/ 106585 w 179260"/>
                <a:gd name="connsiteY87" fmla="*/ 258889 h 383857"/>
                <a:gd name="connsiteX88" fmla="*/ 117729 w 179260"/>
                <a:gd name="connsiteY88" fmla="*/ 310134 h 383857"/>
                <a:gd name="connsiteX89" fmla="*/ 124301 w 179260"/>
                <a:gd name="connsiteY89" fmla="*/ 306324 h 383857"/>
                <a:gd name="connsiteX90" fmla="*/ 129350 w 179260"/>
                <a:gd name="connsiteY90" fmla="*/ 341567 h 383857"/>
                <a:gd name="connsiteX91" fmla="*/ 126016 w 179260"/>
                <a:gd name="connsiteY91" fmla="*/ 343567 h 383857"/>
                <a:gd name="connsiteX92" fmla="*/ 132588 w 179260"/>
                <a:gd name="connsiteY92" fmla="*/ 347281 h 383857"/>
                <a:gd name="connsiteX93" fmla="*/ 124016 w 179260"/>
                <a:gd name="connsiteY93" fmla="*/ 367189 h 383857"/>
                <a:gd name="connsiteX94" fmla="*/ 122015 w 179260"/>
                <a:gd name="connsiteY94" fmla="*/ 383857 h 383857"/>
                <a:gd name="connsiteX95" fmla="*/ 128397 w 179260"/>
                <a:gd name="connsiteY95" fmla="*/ 380905 h 383857"/>
                <a:gd name="connsiteX96" fmla="*/ 128588 w 179260"/>
                <a:gd name="connsiteY96" fmla="*/ 380714 h 383857"/>
                <a:gd name="connsiteX97" fmla="*/ 132397 w 179260"/>
                <a:gd name="connsiteY97" fmla="*/ 372237 h 383857"/>
                <a:gd name="connsiteX98" fmla="*/ 132017 w 179260"/>
                <a:gd name="connsiteY98" fmla="*/ 366427 h 383857"/>
                <a:gd name="connsiteX99" fmla="*/ 141732 w 179260"/>
                <a:gd name="connsiteY99" fmla="*/ 350234 h 383857"/>
                <a:gd name="connsiteX100" fmla="*/ 145923 w 179260"/>
                <a:gd name="connsiteY100" fmla="*/ 341947 h 383857"/>
                <a:gd name="connsiteX101" fmla="*/ 136684 w 179260"/>
                <a:gd name="connsiteY101" fmla="*/ 318992 h 383857"/>
                <a:gd name="connsiteX102" fmla="*/ 140589 w 179260"/>
                <a:gd name="connsiteY102" fmla="*/ 315468 h 383857"/>
                <a:gd name="connsiteX103" fmla="*/ 137446 w 179260"/>
                <a:gd name="connsiteY103" fmla="*/ 301562 h 383857"/>
                <a:gd name="connsiteX104" fmla="*/ 123158 w 179260"/>
                <a:gd name="connsiteY104" fmla="*/ 286226 h 383857"/>
                <a:gd name="connsiteX105" fmla="*/ 120205 w 179260"/>
                <a:gd name="connsiteY105" fmla="*/ 275558 h 383857"/>
                <a:gd name="connsiteX106" fmla="*/ 127445 w 179260"/>
                <a:gd name="connsiteY106" fmla="*/ 272320 h 383857"/>
                <a:gd name="connsiteX107" fmla="*/ 126111 w 179260"/>
                <a:gd name="connsiteY107" fmla="*/ 260985 h 383857"/>
                <a:gd name="connsiteX108" fmla="*/ 131540 w 179260"/>
                <a:gd name="connsiteY108" fmla="*/ 259461 h 383857"/>
                <a:gd name="connsiteX109" fmla="*/ 134398 w 179260"/>
                <a:gd name="connsiteY109" fmla="*/ 252317 h 383857"/>
                <a:gd name="connsiteX110" fmla="*/ 131540 w 179260"/>
                <a:gd name="connsiteY110" fmla="*/ 249174 h 383857"/>
                <a:gd name="connsiteX111" fmla="*/ 126873 w 179260"/>
                <a:gd name="connsiteY111" fmla="*/ 252317 h 383857"/>
                <a:gd name="connsiteX112" fmla="*/ 125825 w 179260"/>
                <a:gd name="connsiteY112" fmla="*/ 242030 h 383857"/>
                <a:gd name="connsiteX113" fmla="*/ 109633 w 179260"/>
                <a:gd name="connsiteY113" fmla="*/ 224123 h 383857"/>
                <a:gd name="connsiteX114" fmla="*/ 109347 w 179260"/>
                <a:gd name="connsiteY114" fmla="*/ 214884 h 383857"/>
                <a:gd name="connsiteX115" fmla="*/ 104680 w 179260"/>
                <a:gd name="connsiteY115" fmla="*/ 213836 h 383857"/>
                <a:gd name="connsiteX116" fmla="*/ 102394 w 179260"/>
                <a:gd name="connsiteY116" fmla="*/ 207264 h 383857"/>
                <a:gd name="connsiteX117" fmla="*/ 110680 w 179260"/>
                <a:gd name="connsiteY117" fmla="*/ 207550 h 383857"/>
                <a:gd name="connsiteX118" fmla="*/ 110680 w 179260"/>
                <a:gd name="connsiteY118" fmla="*/ 191453 h 383857"/>
                <a:gd name="connsiteX119" fmla="*/ 115538 w 179260"/>
                <a:gd name="connsiteY119" fmla="*/ 180880 h 383857"/>
                <a:gd name="connsiteX120" fmla="*/ 121729 w 179260"/>
                <a:gd name="connsiteY120" fmla="*/ 185356 h 383857"/>
                <a:gd name="connsiteX121" fmla="*/ 134398 w 179260"/>
                <a:gd name="connsiteY121" fmla="*/ 184023 h 383857"/>
                <a:gd name="connsiteX122" fmla="*/ 137160 w 179260"/>
                <a:gd name="connsiteY122" fmla="*/ 176689 h 383857"/>
                <a:gd name="connsiteX123" fmla="*/ 146018 w 179260"/>
                <a:gd name="connsiteY123" fmla="*/ 177165 h 383857"/>
                <a:gd name="connsiteX124" fmla="*/ 143923 w 179260"/>
                <a:gd name="connsiteY124" fmla="*/ 171640 h 383857"/>
                <a:gd name="connsiteX125" fmla="*/ 152971 w 179260"/>
                <a:gd name="connsiteY125" fmla="*/ 169545 h 383857"/>
                <a:gd name="connsiteX126" fmla="*/ 156305 w 179260"/>
                <a:gd name="connsiteY126" fmla="*/ 173164 h 383857"/>
                <a:gd name="connsiteX127" fmla="*/ 156305 w 179260"/>
                <a:gd name="connsiteY127" fmla="*/ 171926 h 383857"/>
                <a:gd name="connsiteX128" fmla="*/ 158877 w 179260"/>
                <a:gd name="connsiteY128" fmla="*/ 163925 h 383857"/>
                <a:gd name="connsiteX129" fmla="*/ 167640 w 179260"/>
                <a:gd name="connsiteY129" fmla="*/ 160972 h 383857"/>
                <a:gd name="connsiteX130" fmla="*/ 165068 w 179260"/>
                <a:gd name="connsiteY130" fmla="*/ 157353 h 383857"/>
                <a:gd name="connsiteX131" fmla="*/ 179261 w 179260"/>
                <a:gd name="connsiteY131" fmla="*/ 146399 h 38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79260" h="383857">
                  <a:moveTo>
                    <a:pt x="179261" y="146399"/>
                  </a:moveTo>
                  <a:lnTo>
                    <a:pt x="177927" y="140970"/>
                  </a:lnTo>
                  <a:lnTo>
                    <a:pt x="171736" y="142589"/>
                  </a:lnTo>
                  <a:lnTo>
                    <a:pt x="166878" y="147828"/>
                  </a:lnTo>
                  <a:lnTo>
                    <a:pt x="162782" y="145352"/>
                  </a:lnTo>
                  <a:lnTo>
                    <a:pt x="158115" y="148400"/>
                  </a:lnTo>
                  <a:lnTo>
                    <a:pt x="153448" y="136588"/>
                  </a:lnTo>
                  <a:lnTo>
                    <a:pt x="138017" y="133350"/>
                  </a:lnTo>
                  <a:lnTo>
                    <a:pt x="142589" y="126492"/>
                  </a:lnTo>
                  <a:lnTo>
                    <a:pt x="141351" y="120682"/>
                  </a:lnTo>
                  <a:lnTo>
                    <a:pt x="146971" y="117920"/>
                  </a:lnTo>
                  <a:lnTo>
                    <a:pt x="144399" y="113062"/>
                  </a:lnTo>
                  <a:lnTo>
                    <a:pt x="133541" y="111633"/>
                  </a:lnTo>
                  <a:lnTo>
                    <a:pt x="129445" y="98774"/>
                  </a:lnTo>
                  <a:lnTo>
                    <a:pt x="132779" y="91440"/>
                  </a:lnTo>
                  <a:lnTo>
                    <a:pt x="125635" y="92488"/>
                  </a:lnTo>
                  <a:lnTo>
                    <a:pt x="118396" y="91916"/>
                  </a:lnTo>
                  <a:lnTo>
                    <a:pt x="107252" y="100203"/>
                  </a:lnTo>
                  <a:lnTo>
                    <a:pt x="109347" y="90297"/>
                  </a:lnTo>
                  <a:lnTo>
                    <a:pt x="105728" y="80201"/>
                  </a:lnTo>
                  <a:lnTo>
                    <a:pt x="111157" y="77438"/>
                  </a:lnTo>
                  <a:lnTo>
                    <a:pt x="110395" y="67818"/>
                  </a:lnTo>
                  <a:lnTo>
                    <a:pt x="115253" y="69723"/>
                  </a:lnTo>
                  <a:lnTo>
                    <a:pt x="117824" y="60770"/>
                  </a:lnTo>
                  <a:lnTo>
                    <a:pt x="122492" y="63151"/>
                  </a:lnTo>
                  <a:lnTo>
                    <a:pt x="124587" y="56388"/>
                  </a:lnTo>
                  <a:lnTo>
                    <a:pt x="128969" y="57150"/>
                  </a:lnTo>
                  <a:lnTo>
                    <a:pt x="126873" y="50006"/>
                  </a:lnTo>
                  <a:lnTo>
                    <a:pt x="130969" y="39338"/>
                  </a:lnTo>
                  <a:lnTo>
                    <a:pt x="129445" y="18860"/>
                  </a:lnTo>
                  <a:lnTo>
                    <a:pt x="123539" y="16669"/>
                  </a:lnTo>
                  <a:lnTo>
                    <a:pt x="120968" y="21336"/>
                  </a:lnTo>
                  <a:lnTo>
                    <a:pt x="116014" y="6477"/>
                  </a:lnTo>
                  <a:lnTo>
                    <a:pt x="106204" y="0"/>
                  </a:lnTo>
                  <a:lnTo>
                    <a:pt x="102108" y="6287"/>
                  </a:lnTo>
                  <a:lnTo>
                    <a:pt x="103251" y="12859"/>
                  </a:lnTo>
                  <a:lnTo>
                    <a:pt x="100108" y="12478"/>
                  </a:lnTo>
                  <a:lnTo>
                    <a:pt x="96774" y="16383"/>
                  </a:lnTo>
                  <a:lnTo>
                    <a:pt x="93536" y="20098"/>
                  </a:lnTo>
                  <a:lnTo>
                    <a:pt x="98965" y="29528"/>
                  </a:lnTo>
                  <a:lnTo>
                    <a:pt x="92202" y="28670"/>
                  </a:lnTo>
                  <a:lnTo>
                    <a:pt x="89059" y="23813"/>
                  </a:lnTo>
                  <a:lnTo>
                    <a:pt x="76105" y="27432"/>
                  </a:lnTo>
                  <a:lnTo>
                    <a:pt x="70295" y="34480"/>
                  </a:lnTo>
                  <a:lnTo>
                    <a:pt x="58960" y="39529"/>
                  </a:lnTo>
                  <a:lnTo>
                    <a:pt x="56960" y="45911"/>
                  </a:lnTo>
                  <a:lnTo>
                    <a:pt x="59531" y="52483"/>
                  </a:lnTo>
                  <a:lnTo>
                    <a:pt x="56007" y="54769"/>
                  </a:lnTo>
                  <a:lnTo>
                    <a:pt x="56197" y="59055"/>
                  </a:lnTo>
                  <a:lnTo>
                    <a:pt x="47339" y="65246"/>
                  </a:lnTo>
                  <a:lnTo>
                    <a:pt x="46768" y="69723"/>
                  </a:lnTo>
                  <a:lnTo>
                    <a:pt x="51721" y="71819"/>
                  </a:lnTo>
                  <a:lnTo>
                    <a:pt x="43244" y="84392"/>
                  </a:lnTo>
                  <a:lnTo>
                    <a:pt x="39338" y="97917"/>
                  </a:lnTo>
                  <a:lnTo>
                    <a:pt x="29908" y="94202"/>
                  </a:lnTo>
                  <a:lnTo>
                    <a:pt x="27337" y="95440"/>
                  </a:lnTo>
                  <a:lnTo>
                    <a:pt x="23717" y="92202"/>
                  </a:lnTo>
                  <a:lnTo>
                    <a:pt x="21336" y="94774"/>
                  </a:lnTo>
                  <a:lnTo>
                    <a:pt x="23908" y="100584"/>
                  </a:lnTo>
                  <a:lnTo>
                    <a:pt x="22955" y="115538"/>
                  </a:lnTo>
                  <a:lnTo>
                    <a:pt x="19050" y="114300"/>
                  </a:lnTo>
                  <a:lnTo>
                    <a:pt x="17717" y="124778"/>
                  </a:lnTo>
                  <a:lnTo>
                    <a:pt x="20955" y="130112"/>
                  </a:lnTo>
                  <a:lnTo>
                    <a:pt x="17336" y="132779"/>
                  </a:lnTo>
                  <a:lnTo>
                    <a:pt x="15907" y="137541"/>
                  </a:lnTo>
                  <a:lnTo>
                    <a:pt x="11906" y="134207"/>
                  </a:lnTo>
                  <a:lnTo>
                    <a:pt x="8192" y="137922"/>
                  </a:lnTo>
                  <a:lnTo>
                    <a:pt x="9525" y="151924"/>
                  </a:lnTo>
                  <a:lnTo>
                    <a:pt x="3620" y="148876"/>
                  </a:lnTo>
                  <a:lnTo>
                    <a:pt x="191" y="150781"/>
                  </a:lnTo>
                  <a:lnTo>
                    <a:pt x="0" y="157925"/>
                  </a:lnTo>
                  <a:lnTo>
                    <a:pt x="18669" y="177546"/>
                  </a:lnTo>
                  <a:lnTo>
                    <a:pt x="30956" y="180975"/>
                  </a:lnTo>
                  <a:lnTo>
                    <a:pt x="28004" y="184976"/>
                  </a:lnTo>
                  <a:lnTo>
                    <a:pt x="35909" y="191738"/>
                  </a:lnTo>
                  <a:lnTo>
                    <a:pt x="25622" y="191738"/>
                  </a:lnTo>
                  <a:lnTo>
                    <a:pt x="29623" y="199168"/>
                  </a:lnTo>
                  <a:lnTo>
                    <a:pt x="34862" y="199168"/>
                  </a:lnTo>
                  <a:lnTo>
                    <a:pt x="37529" y="191738"/>
                  </a:lnTo>
                  <a:lnTo>
                    <a:pt x="36576" y="202502"/>
                  </a:lnTo>
                  <a:lnTo>
                    <a:pt x="48101" y="228790"/>
                  </a:lnTo>
                  <a:lnTo>
                    <a:pt x="41148" y="249460"/>
                  </a:lnTo>
                  <a:lnTo>
                    <a:pt x="40862" y="260890"/>
                  </a:lnTo>
                  <a:lnTo>
                    <a:pt x="68866" y="261176"/>
                  </a:lnTo>
                  <a:lnTo>
                    <a:pt x="91059" y="245745"/>
                  </a:lnTo>
                  <a:lnTo>
                    <a:pt x="92964" y="230886"/>
                  </a:lnTo>
                  <a:lnTo>
                    <a:pt x="109823" y="248698"/>
                  </a:lnTo>
                  <a:lnTo>
                    <a:pt x="106585" y="258889"/>
                  </a:lnTo>
                  <a:lnTo>
                    <a:pt x="117729" y="310134"/>
                  </a:lnTo>
                  <a:lnTo>
                    <a:pt x="124301" y="306324"/>
                  </a:lnTo>
                  <a:lnTo>
                    <a:pt x="129350" y="341567"/>
                  </a:lnTo>
                  <a:lnTo>
                    <a:pt x="126016" y="343567"/>
                  </a:lnTo>
                  <a:lnTo>
                    <a:pt x="132588" y="347281"/>
                  </a:lnTo>
                  <a:lnTo>
                    <a:pt x="124016" y="367189"/>
                  </a:lnTo>
                  <a:lnTo>
                    <a:pt x="122015" y="383857"/>
                  </a:lnTo>
                  <a:lnTo>
                    <a:pt x="128397" y="380905"/>
                  </a:lnTo>
                  <a:lnTo>
                    <a:pt x="128588" y="380714"/>
                  </a:lnTo>
                  <a:lnTo>
                    <a:pt x="132397" y="372237"/>
                  </a:lnTo>
                  <a:lnTo>
                    <a:pt x="132017" y="366427"/>
                  </a:lnTo>
                  <a:lnTo>
                    <a:pt x="141732" y="350234"/>
                  </a:lnTo>
                  <a:lnTo>
                    <a:pt x="145923" y="341947"/>
                  </a:lnTo>
                  <a:lnTo>
                    <a:pt x="136684" y="318992"/>
                  </a:lnTo>
                  <a:lnTo>
                    <a:pt x="140589" y="315468"/>
                  </a:lnTo>
                  <a:lnTo>
                    <a:pt x="137446" y="301562"/>
                  </a:lnTo>
                  <a:lnTo>
                    <a:pt x="123158" y="286226"/>
                  </a:lnTo>
                  <a:lnTo>
                    <a:pt x="120205" y="275558"/>
                  </a:lnTo>
                  <a:lnTo>
                    <a:pt x="127445" y="272320"/>
                  </a:lnTo>
                  <a:lnTo>
                    <a:pt x="126111" y="260985"/>
                  </a:lnTo>
                  <a:lnTo>
                    <a:pt x="131540" y="259461"/>
                  </a:lnTo>
                  <a:lnTo>
                    <a:pt x="134398" y="252317"/>
                  </a:lnTo>
                  <a:lnTo>
                    <a:pt x="131540" y="249174"/>
                  </a:lnTo>
                  <a:lnTo>
                    <a:pt x="126873" y="252317"/>
                  </a:lnTo>
                  <a:lnTo>
                    <a:pt x="125825" y="242030"/>
                  </a:lnTo>
                  <a:lnTo>
                    <a:pt x="109633" y="224123"/>
                  </a:lnTo>
                  <a:lnTo>
                    <a:pt x="109347" y="214884"/>
                  </a:lnTo>
                  <a:lnTo>
                    <a:pt x="104680" y="213836"/>
                  </a:lnTo>
                  <a:lnTo>
                    <a:pt x="102394" y="207264"/>
                  </a:lnTo>
                  <a:lnTo>
                    <a:pt x="110680" y="207550"/>
                  </a:lnTo>
                  <a:lnTo>
                    <a:pt x="110680" y="191453"/>
                  </a:lnTo>
                  <a:lnTo>
                    <a:pt x="115538" y="180880"/>
                  </a:lnTo>
                  <a:lnTo>
                    <a:pt x="121729" y="185356"/>
                  </a:lnTo>
                  <a:lnTo>
                    <a:pt x="134398" y="184023"/>
                  </a:lnTo>
                  <a:lnTo>
                    <a:pt x="137160" y="176689"/>
                  </a:lnTo>
                  <a:lnTo>
                    <a:pt x="146018" y="177165"/>
                  </a:lnTo>
                  <a:lnTo>
                    <a:pt x="143923" y="171640"/>
                  </a:lnTo>
                  <a:lnTo>
                    <a:pt x="152971" y="169545"/>
                  </a:lnTo>
                  <a:lnTo>
                    <a:pt x="156305" y="173164"/>
                  </a:lnTo>
                  <a:lnTo>
                    <a:pt x="156305" y="171926"/>
                  </a:lnTo>
                  <a:lnTo>
                    <a:pt x="158877" y="163925"/>
                  </a:lnTo>
                  <a:lnTo>
                    <a:pt x="167640" y="160972"/>
                  </a:lnTo>
                  <a:lnTo>
                    <a:pt x="165068" y="157353"/>
                  </a:lnTo>
                  <a:lnTo>
                    <a:pt x="179261" y="14639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1" name="Freeform: Shape 2691">
              <a:extLst>
                <a:ext uri="{FF2B5EF4-FFF2-40B4-BE49-F238E27FC236}">
                  <a16:creationId xmlns:a16="http://schemas.microsoft.com/office/drawing/2014/main" id="{A924F4F8-EAD2-0655-8EA6-C94BE00B6BF1}"/>
                </a:ext>
              </a:extLst>
            </p:cNvPr>
            <p:cNvSpPr/>
            <p:nvPr/>
          </p:nvSpPr>
          <p:spPr>
            <a:xfrm>
              <a:off x="3482911" y="3470179"/>
              <a:ext cx="638079" cy="265842"/>
            </a:xfrm>
            <a:custGeom>
              <a:avLst/>
              <a:gdLst>
                <a:gd name="connsiteX0" fmla="*/ 0 w 638079"/>
                <a:gd name="connsiteY0" fmla="*/ 87725 h 265842"/>
                <a:gd name="connsiteX1" fmla="*/ 6191 w 638079"/>
                <a:gd name="connsiteY1" fmla="*/ 91535 h 265842"/>
                <a:gd name="connsiteX2" fmla="*/ 5429 w 638079"/>
                <a:gd name="connsiteY2" fmla="*/ 95345 h 265842"/>
                <a:gd name="connsiteX3" fmla="*/ 25527 w 638079"/>
                <a:gd name="connsiteY3" fmla="*/ 108299 h 265842"/>
                <a:gd name="connsiteX4" fmla="*/ 35147 w 638079"/>
                <a:gd name="connsiteY4" fmla="*/ 105346 h 265842"/>
                <a:gd name="connsiteX5" fmla="*/ 39814 w 638079"/>
                <a:gd name="connsiteY5" fmla="*/ 112586 h 265842"/>
                <a:gd name="connsiteX6" fmla="*/ 45625 w 638079"/>
                <a:gd name="connsiteY6" fmla="*/ 110204 h 265842"/>
                <a:gd name="connsiteX7" fmla="*/ 53816 w 638079"/>
                <a:gd name="connsiteY7" fmla="*/ 121158 h 265842"/>
                <a:gd name="connsiteX8" fmla="*/ 55340 w 638079"/>
                <a:gd name="connsiteY8" fmla="*/ 130207 h 265842"/>
                <a:gd name="connsiteX9" fmla="*/ 61913 w 638079"/>
                <a:gd name="connsiteY9" fmla="*/ 133541 h 265842"/>
                <a:gd name="connsiteX10" fmla="*/ 66104 w 638079"/>
                <a:gd name="connsiteY10" fmla="*/ 141256 h 265842"/>
                <a:gd name="connsiteX11" fmla="*/ 61913 w 638079"/>
                <a:gd name="connsiteY11" fmla="*/ 149828 h 265842"/>
                <a:gd name="connsiteX12" fmla="*/ 64579 w 638079"/>
                <a:gd name="connsiteY12" fmla="*/ 157925 h 265842"/>
                <a:gd name="connsiteX13" fmla="*/ 56483 w 638079"/>
                <a:gd name="connsiteY13" fmla="*/ 167450 h 265842"/>
                <a:gd name="connsiteX14" fmla="*/ 62675 w 638079"/>
                <a:gd name="connsiteY14" fmla="*/ 178022 h 265842"/>
                <a:gd name="connsiteX15" fmla="*/ 73533 w 638079"/>
                <a:gd name="connsiteY15" fmla="*/ 176594 h 265842"/>
                <a:gd name="connsiteX16" fmla="*/ 90106 w 638079"/>
                <a:gd name="connsiteY16" fmla="*/ 182785 h 265842"/>
                <a:gd name="connsiteX17" fmla="*/ 113347 w 638079"/>
                <a:gd name="connsiteY17" fmla="*/ 181356 h 265842"/>
                <a:gd name="connsiteX18" fmla="*/ 140017 w 638079"/>
                <a:gd name="connsiteY18" fmla="*/ 198977 h 265842"/>
                <a:gd name="connsiteX19" fmla="*/ 152019 w 638079"/>
                <a:gd name="connsiteY19" fmla="*/ 196596 h 265842"/>
                <a:gd name="connsiteX20" fmla="*/ 150114 w 638079"/>
                <a:gd name="connsiteY20" fmla="*/ 205264 h 265842"/>
                <a:gd name="connsiteX21" fmla="*/ 155924 w 638079"/>
                <a:gd name="connsiteY21" fmla="*/ 206121 h 265842"/>
                <a:gd name="connsiteX22" fmla="*/ 161735 w 638079"/>
                <a:gd name="connsiteY22" fmla="*/ 221456 h 265842"/>
                <a:gd name="connsiteX23" fmla="*/ 161735 w 638079"/>
                <a:gd name="connsiteY23" fmla="*/ 226695 h 265842"/>
                <a:gd name="connsiteX24" fmla="*/ 170974 w 638079"/>
                <a:gd name="connsiteY24" fmla="*/ 237172 h 265842"/>
                <a:gd name="connsiteX25" fmla="*/ 183356 w 638079"/>
                <a:gd name="connsiteY25" fmla="*/ 233839 h 265842"/>
                <a:gd name="connsiteX26" fmla="*/ 230981 w 638079"/>
                <a:gd name="connsiteY26" fmla="*/ 242030 h 265842"/>
                <a:gd name="connsiteX27" fmla="*/ 246507 w 638079"/>
                <a:gd name="connsiteY27" fmla="*/ 237172 h 265842"/>
                <a:gd name="connsiteX28" fmla="*/ 278987 w 638079"/>
                <a:gd name="connsiteY28" fmla="*/ 242506 h 265842"/>
                <a:gd name="connsiteX29" fmla="*/ 283178 w 638079"/>
                <a:gd name="connsiteY29" fmla="*/ 250603 h 265842"/>
                <a:gd name="connsiteX30" fmla="*/ 291370 w 638079"/>
                <a:gd name="connsiteY30" fmla="*/ 252984 h 265842"/>
                <a:gd name="connsiteX31" fmla="*/ 298704 w 638079"/>
                <a:gd name="connsiteY31" fmla="*/ 249174 h 265842"/>
                <a:gd name="connsiteX32" fmla="*/ 318421 w 638079"/>
                <a:gd name="connsiteY32" fmla="*/ 260604 h 265842"/>
                <a:gd name="connsiteX33" fmla="*/ 331946 w 638079"/>
                <a:gd name="connsiteY33" fmla="*/ 257270 h 265842"/>
                <a:gd name="connsiteX34" fmla="*/ 331565 w 638079"/>
                <a:gd name="connsiteY34" fmla="*/ 262985 h 265842"/>
                <a:gd name="connsiteX35" fmla="*/ 341281 w 638079"/>
                <a:gd name="connsiteY35" fmla="*/ 265843 h 265842"/>
                <a:gd name="connsiteX36" fmla="*/ 345948 w 638079"/>
                <a:gd name="connsiteY36" fmla="*/ 260604 h 265842"/>
                <a:gd name="connsiteX37" fmla="*/ 389287 w 638079"/>
                <a:gd name="connsiteY37" fmla="*/ 242506 h 265842"/>
                <a:gd name="connsiteX38" fmla="*/ 393859 w 638079"/>
                <a:gd name="connsiteY38" fmla="*/ 246793 h 265842"/>
                <a:gd name="connsiteX39" fmla="*/ 430244 w 638079"/>
                <a:gd name="connsiteY39" fmla="*/ 244888 h 265842"/>
                <a:gd name="connsiteX40" fmla="*/ 437674 w 638079"/>
                <a:gd name="connsiteY40" fmla="*/ 238696 h 265842"/>
                <a:gd name="connsiteX41" fmla="*/ 449199 w 638079"/>
                <a:gd name="connsiteY41" fmla="*/ 235744 h 265842"/>
                <a:gd name="connsiteX42" fmla="*/ 460438 w 638079"/>
                <a:gd name="connsiteY42" fmla="*/ 222409 h 265842"/>
                <a:gd name="connsiteX43" fmla="*/ 471678 w 638079"/>
                <a:gd name="connsiteY43" fmla="*/ 219551 h 265842"/>
                <a:gd name="connsiteX44" fmla="*/ 475583 w 638079"/>
                <a:gd name="connsiteY44" fmla="*/ 215265 h 265842"/>
                <a:gd name="connsiteX45" fmla="*/ 481774 w 638079"/>
                <a:gd name="connsiteY45" fmla="*/ 213360 h 265842"/>
                <a:gd name="connsiteX46" fmla="*/ 479393 w 638079"/>
                <a:gd name="connsiteY46" fmla="*/ 207645 h 265842"/>
                <a:gd name="connsiteX47" fmla="*/ 469392 w 638079"/>
                <a:gd name="connsiteY47" fmla="*/ 197072 h 265842"/>
                <a:gd name="connsiteX48" fmla="*/ 477107 w 638079"/>
                <a:gd name="connsiteY48" fmla="*/ 180404 h 265842"/>
                <a:gd name="connsiteX49" fmla="*/ 488728 w 638079"/>
                <a:gd name="connsiteY49" fmla="*/ 179451 h 265842"/>
                <a:gd name="connsiteX50" fmla="*/ 493300 w 638079"/>
                <a:gd name="connsiteY50" fmla="*/ 185642 h 265842"/>
                <a:gd name="connsiteX51" fmla="*/ 511492 w 638079"/>
                <a:gd name="connsiteY51" fmla="*/ 188976 h 265842"/>
                <a:gd name="connsiteX52" fmla="*/ 527018 w 638079"/>
                <a:gd name="connsiteY52" fmla="*/ 179927 h 265842"/>
                <a:gd name="connsiteX53" fmla="*/ 528923 w 638079"/>
                <a:gd name="connsiteY53" fmla="*/ 172212 h 265842"/>
                <a:gd name="connsiteX54" fmla="*/ 534353 w 638079"/>
                <a:gd name="connsiteY54" fmla="*/ 169354 h 265842"/>
                <a:gd name="connsiteX55" fmla="*/ 540544 w 638079"/>
                <a:gd name="connsiteY55" fmla="*/ 172688 h 265842"/>
                <a:gd name="connsiteX56" fmla="*/ 554450 w 638079"/>
                <a:gd name="connsiteY56" fmla="*/ 170783 h 265842"/>
                <a:gd name="connsiteX57" fmla="*/ 566071 w 638079"/>
                <a:gd name="connsiteY57" fmla="*/ 162687 h 265842"/>
                <a:gd name="connsiteX58" fmla="*/ 563404 w 638079"/>
                <a:gd name="connsiteY58" fmla="*/ 157448 h 265842"/>
                <a:gd name="connsiteX59" fmla="*/ 575786 w 638079"/>
                <a:gd name="connsiteY59" fmla="*/ 146018 h 265842"/>
                <a:gd name="connsiteX60" fmla="*/ 585788 w 638079"/>
                <a:gd name="connsiteY60" fmla="*/ 148876 h 265842"/>
                <a:gd name="connsiteX61" fmla="*/ 587407 w 638079"/>
                <a:gd name="connsiteY61" fmla="*/ 141732 h 265842"/>
                <a:gd name="connsiteX62" fmla="*/ 594360 w 638079"/>
                <a:gd name="connsiteY62" fmla="*/ 145542 h 265842"/>
                <a:gd name="connsiteX63" fmla="*/ 603980 w 638079"/>
                <a:gd name="connsiteY63" fmla="*/ 138398 h 265842"/>
                <a:gd name="connsiteX64" fmla="*/ 612553 w 638079"/>
                <a:gd name="connsiteY64" fmla="*/ 141732 h 265842"/>
                <a:gd name="connsiteX65" fmla="*/ 617982 w 638079"/>
                <a:gd name="connsiteY65" fmla="*/ 138398 h 265842"/>
                <a:gd name="connsiteX66" fmla="*/ 631888 w 638079"/>
                <a:gd name="connsiteY66" fmla="*/ 143161 h 265842"/>
                <a:gd name="connsiteX67" fmla="*/ 638080 w 638079"/>
                <a:gd name="connsiteY67" fmla="*/ 140303 h 265842"/>
                <a:gd name="connsiteX68" fmla="*/ 637699 w 638079"/>
                <a:gd name="connsiteY68" fmla="*/ 133541 h 265842"/>
                <a:gd name="connsiteX69" fmla="*/ 633031 w 638079"/>
                <a:gd name="connsiteY69" fmla="*/ 131159 h 265842"/>
                <a:gd name="connsiteX70" fmla="*/ 622935 w 638079"/>
                <a:gd name="connsiteY70" fmla="*/ 120205 h 265842"/>
                <a:gd name="connsiteX71" fmla="*/ 622173 w 638079"/>
                <a:gd name="connsiteY71" fmla="*/ 114967 h 265842"/>
                <a:gd name="connsiteX72" fmla="*/ 614458 w 638079"/>
                <a:gd name="connsiteY72" fmla="*/ 112586 h 265842"/>
                <a:gd name="connsiteX73" fmla="*/ 610553 w 638079"/>
                <a:gd name="connsiteY73" fmla="*/ 106871 h 265842"/>
                <a:gd name="connsiteX74" fmla="*/ 595503 w 638079"/>
                <a:gd name="connsiteY74" fmla="*/ 107823 h 265842"/>
                <a:gd name="connsiteX75" fmla="*/ 585788 w 638079"/>
                <a:gd name="connsiteY75" fmla="*/ 116396 h 265842"/>
                <a:gd name="connsiteX76" fmla="*/ 576167 w 638079"/>
                <a:gd name="connsiteY76" fmla="*/ 110204 h 265842"/>
                <a:gd name="connsiteX77" fmla="*/ 570357 w 638079"/>
                <a:gd name="connsiteY77" fmla="*/ 113538 h 265842"/>
                <a:gd name="connsiteX78" fmla="*/ 563785 w 638079"/>
                <a:gd name="connsiteY78" fmla="*/ 110680 h 265842"/>
                <a:gd name="connsiteX79" fmla="*/ 557974 w 638079"/>
                <a:gd name="connsiteY79" fmla="*/ 117824 h 265842"/>
                <a:gd name="connsiteX80" fmla="*/ 550640 w 638079"/>
                <a:gd name="connsiteY80" fmla="*/ 111633 h 265842"/>
                <a:gd name="connsiteX81" fmla="*/ 549116 w 638079"/>
                <a:gd name="connsiteY81" fmla="*/ 105346 h 265842"/>
                <a:gd name="connsiteX82" fmla="*/ 556450 w 638079"/>
                <a:gd name="connsiteY82" fmla="*/ 102489 h 265842"/>
                <a:gd name="connsiteX83" fmla="*/ 556070 w 638079"/>
                <a:gd name="connsiteY83" fmla="*/ 94393 h 265842"/>
                <a:gd name="connsiteX84" fmla="*/ 574167 w 638079"/>
                <a:gd name="connsiteY84" fmla="*/ 64294 h 265842"/>
                <a:gd name="connsiteX85" fmla="*/ 572643 w 638079"/>
                <a:gd name="connsiteY85" fmla="*/ 60008 h 265842"/>
                <a:gd name="connsiteX86" fmla="*/ 563404 w 638079"/>
                <a:gd name="connsiteY86" fmla="*/ 57626 h 265842"/>
                <a:gd name="connsiteX87" fmla="*/ 554450 w 638079"/>
                <a:gd name="connsiteY87" fmla="*/ 62865 h 265842"/>
                <a:gd name="connsiteX88" fmla="*/ 547878 w 638079"/>
                <a:gd name="connsiteY88" fmla="*/ 62389 h 265842"/>
                <a:gd name="connsiteX89" fmla="*/ 536638 w 638079"/>
                <a:gd name="connsiteY89" fmla="*/ 52007 h 265842"/>
                <a:gd name="connsiteX90" fmla="*/ 524732 w 638079"/>
                <a:gd name="connsiteY90" fmla="*/ 51435 h 265842"/>
                <a:gd name="connsiteX91" fmla="*/ 504920 w 638079"/>
                <a:gd name="connsiteY91" fmla="*/ 62865 h 265842"/>
                <a:gd name="connsiteX92" fmla="*/ 501872 w 638079"/>
                <a:gd name="connsiteY92" fmla="*/ 70961 h 265842"/>
                <a:gd name="connsiteX93" fmla="*/ 497205 w 638079"/>
                <a:gd name="connsiteY93" fmla="*/ 73914 h 265842"/>
                <a:gd name="connsiteX94" fmla="*/ 488728 w 638079"/>
                <a:gd name="connsiteY94" fmla="*/ 70485 h 265842"/>
                <a:gd name="connsiteX95" fmla="*/ 467011 w 638079"/>
                <a:gd name="connsiteY95" fmla="*/ 73914 h 265842"/>
                <a:gd name="connsiteX96" fmla="*/ 453485 w 638079"/>
                <a:gd name="connsiteY96" fmla="*/ 81534 h 265842"/>
                <a:gd name="connsiteX97" fmla="*/ 448056 w 638079"/>
                <a:gd name="connsiteY97" fmla="*/ 77248 h 265842"/>
                <a:gd name="connsiteX98" fmla="*/ 433388 w 638079"/>
                <a:gd name="connsiteY98" fmla="*/ 79629 h 265842"/>
                <a:gd name="connsiteX99" fmla="*/ 428339 w 638079"/>
                <a:gd name="connsiteY99" fmla="*/ 75343 h 265842"/>
                <a:gd name="connsiteX100" fmla="*/ 412242 w 638079"/>
                <a:gd name="connsiteY100" fmla="*/ 75819 h 265842"/>
                <a:gd name="connsiteX101" fmla="*/ 400336 w 638079"/>
                <a:gd name="connsiteY101" fmla="*/ 67532 h 265842"/>
                <a:gd name="connsiteX102" fmla="*/ 400621 w 638079"/>
                <a:gd name="connsiteY102" fmla="*/ 60484 h 265842"/>
                <a:gd name="connsiteX103" fmla="*/ 384334 w 638079"/>
                <a:gd name="connsiteY103" fmla="*/ 60198 h 265842"/>
                <a:gd name="connsiteX104" fmla="*/ 381000 w 638079"/>
                <a:gd name="connsiteY104" fmla="*/ 53435 h 265842"/>
                <a:gd name="connsiteX105" fmla="*/ 372999 w 638079"/>
                <a:gd name="connsiteY105" fmla="*/ 49435 h 265842"/>
                <a:gd name="connsiteX106" fmla="*/ 364998 w 638079"/>
                <a:gd name="connsiteY106" fmla="*/ 52673 h 265842"/>
                <a:gd name="connsiteX107" fmla="*/ 361379 w 638079"/>
                <a:gd name="connsiteY107" fmla="*/ 48387 h 265842"/>
                <a:gd name="connsiteX108" fmla="*/ 347758 w 638079"/>
                <a:gd name="connsiteY108" fmla="*/ 46196 h 265842"/>
                <a:gd name="connsiteX109" fmla="*/ 329946 w 638079"/>
                <a:gd name="connsiteY109" fmla="*/ 51245 h 265842"/>
                <a:gd name="connsiteX110" fmla="*/ 325755 w 638079"/>
                <a:gd name="connsiteY110" fmla="*/ 56674 h 265842"/>
                <a:gd name="connsiteX111" fmla="*/ 318802 w 638079"/>
                <a:gd name="connsiteY111" fmla="*/ 53435 h 265842"/>
                <a:gd name="connsiteX112" fmla="*/ 313658 w 638079"/>
                <a:gd name="connsiteY112" fmla="*/ 56959 h 265842"/>
                <a:gd name="connsiteX113" fmla="*/ 305943 w 638079"/>
                <a:gd name="connsiteY113" fmla="*/ 50863 h 265842"/>
                <a:gd name="connsiteX114" fmla="*/ 288893 w 638079"/>
                <a:gd name="connsiteY114" fmla="*/ 43339 h 265842"/>
                <a:gd name="connsiteX115" fmla="*/ 285274 w 638079"/>
                <a:gd name="connsiteY115" fmla="*/ 26479 h 265842"/>
                <a:gd name="connsiteX116" fmla="*/ 288131 w 638079"/>
                <a:gd name="connsiteY116" fmla="*/ 22193 h 265842"/>
                <a:gd name="connsiteX117" fmla="*/ 276225 w 638079"/>
                <a:gd name="connsiteY117" fmla="*/ 18669 h 265842"/>
                <a:gd name="connsiteX118" fmla="*/ 270034 w 638079"/>
                <a:gd name="connsiteY118" fmla="*/ 20098 h 265842"/>
                <a:gd name="connsiteX119" fmla="*/ 256413 w 638079"/>
                <a:gd name="connsiteY119" fmla="*/ 13240 h 265842"/>
                <a:gd name="connsiteX120" fmla="*/ 240887 w 638079"/>
                <a:gd name="connsiteY120" fmla="*/ 11811 h 265842"/>
                <a:gd name="connsiteX121" fmla="*/ 236315 w 638079"/>
                <a:gd name="connsiteY121" fmla="*/ 6477 h 265842"/>
                <a:gd name="connsiteX122" fmla="*/ 227552 w 638079"/>
                <a:gd name="connsiteY122" fmla="*/ 5048 h 265842"/>
                <a:gd name="connsiteX123" fmla="*/ 221075 w 638079"/>
                <a:gd name="connsiteY123" fmla="*/ 0 h 265842"/>
                <a:gd name="connsiteX124" fmla="*/ 216694 w 638079"/>
                <a:gd name="connsiteY124" fmla="*/ 9620 h 265842"/>
                <a:gd name="connsiteX125" fmla="*/ 209740 w 638079"/>
                <a:gd name="connsiteY125" fmla="*/ 12192 h 265842"/>
                <a:gd name="connsiteX126" fmla="*/ 207645 w 638079"/>
                <a:gd name="connsiteY126" fmla="*/ 19717 h 265842"/>
                <a:gd name="connsiteX127" fmla="*/ 203263 w 638079"/>
                <a:gd name="connsiteY127" fmla="*/ 19336 h 265842"/>
                <a:gd name="connsiteX128" fmla="*/ 198596 w 638079"/>
                <a:gd name="connsiteY128" fmla="*/ 32290 h 265842"/>
                <a:gd name="connsiteX129" fmla="*/ 202692 w 638079"/>
                <a:gd name="connsiteY129" fmla="*/ 36576 h 265842"/>
                <a:gd name="connsiteX130" fmla="*/ 204025 w 638079"/>
                <a:gd name="connsiteY130" fmla="*/ 42672 h 265842"/>
                <a:gd name="connsiteX131" fmla="*/ 209931 w 638079"/>
                <a:gd name="connsiteY131" fmla="*/ 45911 h 265842"/>
                <a:gd name="connsiteX132" fmla="*/ 201930 w 638079"/>
                <a:gd name="connsiteY132" fmla="*/ 61150 h 265842"/>
                <a:gd name="connsiteX133" fmla="*/ 196310 w 638079"/>
                <a:gd name="connsiteY133" fmla="*/ 60770 h 265842"/>
                <a:gd name="connsiteX134" fmla="*/ 188595 w 638079"/>
                <a:gd name="connsiteY134" fmla="*/ 66580 h 265842"/>
                <a:gd name="connsiteX135" fmla="*/ 182404 w 638079"/>
                <a:gd name="connsiteY135" fmla="*/ 60770 h 265842"/>
                <a:gd name="connsiteX136" fmla="*/ 174593 w 638079"/>
                <a:gd name="connsiteY136" fmla="*/ 63055 h 265842"/>
                <a:gd name="connsiteX137" fmla="*/ 159925 w 638079"/>
                <a:gd name="connsiteY137" fmla="*/ 58579 h 265842"/>
                <a:gd name="connsiteX138" fmla="*/ 153257 w 638079"/>
                <a:gd name="connsiteY138" fmla="*/ 62103 h 265842"/>
                <a:gd name="connsiteX139" fmla="*/ 136017 w 638079"/>
                <a:gd name="connsiteY139" fmla="*/ 59246 h 265842"/>
                <a:gd name="connsiteX140" fmla="*/ 130778 w 638079"/>
                <a:gd name="connsiteY140" fmla="*/ 53340 h 265842"/>
                <a:gd name="connsiteX141" fmla="*/ 129445 w 638079"/>
                <a:gd name="connsiteY141" fmla="*/ 43910 h 265842"/>
                <a:gd name="connsiteX142" fmla="*/ 103918 w 638079"/>
                <a:gd name="connsiteY142" fmla="*/ 42005 h 265842"/>
                <a:gd name="connsiteX143" fmla="*/ 104108 w 638079"/>
                <a:gd name="connsiteY143" fmla="*/ 37148 h 265842"/>
                <a:gd name="connsiteX144" fmla="*/ 100203 w 638079"/>
                <a:gd name="connsiteY144" fmla="*/ 36957 h 265842"/>
                <a:gd name="connsiteX145" fmla="*/ 97536 w 638079"/>
                <a:gd name="connsiteY145" fmla="*/ 40958 h 265842"/>
                <a:gd name="connsiteX146" fmla="*/ 91059 w 638079"/>
                <a:gd name="connsiteY146" fmla="*/ 34480 h 265842"/>
                <a:gd name="connsiteX147" fmla="*/ 88011 w 638079"/>
                <a:gd name="connsiteY147" fmla="*/ 40386 h 265842"/>
                <a:gd name="connsiteX148" fmla="*/ 80677 w 638079"/>
                <a:gd name="connsiteY148" fmla="*/ 39910 h 265842"/>
                <a:gd name="connsiteX149" fmla="*/ 72676 w 638079"/>
                <a:gd name="connsiteY149" fmla="*/ 47339 h 265842"/>
                <a:gd name="connsiteX150" fmla="*/ 65342 w 638079"/>
                <a:gd name="connsiteY150" fmla="*/ 47339 h 265842"/>
                <a:gd name="connsiteX151" fmla="*/ 58769 w 638079"/>
                <a:gd name="connsiteY151" fmla="*/ 53340 h 265842"/>
                <a:gd name="connsiteX152" fmla="*/ 37529 w 638079"/>
                <a:gd name="connsiteY152" fmla="*/ 61436 h 265842"/>
                <a:gd name="connsiteX153" fmla="*/ 38671 w 638079"/>
                <a:gd name="connsiteY153" fmla="*/ 66675 h 265842"/>
                <a:gd name="connsiteX154" fmla="*/ 32290 w 638079"/>
                <a:gd name="connsiteY154" fmla="*/ 69818 h 265842"/>
                <a:gd name="connsiteX155" fmla="*/ 29432 w 638079"/>
                <a:gd name="connsiteY155" fmla="*/ 67913 h 265842"/>
                <a:gd name="connsiteX156" fmla="*/ 26479 w 638079"/>
                <a:gd name="connsiteY156" fmla="*/ 72390 h 265842"/>
                <a:gd name="connsiteX157" fmla="*/ 22574 w 638079"/>
                <a:gd name="connsiteY157" fmla="*/ 69533 h 265842"/>
                <a:gd name="connsiteX158" fmla="*/ 20860 w 638079"/>
                <a:gd name="connsiteY158" fmla="*/ 73152 h 265842"/>
                <a:gd name="connsiteX159" fmla="*/ 8096 w 638079"/>
                <a:gd name="connsiteY159" fmla="*/ 72676 h 265842"/>
                <a:gd name="connsiteX160" fmla="*/ 7715 w 638079"/>
                <a:gd name="connsiteY160" fmla="*/ 78200 h 265842"/>
                <a:gd name="connsiteX161" fmla="*/ 1429 w 638079"/>
                <a:gd name="connsiteY161" fmla="*/ 79820 h 265842"/>
                <a:gd name="connsiteX162" fmla="*/ 3048 w 638079"/>
                <a:gd name="connsiteY162" fmla="*/ 84868 h 265842"/>
                <a:gd name="connsiteX163" fmla="*/ 0 w 638079"/>
                <a:gd name="connsiteY163" fmla="*/ 87725 h 2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638079" h="265842">
                  <a:moveTo>
                    <a:pt x="0" y="87725"/>
                  </a:moveTo>
                  <a:lnTo>
                    <a:pt x="6191" y="91535"/>
                  </a:lnTo>
                  <a:lnTo>
                    <a:pt x="5429" y="95345"/>
                  </a:lnTo>
                  <a:lnTo>
                    <a:pt x="25527" y="108299"/>
                  </a:lnTo>
                  <a:lnTo>
                    <a:pt x="35147" y="105346"/>
                  </a:lnTo>
                  <a:lnTo>
                    <a:pt x="39814" y="112586"/>
                  </a:lnTo>
                  <a:lnTo>
                    <a:pt x="45625" y="110204"/>
                  </a:lnTo>
                  <a:lnTo>
                    <a:pt x="53816" y="121158"/>
                  </a:lnTo>
                  <a:lnTo>
                    <a:pt x="55340" y="130207"/>
                  </a:lnTo>
                  <a:lnTo>
                    <a:pt x="61913" y="133541"/>
                  </a:lnTo>
                  <a:lnTo>
                    <a:pt x="66104" y="141256"/>
                  </a:lnTo>
                  <a:lnTo>
                    <a:pt x="61913" y="149828"/>
                  </a:lnTo>
                  <a:lnTo>
                    <a:pt x="64579" y="157925"/>
                  </a:lnTo>
                  <a:lnTo>
                    <a:pt x="56483" y="167450"/>
                  </a:lnTo>
                  <a:lnTo>
                    <a:pt x="62675" y="178022"/>
                  </a:lnTo>
                  <a:lnTo>
                    <a:pt x="73533" y="176594"/>
                  </a:lnTo>
                  <a:lnTo>
                    <a:pt x="90106" y="182785"/>
                  </a:lnTo>
                  <a:lnTo>
                    <a:pt x="113347" y="181356"/>
                  </a:lnTo>
                  <a:lnTo>
                    <a:pt x="140017" y="198977"/>
                  </a:lnTo>
                  <a:lnTo>
                    <a:pt x="152019" y="196596"/>
                  </a:lnTo>
                  <a:lnTo>
                    <a:pt x="150114" y="205264"/>
                  </a:lnTo>
                  <a:lnTo>
                    <a:pt x="155924" y="206121"/>
                  </a:lnTo>
                  <a:lnTo>
                    <a:pt x="161735" y="221456"/>
                  </a:lnTo>
                  <a:lnTo>
                    <a:pt x="161735" y="226695"/>
                  </a:lnTo>
                  <a:lnTo>
                    <a:pt x="170974" y="237172"/>
                  </a:lnTo>
                  <a:lnTo>
                    <a:pt x="183356" y="233839"/>
                  </a:lnTo>
                  <a:lnTo>
                    <a:pt x="230981" y="242030"/>
                  </a:lnTo>
                  <a:lnTo>
                    <a:pt x="246507" y="237172"/>
                  </a:lnTo>
                  <a:lnTo>
                    <a:pt x="278987" y="242506"/>
                  </a:lnTo>
                  <a:lnTo>
                    <a:pt x="283178" y="250603"/>
                  </a:lnTo>
                  <a:lnTo>
                    <a:pt x="291370" y="252984"/>
                  </a:lnTo>
                  <a:lnTo>
                    <a:pt x="298704" y="249174"/>
                  </a:lnTo>
                  <a:lnTo>
                    <a:pt x="318421" y="260604"/>
                  </a:lnTo>
                  <a:lnTo>
                    <a:pt x="331946" y="257270"/>
                  </a:lnTo>
                  <a:lnTo>
                    <a:pt x="331565" y="262985"/>
                  </a:lnTo>
                  <a:lnTo>
                    <a:pt x="341281" y="265843"/>
                  </a:lnTo>
                  <a:lnTo>
                    <a:pt x="345948" y="260604"/>
                  </a:lnTo>
                  <a:lnTo>
                    <a:pt x="389287" y="242506"/>
                  </a:lnTo>
                  <a:lnTo>
                    <a:pt x="393859" y="246793"/>
                  </a:lnTo>
                  <a:lnTo>
                    <a:pt x="430244" y="244888"/>
                  </a:lnTo>
                  <a:lnTo>
                    <a:pt x="437674" y="238696"/>
                  </a:lnTo>
                  <a:lnTo>
                    <a:pt x="449199" y="235744"/>
                  </a:lnTo>
                  <a:lnTo>
                    <a:pt x="460438" y="222409"/>
                  </a:lnTo>
                  <a:lnTo>
                    <a:pt x="471678" y="219551"/>
                  </a:lnTo>
                  <a:lnTo>
                    <a:pt x="475583" y="215265"/>
                  </a:lnTo>
                  <a:lnTo>
                    <a:pt x="481774" y="213360"/>
                  </a:lnTo>
                  <a:lnTo>
                    <a:pt x="479393" y="207645"/>
                  </a:lnTo>
                  <a:lnTo>
                    <a:pt x="469392" y="197072"/>
                  </a:lnTo>
                  <a:lnTo>
                    <a:pt x="477107" y="180404"/>
                  </a:lnTo>
                  <a:lnTo>
                    <a:pt x="488728" y="179451"/>
                  </a:lnTo>
                  <a:lnTo>
                    <a:pt x="493300" y="185642"/>
                  </a:lnTo>
                  <a:lnTo>
                    <a:pt x="511492" y="188976"/>
                  </a:lnTo>
                  <a:lnTo>
                    <a:pt x="527018" y="179927"/>
                  </a:lnTo>
                  <a:lnTo>
                    <a:pt x="528923" y="172212"/>
                  </a:lnTo>
                  <a:lnTo>
                    <a:pt x="534353" y="169354"/>
                  </a:lnTo>
                  <a:lnTo>
                    <a:pt x="540544" y="172688"/>
                  </a:lnTo>
                  <a:lnTo>
                    <a:pt x="554450" y="170783"/>
                  </a:lnTo>
                  <a:lnTo>
                    <a:pt x="566071" y="162687"/>
                  </a:lnTo>
                  <a:lnTo>
                    <a:pt x="563404" y="157448"/>
                  </a:lnTo>
                  <a:lnTo>
                    <a:pt x="575786" y="146018"/>
                  </a:lnTo>
                  <a:lnTo>
                    <a:pt x="585788" y="148876"/>
                  </a:lnTo>
                  <a:lnTo>
                    <a:pt x="587407" y="141732"/>
                  </a:lnTo>
                  <a:lnTo>
                    <a:pt x="594360" y="145542"/>
                  </a:lnTo>
                  <a:lnTo>
                    <a:pt x="603980" y="138398"/>
                  </a:lnTo>
                  <a:lnTo>
                    <a:pt x="612553" y="141732"/>
                  </a:lnTo>
                  <a:lnTo>
                    <a:pt x="617982" y="138398"/>
                  </a:lnTo>
                  <a:lnTo>
                    <a:pt x="631888" y="143161"/>
                  </a:lnTo>
                  <a:lnTo>
                    <a:pt x="638080" y="140303"/>
                  </a:lnTo>
                  <a:lnTo>
                    <a:pt x="637699" y="133541"/>
                  </a:lnTo>
                  <a:lnTo>
                    <a:pt x="633031" y="131159"/>
                  </a:lnTo>
                  <a:lnTo>
                    <a:pt x="622935" y="120205"/>
                  </a:lnTo>
                  <a:lnTo>
                    <a:pt x="622173" y="114967"/>
                  </a:lnTo>
                  <a:lnTo>
                    <a:pt x="614458" y="112586"/>
                  </a:lnTo>
                  <a:lnTo>
                    <a:pt x="610553" y="106871"/>
                  </a:lnTo>
                  <a:lnTo>
                    <a:pt x="595503" y="107823"/>
                  </a:lnTo>
                  <a:lnTo>
                    <a:pt x="585788" y="116396"/>
                  </a:lnTo>
                  <a:lnTo>
                    <a:pt x="576167" y="110204"/>
                  </a:lnTo>
                  <a:lnTo>
                    <a:pt x="570357" y="113538"/>
                  </a:lnTo>
                  <a:lnTo>
                    <a:pt x="563785" y="110680"/>
                  </a:lnTo>
                  <a:lnTo>
                    <a:pt x="557974" y="117824"/>
                  </a:lnTo>
                  <a:lnTo>
                    <a:pt x="550640" y="111633"/>
                  </a:lnTo>
                  <a:lnTo>
                    <a:pt x="549116" y="105346"/>
                  </a:lnTo>
                  <a:lnTo>
                    <a:pt x="556450" y="102489"/>
                  </a:lnTo>
                  <a:lnTo>
                    <a:pt x="556070" y="94393"/>
                  </a:lnTo>
                  <a:lnTo>
                    <a:pt x="574167" y="64294"/>
                  </a:lnTo>
                  <a:lnTo>
                    <a:pt x="572643" y="60008"/>
                  </a:lnTo>
                  <a:lnTo>
                    <a:pt x="563404" y="57626"/>
                  </a:lnTo>
                  <a:lnTo>
                    <a:pt x="554450" y="62865"/>
                  </a:lnTo>
                  <a:lnTo>
                    <a:pt x="547878" y="62389"/>
                  </a:lnTo>
                  <a:lnTo>
                    <a:pt x="536638" y="52007"/>
                  </a:lnTo>
                  <a:lnTo>
                    <a:pt x="524732" y="51435"/>
                  </a:lnTo>
                  <a:lnTo>
                    <a:pt x="504920" y="62865"/>
                  </a:lnTo>
                  <a:lnTo>
                    <a:pt x="501872" y="70961"/>
                  </a:lnTo>
                  <a:lnTo>
                    <a:pt x="497205" y="73914"/>
                  </a:lnTo>
                  <a:lnTo>
                    <a:pt x="488728" y="70485"/>
                  </a:lnTo>
                  <a:lnTo>
                    <a:pt x="467011" y="73914"/>
                  </a:lnTo>
                  <a:lnTo>
                    <a:pt x="453485" y="81534"/>
                  </a:lnTo>
                  <a:lnTo>
                    <a:pt x="448056" y="77248"/>
                  </a:lnTo>
                  <a:lnTo>
                    <a:pt x="433388" y="79629"/>
                  </a:lnTo>
                  <a:lnTo>
                    <a:pt x="428339" y="75343"/>
                  </a:lnTo>
                  <a:lnTo>
                    <a:pt x="412242" y="75819"/>
                  </a:lnTo>
                  <a:lnTo>
                    <a:pt x="400336" y="67532"/>
                  </a:lnTo>
                  <a:lnTo>
                    <a:pt x="400621" y="60484"/>
                  </a:lnTo>
                  <a:lnTo>
                    <a:pt x="384334" y="60198"/>
                  </a:lnTo>
                  <a:lnTo>
                    <a:pt x="381000" y="53435"/>
                  </a:lnTo>
                  <a:lnTo>
                    <a:pt x="372999" y="49435"/>
                  </a:lnTo>
                  <a:lnTo>
                    <a:pt x="364998" y="52673"/>
                  </a:lnTo>
                  <a:lnTo>
                    <a:pt x="361379" y="48387"/>
                  </a:lnTo>
                  <a:lnTo>
                    <a:pt x="347758" y="46196"/>
                  </a:lnTo>
                  <a:lnTo>
                    <a:pt x="329946" y="51245"/>
                  </a:lnTo>
                  <a:lnTo>
                    <a:pt x="325755" y="56674"/>
                  </a:lnTo>
                  <a:lnTo>
                    <a:pt x="318802" y="53435"/>
                  </a:lnTo>
                  <a:lnTo>
                    <a:pt x="313658" y="56959"/>
                  </a:lnTo>
                  <a:lnTo>
                    <a:pt x="305943" y="50863"/>
                  </a:lnTo>
                  <a:lnTo>
                    <a:pt x="288893" y="43339"/>
                  </a:lnTo>
                  <a:lnTo>
                    <a:pt x="285274" y="26479"/>
                  </a:lnTo>
                  <a:lnTo>
                    <a:pt x="288131" y="22193"/>
                  </a:lnTo>
                  <a:lnTo>
                    <a:pt x="276225" y="18669"/>
                  </a:lnTo>
                  <a:lnTo>
                    <a:pt x="270034" y="20098"/>
                  </a:lnTo>
                  <a:lnTo>
                    <a:pt x="256413" y="13240"/>
                  </a:lnTo>
                  <a:lnTo>
                    <a:pt x="240887" y="11811"/>
                  </a:lnTo>
                  <a:lnTo>
                    <a:pt x="236315" y="6477"/>
                  </a:lnTo>
                  <a:lnTo>
                    <a:pt x="227552" y="5048"/>
                  </a:lnTo>
                  <a:lnTo>
                    <a:pt x="221075" y="0"/>
                  </a:lnTo>
                  <a:lnTo>
                    <a:pt x="216694" y="9620"/>
                  </a:lnTo>
                  <a:lnTo>
                    <a:pt x="209740" y="12192"/>
                  </a:lnTo>
                  <a:lnTo>
                    <a:pt x="207645" y="19717"/>
                  </a:lnTo>
                  <a:lnTo>
                    <a:pt x="203263" y="19336"/>
                  </a:lnTo>
                  <a:lnTo>
                    <a:pt x="198596" y="32290"/>
                  </a:lnTo>
                  <a:lnTo>
                    <a:pt x="202692" y="36576"/>
                  </a:lnTo>
                  <a:lnTo>
                    <a:pt x="204025" y="42672"/>
                  </a:lnTo>
                  <a:lnTo>
                    <a:pt x="209931" y="45911"/>
                  </a:lnTo>
                  <a:lnTo>
                    <a:pt x="201930" y="61150"/>
                  </a:lnTo>
                  <a:lnTo>
                    <a:pt x="196310" y="60770"/>
                  </a:lnTo>
                  <a:lnTo>
                    <a:pt x="188595" y="66580"/>
                  </a:lnTo>
                  <a:lnTo>
                    <a:pt x="182404" y="60770"/>
                  </a:lnTo>
                  <a:lnTo>
                    <a:pt x="174593" y="63055"/>
                  </a:lnTo>
                  <a:lnTo>
                    <a:pt x="159925" y="58579"/>
                  </a:lnTo>
                  <a:lnTo>
                    <a:pt x="153257" y="62103"/>
                  </a:lnTo>
                  <a:lnTo>
                    <a:pt x="136017" y="59246"/>
                  </a:lnTo>
                  <a:lnTo>
                    <a:pt x="130778" y="53340"/>
                  </a:lnTo>
                  <a:lnTo>
                    <a:pt x="129445" y="43910"/>
                  </a:lnTo>
                  <a:lnTo>
                    <a:pt x="103918" y="42005"/>
                  </a:lnTo>
                  <a:lnTo>
                    <a:pt x="104108" y="37148"/>
                  </a:lnTo>
                  <a:lnTo>
                    <a:pt x="100203" y="36957"/>
                  </a:lnTo>
                  <a:lnTo>
                    <a:pt x="97536" y="40958"/>
                  </a:lnTo>
                  <a:lnTo>
                    <a:pt x="91059" y="34480"/>
                  </a:lnTo>
                  <a:lnTo>
                    <a:pt x="88011" y="40386"/>
                  </a:lnTo>
                  <a:lnTo>
                    <a:pt x="80677" y="39910"/>
                  </a:lnTo>
                  <a:lnTo>
                    <a:pt x="72676" y="47339"/>
                  </a:lnTo>
                  <a:lnTo>
                    <a:pt x="65342" y="47339"/>
                  </a:lnTo>
                  <a:lnTo>
                    <a:pt x="58769" y="53340"/>
                  </a:lnTo>
                  <a:lnTo>
                    <a:pt x="37529" y="61436"/>
                  </a:lnTo>
                  <a:lnTo>
                    <a:pt x="38671" y="66675"/>
                  </a:lnTo>
                  <a:lnTo>
                    <a:pt x="32290" y="69818"/>
                  </a:lnTo>
                  <a:lnTo>
                    <a:pt x="29432" y="67913"/>
                  </a:lnTo>
                  <a:lnTo>
                    <a:pt x="26479" y="72390"/>
                  </a:lnTo>
                  <a:lnTo>
                    <a:pt x="22574" y="69533"/>
                  </a:lnTo>
                  <a:lnTo>
                    <a:pt x="20860" y="73152"/>
                  </a:lnTo>
                  <a:lnTo>
                    <a:pt x="8096" y="72676"/>
                  </a:lnTo>
                  <a:lnTo>
                    <a:pt x="7715" y="78200"/>
                  </a:lnTo>
                  <a:lnTo>
                    <a:pt x="1429" y="79820"/>
                  </a:lnTo>
                  <a:lnTo>
                    <a:pt x="3048" y="84868"/>
                  </a:lnTo>
                  <a:lnTo>
                    <a:pt x="0" y="8772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2" name="Freeform: Shape 2692">
              <a:extLst>
                <a:ext uri="{FF2B5EF4-FFF2-40B4-BE49-F238E27FC236}">
                  <a16:creationId xmlns:a16="http://schemas.microsoft.com/office/drawing/2014/main" id="{7FD8C5A6-F8E2-32DE-4ECF-D6E2F03B112A}"/>
                </a:ext>
              </a:extLst>
            </p:cNvPr>
            <p:cNvSpPr/>
            <p:nvPr/>
          </p:nvSpPr>
          <p:spPr>
            <a:xfrm>
              <a:off x="3727608" y="4476305"/>
              <a:ext cx="82962" cy="108203"/>
            </a:xfrm>
            <a:custGeom>
              <a:avLst/>
              <a:gdLst>
                <a:gd name="connsiteX0" fmla="*/ 33338 w 82962"/>
                <a:gd name="connsiteY0" fmla="*/ 21336 h 108203"/>
                <a:gd name="connsiteX1" fmla="*/ 29813 w 82962"/>
                <a:gd name="connsiteY1" fmla="*/ 16478 h 108203"/>
                <a:gd name="connsiteX2" fmla="*/ 24098 w 82962"/>
                <a:gd name="connsiteY2" fmla="*/ 17526 h 108203"/>
                <a:gd name="connsiteX3" fmla="*/ 21241 w 82962"/>
                <a:gd name="connsiteY3" fmla="*/ 22670 h 108203"/>
                <a:gd name="connsiteX4" fmla="*/ 16573 w 82962"/>
                <a:gd name="connsiteY4" fmla="*/ 19050 h 108203"/>
                <a:gd name="connsiteX5" fmla="*/ 19240 w 82962"/>
                <a:gd name="connsiteY5" fmla="*/ 10001 h 108203"/>
                <a:gd name="connsiteX6" fmla="*/ 15049 w 82962"/>
                <a:gd name="connsiteY6" fmla="*/ 8763 h 108203"/>
                <a:gd name="connsiteX7" fmla="*/ 12192 w 82962"/>
                <a:gd name="connsiteY7" fmla="*/ 3334 h 108203"/>
                <a:gd name="connsiteX8" fmla="*/ 8382 w 82962"/>
                <a:gd name="connsiteY8" fmla="*/ 4381 h 108203"/>
                <a:gd name="connsiteX9" fmla="*/ 2953 w 82962"/>
                <a:gd name="connsiteY9" fmla="*/ 0 h 108203"/>
                <a:gd name="connsiteX10" fmla="*/ 0 w 82962"/>
                <a:gd name="connsiteY10" fmla="*/ 5905 h 108203"/>
                <a:gd name="connsiteX11" fmla="*/ 95 w 82962"/>
                <a:gd name="connsiteY11" fmla="*/ 6191 h 108203"/>
                <a:gd name="connsiteX12" fmla="*/ 5048 w 82962"/>
                <a:gd name="connsiteY12" fmla="*/ 32575 h 108203"/>
                <a:gd name="connsiteX13" fmla="*/ 10954 w 82962"/>
                <a:gd name="connsiteY13" fmla="*/ 40862 h 108203"/>
                <a:gd name="connsiteX14" fmla="*/ 9049 w 82962"/>
                <a:gd name="connsiteY14" fmla="*/ 47720 h 108203"/>
                <a:gd name="connsiteX15" fmla="*/ 14954 w 82962"/>
                <a:gd name="connsiteY15" fmla="*/ 53721 h 108203"/>
                <a:gd name="connsiteX16" fmla="*/ 28004 w 82962"/>
                <a:gd name="connsiteY16" fmla="*/ 68294 h 108203"/>
                <a:gd name="connsiteX17" fmla="*/ 21241 w 82962"/>
                <a:gd name="connsiteY17" fmla="*/ 71914 h 108203"/>
                <a:gd name="connsiteX18" fmla="*/ 32766 w 82962"/>
                <a:gd name="connsiteY18" fmla="*/ 82105 h 108203"/>
                <a:gd name="connsiteX19" fmla="*/ 51245 w 82962"/>
                <a:gd name="connsiteY19" fmla="*/ 96583 h 108203"/>
                <a:gd name="connsiteX20" fmla="*/ 64484 w 82962"/>
                <a:gd name="connsiteY20" fmla="*/ 102870 h 108203"/>
                <a:gd name="connsiteX21" fmla="*/ 67437 w 82962"/>
                <a:gd name="connsiteY21" fmla="*/ 108204 h 108203"/>
                <a:gd name="connsiteX22" fmla="*/ 82963 w 82962"/>
                <a:gd name="connsiteY22" fmla="*/ 104585 h 108203"/>
                <a:gd name="connsiteX23" fmla="*/ 73438 w 82962"/>
                <a:gd name="connsiteY23" fmla="*/ 82105 h 108203"/>
                <a:gd name="connsiteX24" fmla="*/ 65818 w 82962"/>
                <a:gd name="connsiteY24" fmla="*/ 75152 h 108203"/>
                <a:gd name="connsiteX25" fmla="*/ 66104 w 82962"/>
                <a:gd name="connsiteY25" fmla="*/ 38195 h 108203"/>
                <a:gd name="connsiteX26" fmla="*/ 44005 w 82962"/>
                <a:gd name="connsiteY26" fmla="*/ 10763 h 108203"/>
                <a:gd name="connsiteX27" fmla="*/ 40386 w 82962"/>
                <a:gd name="connsiteY27" fmla="*/ 8096 h 108203"/>
                <a:gd name="connsiteX28" fmla="*/ 40291 w 82962"/>
                <a:gd name="connsiteY28" fmla="*/ 8191 h 108203"/>
                <a:gd name="connsiteX29" fmla="*/ 33338 w 82962"/>
                <a:gd name="connsiteY29" fmla="*/ 21336 h 10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2962" h="108203">
                  <a:moveTo>
                    <a:pt x="33338" y="21336"/>
                  </a:moveTo>
                  <a:lnTo>
                    <a:pt x="29813" y="16478"/>
                  </a:lnTo>
                  <a:lnTo>
                    <a:pt x="24098" y="17526"/>
                  </a:lnTo>
                  <a:lnTo>
                    <a:pt x="21241" y="22670"/>
                  </a:lnTo>
                  <a:lnTo>
                    <a:pt x="16573" y="19050"/>
                  </a:lnTo>
                  <a:lnTo>
                    <a:pt x="19240" y="10001"/>
                  </a:lnTo>
                  <a:lnTo>
                    <a:pt x="15049" y="8763"/>
                  </a:lnTo>
                  <a:lnTo>
                    <a:pt x="12192" y="3334"/>
                  </a:lnTo>
                  <a:lnTo>
                    <a:pt x="8382" y="4381"/>
                  </a:lnTo>
                  <a:lnTo>
                    <a:pt x="2953" y="0"/>
                  </a:lnTo>
                  <a:lnTo>
                    <a:pt x="0" y="5905"/>
                  </a:lnTo>
                  <a:lnTo>
                    <a:pt x="95" y="6191"/>
                  </a:lnTo>
                  <a:lnTo>
                    <a:pt x="5048" y="32575"/>
                  </a:lnTo>
                  <a:lnTo>
                    <a:pt x="10954" y="40862"/>
                  </a:lnTo>
                  <a:lnTo>
                    <a:pt x="9049" y="47720"/>
                  </a:lnTo>
                  <a:lnTo>
                    <a:pt x="14954" y="53721"/>
                  </a:lnTo>
                  <a:lnTo>
                    <a:pt x="28004" y="68294"/>
                  </a:lnTo>
                  <a:lnTo>
                    <a:pt x="21241" y="71914"/>
                  </a:lnTo>
                  <a:lnTo>
                    <a:pt x="32766" y="82105"/>
                  </a:lnTo>
                  <a:lnTo>
                    <a:pt x="51245" y="96583"/>
                  </a:lnTo>
                  <a:lnTo>
                    <a:pt x="64484" y="102870"/>
                  </a:lnTo>
                  <a:lnTo>
                    <a:pt x="67437" y="108204"/>
                  </a:lnTo>
                  <a:lnTo>
                    <a:pt x="82963" y="104585"/>
                  </a:lnTo>
                  <a:lnTo>
                    <a:pt x="73438" y="82105"/>
                  </a:lnTo>
                  <a:lnTo>
                    <a:pt x="65818" y="75152"/>
                  </a:lnTo>
                  <a:lnTo>
                    <a:pt x="66104" y="38195"/>
                  </a:lnTo>
                  <a:lnTo>
                    <a:pt x="44005" y="10763"/>
                  </a:lnTo>
                  <a:lnTo>
                    <a:pt x="40386" y="8096"/>
                  </a:lnTo>
                  <a:lnTo>
                    <a:pt x="40291" y="8191"/>
                  </a:lnTo>
                  <a:lnTo>
                    <a:pt x="33338" y="2133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3" name="Freeform: Shape 2693">
              <a:extLst>
                <a:ext uri="{FF2B5EF4-FFF2-40B4-BE49-F238E27FC236}">
                  <a16:creationId xmlns:a16="http://schemas.microsoft.com/office/drawing/2014/main" id="{E354BAEF-D069-B02B-1A15-B181196064D2}"/>
                </a:ext>
              </a:extLst>
            </p:cNvPr>
            <p:cNvSpPr/>
            <p:nvPr/>
          </p:nvSpPr>
          <p:spPr>
            <a:xfrm>
              <a:off x="3916203" y="4470876"/>
              <a:ext cx="191262" cy="121824"/>
            </a:xfrm>
            <a:custGeom>
              <a:avLst/>
              <a:gdLst>
                <a:gd name="connsiteX0" fmla="*/ 1334 w 191262"/>
                <a:gd name="connsiteY0" fmla="*/ 107347 h 121824"/>
                <a:gd name="connsiteX1" fmla="*/ 17907 w 191262"/>
                <a:gd name="connsiteY1" fmla="*/ 121825 h 121824"/>
                <a:gd name="connsiteX2" fmla="*/ 31718 w 191262"/>
                <a:gd name="connsiteY2" fmla="*/ 117253 h 121824"/>
                <a:gd name="connsiteX3" fmla="*/ 37433 w 191262"/>
                <a:gd name="connsiteY3" fmla="*/ 120872 h 121824"/>
                <a:gd name="connsiteX4" fmla="*/ 40481 w 191262"/>
                <a:gd name="connsiteY4" fmla="*/ 117729 h 121824"/>
                <a:gd name="connsiteX5" fmla="*/ 44577 w 191262"/>
                <a:gd name="connsiteY5" fmla="*/ 118586 h 121824"/>
                <a:gd name="connsiteX6" fmla="*/ 49530 w 191262"/>
                <a:gd name="connsiteY6" fmla="*/ 115919 h 121824"/>
                <a:gd name="connsiteX7" fmla="*/ 50578 w 191262"/>
                <a:gd name="connsiteY7" fmla="*/ 110300 h 121824"/>
                <a:gd name="connsiteX8" fmla="*/ 56483 w 191262"/>
                <a:gd name="connsiteY8" fmla="*/ 107633 h 121824"/>
                <a:gd name="connsiteX9" fmla="*/ 68389 w 191262"/>
                <a:gd name="connsiteY9" fmla="*/ 107347 h 121824"/>
                <a:gd name="connsiteX10" fmla="*/ 67723 w 191262"/>
                <a:gd name="connsiteY10" fmla="*/ 110490 h 121824"/>
                <a:gd name="connsiteX11" fmla="*/ 79629 w 191262"/>
                <a:gd name="connsiteY11" fmla="*/ 114300 h 121824"/>
                <a:gd name="connsiteX12" fmla="*/ 84868 w 191262"/>
                <a:gd name="connsiteY12" fmla="*/ 108966 h 121824"/>
                <a:gd name="connsiteX13" fmla="*/ 90678 w 191262"/>
                <a:gd name="connsiteY13" fmla="*/ 110776 h 121824"/>
                <a:gd name="connsiteX14" fmla="*/ 94679 w 191262"/>
                <a:gd name="connsiteY14" fmla="*/ 108490 h 121824"/>
                <a:gd name="connsiteX15" fmla="*/ 98108 w 191262"/>
                <a:gd name="connsiteY15" fmla="*/ 110014 h 121824"/>
                <a:gd name="connsiteX16" fmla="*/ 103346 w 191262"/>
                <a:gd name="connsiteY16" fmla="*/ 100394 h 121824"/>
                <a:gd name="connsiteX17" fmla="*/ 101441 w 191262"/>
                <a:gd name="connsiteY17" fmla="*/ 94393 h 121824"/>
                <a:gd name="connsiteX18" fmla="*/ 111252 w 191262"/>
                <a:gd name="connsiteY18" fmla="*/ 89535 h 121824"/>
                <a:gd name="connsiteX19" fmla="*/ 108299 w 191262"/>
                <a:gd name="connsiteY19" fmla="*/ 85916 h 121824"/>
                <a:gd name="connsiteX20" fmla="*/ 110300 w 191262"/>
                <a:gd name="connsiteY20" fmla="*/ 78296 h 121824"/>
                <a:gd name="connsiteX21" fmla="*/ 115348 w 191262"/>
                <a:gd name="connsiteY21" fmla="*/ 79915 h 121824"/>
                <a:gd name="connsiteX22" fmla="*/ 117348 w 191262"/>
                <a:gd name="connsiteY22" fmla="*/ 72295 h 121824"/>
                <a:gd name="connsiteX23" fmla="*/ 120015 w 191262"/>
                <a:gd name="connsiteY23" fmla="*/ 69628 h 121824"/>
                <a:gd name="connsiteX24" fmla="*/ 118586 w 191262"/>
                <a:gd name="connsiteY24" fmla="*/ 62389 h 121824"/>
                <a:gd name="connsiteX25" fmla="*/ 123825 w 191262"/>
                <a:gd name="connsiteY25" fmla="*/ 52197 h 121824"/>
                <a:gd name="connsiteX26" fmla="*/ 127921 w 191262"/>
                <a:gd name="connsiteY26" fmla="*/ 53721 h 121824"/>
                <a:gd name="connsiteX27" fmla="*/ 132683 w 191262"/>
                <a:gd name="connsiteY27" fmla="*/ 51816 h 121824"/>
                <a:gd name="connsiteX28" fmla="*/ 136303 w 191262"/>
                <a:gd name="connsiteY28" fmla="*/ 54769 h 121824"/>
                <a:gd name="connsiteX29" fmla="*/ 141065 w 191262"/>
                <a:gd name="connsiteY29" fmla="*/ 52197 h 121824"/>
                <a:gd name="connsiteX30" fmla="*/ 150590 w 191262"/>
                <a:gd name="connsiteY30" fmla="*/ 52197 h 121824"/>
                <a:gd name="connsiteX31" fmla="*/ 156686 w 191262"/>
                <a:gd name="connsiteY31" fmla="*/ 56197 h 121824"/>
                <a:gd name="connsiteX32" fmla="*/ 156686 w 191262"/>
                <a:gd name="connsiteY32" fmla="*/ 56197 h 121824"/>
                <a:gd name="connsiteX33" fmla="*/ 164878 w 191262"/>
                <a:gd name="connsiteY33" fmla="*/ 46958 h 121824"/>
                <a:gd name="connsiteX34" fmla="*/ 179927 w 191262"/>
                <a:gd name="connsiteY34" fmla="*/ 46387 h 121824"/>
                <a:gd name="connsiteX35" fmla="*/ 172117 w 191262"/>
                <a:gd name="connsiteY35" fmla="*/ 38195 h 121824"/>
                <a:gd name="connsiteX36" fmla="*/ 186976 w 191262"/>
                <a:gd name="connsiteY36" fmla="*/ 38291 h 121824"/>
                <a:gd name="connsiteX37" fmla="*/ 191262 w 191262"/>
                <a:gd name="connsiteY37" fmla="*/ 32671 h 121824"/>
                <a:gd name="connsiteX38" fmla="*/ 166116 w 191262"/>
                <a:gd name="connsiteY38" fmla="*/ 18479 h 121824"/>
                <a:gd name="connsiteX39" fmla="*/ 155258 w 191262"/>
                <a:gd name="connsiteY39" fmla="*/ 22479 h 121824"/>
                <a:gd name="connsiteX40" fmla="*/ 148971 w 191262"/>
                <a:gd name="connsiteY40" fmla="*/ 0 h 121824"/>
                <a:gd name="connsiteX41" fmla="*/ 140684 w 191262"/>
                <a:gd name="connsiteY41" fmla="*/ 0 h 121824"/>
                <a:gd name="connsiteX42" fmla="*/ 136112 w 191262"/>
                <a:gd name="connsiteY42" fmla="*/ 10287 h 121824"/>
                <a:gd name="connsiteX43" fmla="*/ 123158 w 191262"/>
                <a:gd name="connsiteY43" fmla="*/ 28385 h 121824"/>
                <a:gd name="connsiteX44" fmla="*/ 113919 w 191262"/>
                <a:gd name="connsiteY44" fmla="*/ 31718 h 121824"/>
                <a:gd name="connsiteX45" fmla="*/ 117253 w 191262"/>
                <a:gd name="connsiteY45" fmla="*/ 38291 h 121824"/>
                <a:gd name="connsiteX46" fmla="*/ 112300 w 191262"/>
                <a:gd name="connsiteY46" fmla="*/ 44482 h 121824"/>
                <a:gd name="connsiteX47" fmla="*/ 112300 w 191262"/>
                <a:gd name="connsiteY47" fmla="*/ 44482 h 121824"/>
                <a:gd name="connsiteX48" fmla="*/ 115348 w 191262"/>
                <a:gd name="connsiteY48" fmla="*/ 53721 h 121824"/>
                <a:gd name="connsiteX49" fmla="*/ 108776 w 191262"/>
                <a:gd name="connsiteY49" fmla="*/ 53150 h 121824"/>
                <a:gd name="connsiteX50" fmla="*/ 107061 w 191262"/>
                <a:gd name="connsiteY50" fmla="*/ 43244 h 121824"/>
                <a:gd name="connsiteX51" fmla="*/ 106680 w 191262"/>
                <a:gd name="connsiteY51" fmla="*/ 42291 h 121824"/>
                <a:gd name="connsiteX52" fmla="*/ 102775 w 191262"/>
                <a:gd name="connsiteY52" fmla="*/ 43434 h 121824"/>
                <a:gd name="connsiteX53" fmla="*/ 102775 w 191262"/>
                <a:gd name="connsiteY53" fmla="*/ 55721 h 121824"/>
                <a:gd name="connsiteX54" fmla="*/ 99155 w 191262"/>
                <a:gd name="connsiteY54" fmla="*/ 60198 h 121824"/>
                <a:gd name="connsiteX55" fmla="*/ 87916 w 191262"/>
                <a:gd name="connsiteY55" fmla="*/ 48673 h 121824"/>
                <a:gd name="connsiteX56" fmla="*/ 87916 w 191262"/>
                <a:gd name="connsiteY56" fmla="*/ 48673 h 121824"/>
                <a:gd name="connsiteX57" fmla="*/ 85249 w 191262"/>
                <a:gd name="connsiteY57" fmla="*/ 54483 h 121824"/>
                <a:gd name="connsiteX58" fmla="*/ 67056 w 191262"/>
                <a:gd name="connsiteY58" fmla="*/ 76010 h 121824"/>
                <a:gd name="connsiteX59" fmla="*/ 40291 w 191262"/>
                <a:gd name="connsiteY59" fmla="*/ 82201 h 121824"/>
                <a:gd name="connsiteX60" fmla="*/ 36004 w 191262"/>
                <a:gd name="connsiteY60" fmla="*/ 85535 h 121824"/>
                <a:gd name="connsiteX61" fmla="*/ 34671 w 191262"/>
                <a:gd name="connsiteY61" fmla="*/ 111919 h 121824"/>
                <a:gd name="connsiteX62" fmla="*/ 6001 w 191262"/>
                <a:gd name="connsiteY62" fmla="*/ 105346 h 121824"/>
                <a:gd name="connsiteX63" fmla="*/ 476 w 191262"/>
                <a:gd name="connsiteY63" fmla="*/ 97917 h 121824"/>
                <a:gd name="connsiteX64" fmla="*/ 0 w 191262"/>
                <a:gd name="connsiteY64" fmla="*/ 98393 h 121824"/>
                <a:gd name="connsiteX65" fmla="*/ 1334 w 191262"/>
                <a:gd name="connsiteY65" fmla="*/ 107347 h 12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91262" h="121824">
                  <a:moveTo>
                    <a:pt x="1334" y="107347"/>
                  </a:moveTo>
                  <a:lnTo>
                    <a:pt x="17907" y="121825"/>
                  </a:lnTo>
                  <a:lnTo>
                    <a:pt x="31718" y="117253"/>
                  </a:lnTo>
                  <a:lnTo>
                    <a:pt x="37433" y="120872"/>
                  </a:lnTo>
                  <a:lnTo>
                    <a:pt x="40481" y="117729"/>
                  </a:lnTo>
                  <a:lnTo>
                    <a:pt x="44577" y="118586"/>
                  </a:lnTo>
                  <a:lnTo>
                    <a:pt x="49530" y="115919"/>
                  </a:lnTo>
                  <a:lnTo>
                    <a:pt x="50578" y="110300"/>
                  </a:lnTo>
                  <a:lnTo>
                    <a:pt x="56483" y="107633"/>
                  </a:lnTo>
                  <a:lnTo>
                    <a:pt x="68389" y="107347"/>
                  </a:lnTo>
                  <a:lnTo>
                    <a:pt x="67723" y="110490"/>
                  </a:lnTo>
                  <a:lnTo>
                    <a:pt x="79629" y="114300"/>
                  </a:lnTo>
                  <a:lnTo>
                    <a:pt x="84868" y="108966"/>
                  </a:lnTo>
                  <a:lnTo>
                    <a:pt x="90678" y="110776"/>
                  </a:lnTo>
                  <a:lnTo>
                    <a:pt x="94679" y="108490"/>
                  </a:lnTo>
                  <a:lnTo>
                    <a:pt x="98108" y="110014"/>
                  </a:lnTo>
                  <a:lnTo>
                    <a:pt x="103346" y="100394"/>
                  </a:lnTo>
                  <a:lnTo>
                    <a:pt x="101441" y="94393"/>
                  </a:lnTo>
                  <a:lnTo>
                    <a:pt x="111252" y="89535"/>
                  </a:lnTo>
                  <a:lnTo>
                    <a:pt x="108299" y="85916"/>
                  </a:lnTo>
                  <a:lnTo>
                    <a:pt x="110300" y="78296"/>
                  </a:lnTo>
                  <a:lnTo>
                    <a:pt x="115348" y="79915"/>
                  </a:lnTo>
                  <a:lnTo>
                    <a:pt x="117348" y="72295"/>
                  </a:lnTo>
                  <a:lnTo>
                    <a:pt x="120015" y="69628"/>
                  </a:lnTo>
                  <a:lnTo>
                    <a:pt x="118586" y="62389"/>
                  </a:lnTo>
                  <a:lnTo>
                    <a:pt x="123825" y="52197"/>
                  </a:lnTo>
                  <a:lnTo>
                    <a:pt x="127921" y="53721"/>
                  </a:lnTo>
                  <a:lnTo>
                    <a:pt x="132683" y="51816"/>
                  </a:lnTo>
                  <a:lnTo>
                    <a:pt x="136303" y="54769"/>
                  </a:lnTo>
                  <a:lnTo>
                    <a:pt x="141065" y="52197"/>
                  </a:lnTo>
                  <a:lnTo>
                    <a:pt x="150590" y="52197"/>
                  </a:lnTo>
                  <a:lnTo>
                    <a:pt x="156686" y="56197"/>
                  </a:lnTo>
                  <a:lnTo>
                    <a:pt x="156686" y="56197"/>
                  </a:lnTo>
                  <a:lnTo>
                    <a:pt x="164878" y="46958"/>
                  </a:lnTo>
                  <a:lnTo>
                    <a:pt x="179927" y="46387"/>
                  </a:lnTo>
                  <a:lnTo>
                    <a:pt x="172117" y="38195"/>
                  </a:lnTo>
                  <a:lnTo>
                    <a:pt x="186976" y="38291"/>
                  </a:lnTo>
                  <a:lnTo>
                    <a:pt x="191262" y="32671"/>
                  </a:lnTo>
                  <a:lnTo>
                    <a:pt x="166116" y="18479"/>
                  </a:lnTo>
                  <a:lnTo>
                    <a:pt x="155258" y="22479"/>
                  </a:lnTo>
                  <a:lnTo>
                    <a:pt x="148971" y="0"/>
                  </a:lnTo>
                  <a:lnTo>
                    <a:pt x="140684" y="0"/>
                  </a:lnTo>
                  <a:lnTo>
                    <a:pt x="136112" y="10287"/>
                  </a:lnTo>
                  <a:lnTo>
                    <a:pt x="123158" y="28385"/>
                  </a:lnTo>
                  <a:lnTo>
                    <a:pt x="113919" y="31718"/>
                  </a:lnTo>
                  <a:lnTo>
                    <a:pt x="117253" y="38291"/>
                  </a:lnTo>
                  <a:lnTo>
                    <a:pt x="112300" y="44482"/>
                  </a:lnTo>
                  <a:lnTo>
                    <a:pt x="112300" y="44482"/>
                  </a:lnTo>
                  <a:lnTo>
                    <a:pt x="115348" y="53721"/>
                  </a:lnTo>
                  <a:lnTo>
                    <a:pt x="108776" y="53150"/>
                  </a:lnTo>
                  <a:lnTo>
                    <a:pt x="107061" y="43244"/>
                  </a:lnTo>
                  <a:lnTo>
                    <a:pt x="106680" y="42291"/>
                  </a:lnTo>
                  <a:lnTo>
                    <a:pt x="102775" y="43434"/>
                  </a:lnTo>
                  <a:lnTo>
                    <a:pt x="102775" y="55721"/>
                  </a:lnTo>
                  <a:lnTo>
                    <a:pt x="99155" y="60198"/>
                  </a:lnTo>
                  <a:lnTo>
                    <a:pt x="87916" y="48673"/>
                  </a:lnTo>
                  <a:lnTo>
                    <a:pt x="87916" y="48673"/>
                  </a:lnTo>
                  <a:lnTo>
                    <a:pt x="85249" y="54483"/>
                  </a:lnTo>
                  <a:lnTo>
                    <a:pt x="67056" y="76010"/>
                  </a:lnTo>
                  <a:lnTo>
                    <a:pt x="40291" y="82201"/>
                  </a:lnTo>
                  <a:lnTo>
                    <a:pt x="36004" y="85535"/>
                  </a:lnTo>
                  <a:lnTo>
                    <a:pt x="34671" y="111919"/>
                  </a:lnTo>
                  <a:lnTo>
                    <a:pt x="6001" y="105346"/>
                  </a:lnTo>
                  <a:lnTo>
                    <a:pt x="476" y="97917"/>
                  </a:lnTo>
                  <a:lnTo>
                    <a:pt x="0" y="98393"/>
                  </a:lnTo>
                  <a:lnTo>
                    <a:pt x="1334" y="10734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4" name="Freeform: Shape 2694">
              <a:extLst>
                <a:ext uri="{FF2B5EF4-FFF2-40B4-BE49-F238E27FC236}">
                  <a16:creationId xmlns:a16="http://schemas.microsoft.com/office/drawing/2014/main" id="{3D9035D7-2130-C6AB-EA47-326015D79614}"/>
                </a:ext>
              </a:extLst>
            </p:cNvPr>
            <p:cNvSpPr/>
            <p:nvPr/>
          </p:nvSpPr>
          <p:spPr>
            <a:xfrm>
              <a:off x="2439638" y="3893661"/>
              <a:ext cx="30289" cy="35528"/>
            </a:xfrm>
            <a:custGeom>
              <a:avLst/>
              <a:gdLst>
                <a:gd name="connsiteX0" fmla="*/ 30289 w 30289"/>
                <a:gd name="connsiteY0" fmla="*/ 9906 h 35528"/>
                <a:gd name="connsiteX1" fmla="*/ 26384 w 30289"/>
                <a:gd name="connsiteY1" fmla="*/ 0 h 35528"/>
                <a:gd name="connsiteX2" fmla="*/ 17145 w 30289"/>
                <a:gd name="connsiteY2" fmla="*/ 762 h 35528"/>
                <a:gd name="connsiteX3" fmla="*/ 0 w 30289"/>
                <a:gd name="connsiteY3" fmla="*/ 35528 h 35528"/>
                <a:gd name="connsiteX4" fmla="*/ 11144 w 30289"/>
                <a:gd name="connsiteY4" fmla="*/ 32195 h 35528"/>
                <a:gd name="connsiteX5" fmla="*/ 20669 w 30289"/>
                <a:gd name="connsiteY5" fmla="*/ 24289 h 35528"/>
                <a:gd name="connsiteX6" fmla="*/ 17145 w 30289"/>
                <a:gd name="connsiteY6" fmla="*/ 21717 h 35528"/>
                <a:gd name="connsiteX7" fmla="*/ 25527 w 30289"/>
                <a:gd name="connsiteY7" fmla="*/ 18193 h 35528"/>
                <a:gd name="connsiteX8" fmla="*/ 30289 w 30289"/>
                <a:gd name="connsiteY8" fmla="*/ 9906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89" h="35528">
                  <a:moveTo>
                    <a:pt x="30289" y="9906"/>
                  </a:moveTo>
                  <a:lnTo>
                    <a:pt x="26384" y="0"/>
                  </a:lnTo>
                  <a:lnTo>
                    <a:pt x="17145" y="762"/>
                  </a:lnTo>
                  <a:lnTo>
                    <a:pt x="0" y="35528"/>
                  </a:lnTo>
                  <a:lnTo>
                    <a:pt x="11144" y="32195"/>
                  </a:lnTo>
                  <a:lnTo>
                    <a:pt x="20669" y="24289"/>
                  </a:lnTo>
                  <a:lnTo>
                    <a:pt x="17145" y="21717"/>
                  </a:lnTo>
                  <a:lnTo>
                    <a:pt x="25527" y="18193"/>
                  </a:lnTo>
                  <a:lnTo>
                    <a:pt x="30289" y="990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5" name="Freeform: Shape 2695">
              <a:extLst>
                <a:ext uri="{FF2B5EF4-FFF2-40B4-BE49-F238E27FC236}">
                  <a16:creationId xmlns:a16="http://schemas.microsoft.com/office/drawing/2014/main" id="{AF63ECA0-6522-A95D-440B-D21751DE0F43}"/>
                </a:ext>
              </a:extLst>
            </p:cNvPr>
            <p:cNvSpPr/>
            <p:nvPr/>
          </p:nvSpPr>
          <p:spPr>
            <a:xfrm>
              <a:off x="3726941" y="4156551"/>
              <a:ext cx="150875" cy="177165"/>
            </a:xfrm>
            <a:custGeom>
              <a:avLst/>
              <a:gdLst>
                <a:gd name="connsiteX0" fmla="*/ 150876 w 150875"/>
                <a:gd name="connsiteY0" fmla="*/ 148209 h 177165"/>
                <a:gd name="connsiteX1" fmla="*/ 148304 w 150875"/>
                <a:gd name="connsiteY1" fmla="*/ 145256 h 177165"/>
                <a:gd name="connsiteX2" fmla="*/ 140875 w 150875"/>
                <a:gd name="connsiteY2" fmla="*/ 136874 h 177165"/>
                <a:gd name="connsiteX3" fmla="*/ 146495 w 150875"/>
                <a:gd name="connsiteY3" fmla="*/ 132683 h 177165"/>
                <a:gd name="connsiteX4" fmla="*/ 137255 w 150875"/>
                <a:gd name="connsiteY4" fmla="*/ 126873 h 177165"/>
                <a:gd name="connsiteX5" fmla="*/ 134684 w 150875"/>
                <a:gd name="connsiteY5" fmla="*/ 121348 h 177165"/>
                <a:gd name="connsiteX6" fmla="*/ 129730 w 150875"/>
                <a:gd name="connsiteY6" fmla="*/ 124968 h 177165"/>
                <a:gd name="connsiteX7" fmla="*/ 128206 w 150875"/>
                <a:gd name="connsiteY7" fmla="*/ 113443 h 177165"/>
                <a:gd name="connsiteX8" fmla="*/ 110109 w 150875"/>
                <a:gd name="connsiteY8" fmla="*/ 96774 h 177165"/>
                <a:gd name="connsiteX9" fmla="*/ 107061 w 150875"/>
                <a:gd name="connsiteY9" fmla="*/ 87821 h 177165"/>
                <a:gd name="connsiteX10" fmla="*/ 104680 w 150875"/>
                <a:gd name="connsiteY10" fmla="*/ 89726 h 177165"/>
                <a:gd name="connsiteX11" fmla="*/ 99346 w 150875"/>
                <a:gd name="connsiteY11" fmla="*/ 83629 h 177165"/>
                <a:gd name="connsiteX12" fmla="*/ 101918 w 150875"/>
                <a:gd name="connsiteY12" fmla="*/ 79153 h 177165"/>
                <a:gd name="connsiteX13" fmla="*/ 91821 w 150875"/>
                <a:gd name="connsiteY13" fmla="*/ 76200 h 177165"/>
                <a:gd name="connsiteX14" fmla="*/ 75533 w 150875"/>
                <a:gd name="connsiteY14" fmla="*/ 66485 h 177165"/>
                <a:gd name="connsiteX15" fmla="*/ 80010 w 150875"/>
                <a:gd name="connsiteY15" fmla="*/ 63055 h 177165"/>
                <a:gd name="connsiteX16" fmla="*/ 78200 w 150875"/>
                <a:gd name="connsiteY16" fmla="*/ 58864 h 177165"/>
                <a:gd name="connsiteX17" fmla="*/ 85915 w 150875"/>
                <a:gd name="connsiteY17" fmla="*/ 58007 h 177165"/>
                <a:gd name="connsiteX18" fmla="*/ 88202 w 150875"/>
                <a:gd name="connsiteY18" fmla="*/ 61246 h 177165"/>
                <a:gd name="connsiteX19" fmla="*/ 97250 w 150875"/>
                <a:gd name="connsiteY19" fmla="*/ 53340 h 177165"/>
                <a:gd name="connsiteX20" fmla="*/ 96488 w 150875"/>
                <a:gd name="connsiteY20" fmla="*/ 48292 h 177165"/>
                <a:gd name="connsiteX21" fmla="*/ 92107 w 150875"/>
                <a:gd name="connsiteY21" fmla="*/ 48292 h 177165"/>
                <a:gd name="connsiteX22" fmla="*/ 91059 w 150875"/>
                <a:gd name="connsiteY22" fmla="*/ 44863 h 177165"/>
                <a:gd name="connsiteX23" fmla="*/ 84106 w 150875"/>
                <a:gd name="connsiteY23" fmla="*/ 43529 h 177165"/>
                <a:gd name="connsiteX24" fmla="*/ 91059 w 150875"/>
                <a:gd name="connsiteY24" fmla="*/ 38862 h 177165"/>
                <a:gd name="connsiteX25" fmla="*/ 80010 w 150875"/>
                <a:gd name="connsiteY25" fmla="*/ 31147 h 177165"/>
                <a:gd name="connsiteX26" fmla="*/ 73533 w 150875"/>
                <a:gd name="connsiteY26" fmla="*/ 33909 h 177165"/>
                <a:gd name="connsiteX27" fmla="*/ 72199 w 150875"/>
                <a:gd name="connsiteY27" fmla="*/ 38291 h 177165"/>
                <a:gd name="connsiteX28" fmla="*/ 66580 w 150875"/>
                <a:gd name="connsiteY28" fmla="*/ 34195 h 177165"/>
                <a:gd name="connsiteX29" fmla="*/ 61913 w 150875"/>
                <a:gd name="connsiteY29" fmla="*/ 34766 h 177165"/>
                <a:gd name="connsiteX30" fmla="*/ 55150 w 150875"/>
                <a:gd name="connsiteY30" fmla="*/ 26289 h 177165"/>
                <a:gd name="connsiteX31" fmla="*/ 58579 w 150875"/>
                <a:gd name="connsiteY31" fmla="*/ 16954 h 177165"/>
                <a:gd name="connsiteX32" fmla="*/ 55436 w 150875"/>
                <a:gd name="connsiteY32" fmla="*/ 13335 h 177165"/>
                <a:gd name="connsiteX33" fmla="*/ 50292 w 150875"/>
                <a:gd name="connsiteY33" fmla="*/ 16383 h 177165"/>
                <a:gd name="connsiteX34" fmla="*/ 40767 w 150875"/>
                <a:gd name="connsiteY34" fmla="*/ 1905 h 177165"/>
                <a:gd name="connsiteX35" fmla="*/ 40767 w 150875"/>
                <a:gd name="connsiteY35" fmla="*/ 1810 h 177165"/>
                <a:gd name="connsiteX36" fmla="*/ 36767 w 150875"/>
                <a:gd name="connsiteY36" fmla="*/ 2191 h 177165"/>
                <a:gd name="connsiteX37" fmla="*/ 32671 w 150875"/>
                <a:gd name="connsiteY37" fmla="*/ 0 h 177165"/>
                <a:gd name="connsiteX38" fmla="*/ 28765 w 150875"/>
                <a:gd name="connsiteY38" fmla="*/ 5429 h 177165"/>
                <a:gd name="connsiteX39" fmla="*/ 34290 w 150875"/>
                <a:gd name="connsiteY39" fmla="*/ 16288 h 177165"/>
                <a:gd name="connsiteX40" fmla="*/ 33052 w 150875"/>
                <a:gd name="connsiteY40" fmla="*/ 22955 h 177165"/>
                <a:gd name="connsiteX41" fmla="*/ 34290 w 150875"/>
                <a:gd name="connsiteY41" fmla="*/ 29051 h 177165"/>
                <a:gd name="connsiteX42" fmla="*/ 23908 w 150875"/>
                <a:gd name="connsiteY42" fmla="*/ 27718 h 177165"/>
                <a:gd name="connsiteX43" fmla="*/ 22955 w 150875"/>
                <a:gd name="connsiteY43" fmla="*/ 19621 h 177165"/>
                <a:gd name="connsiteX44" fmla="*/ 8763 w 150875"/>
                <a:gd name="connsiteY44" fmla="*/ 30575 h 177165"/>
                <a:gd name="connsiteX45" fmla="*/ 11335 w 150875"/>
                <a:gd name="connsiteY45" fmla="*/ 34195 h 177165"/>
                <a:gd name="connsiteX46" fmla="*/ 2572 w 150875"/>
                <a:gd name="connsiteY46" fmla="*/ 37147 h 177165"/>
                <a:gd name="connsiteX47" fmla="*/ 0 w 150875"/>
                <a:gd name="connsiteY47" fmla="*/ 45148 h 177165"/>
                <a:gd name="connsiteX48" fmla="*/ 0 w 150875"/>
                <a:gd name="connsiteY48" fmla="*/ 46387 h 177165"/>
                <a:gd name="connsiteX49" fmla="*/ 1334 w 150875"/>
                <a:gd name="connsiteY49" fmla="*/ 47816 h 177165"/>
                <a:gd name="connsiteX50" fmla="*/ 6953 w 150875"/>
                <a:gd name="connsiteY50" fmla="*/ 44387 h 177165"/>
                <a:gd name="connsiteX51" fmla="*/ 10573 w 150875"/>
                <a:gd name="connsiteY51" fmla="*/ 51721 h 177165"/>
                <a:gd name="connsiteX52" fmla="*/ 5429 w 150875"/>
                <a:gd name="connsiteY52" fmla="*/ 57817 h 177165"/>
                <a:gd name="connsiteX53" fmla="*/ 11049 w 150875"/>
                <a:gd name="connsiteY53" fmla="*/ 63055 h 177165"/>
                <a:gd name="connsiteX54" fmla="*/ 16288 w 150875"/>
                <a:gd name="connsiteY54" fmla="*/ 59912 h 177165"/>
                <a:gd name="connsiteX55" fmla="*/ 24479 w 150875"/>
                <a:gd name="connsiteY55" fmla="*/ 60198 h 177165"/>
                <a:gd name="connsiteX56" fmla="*/ 22670 w 150875"/>
                <a:gd name="connsiteY56" fmla="*/ 66008 h 177165"/>
                <a:gd name="connsiteX57" fmla="*/ 26003 w 150875"/>
                <a:gd name="connsiteY57" fmla="*/ 72295 h 177165"/>
                <a:gd name="connsiteX58" fmla="*/ 19907 w 150875"/>
                <a:gd name="connsiteY58" fmla="*/ 83629 h 177165"/>
                <a:gd name="connsiteX59" fmla="*/ 22670 w 150875"/>
                <a:gd name="connsiteY59" fmla="*/ 89726 h 177165"/>
                <a:gd name="connsiteX60" fmla="*/ 15430 w 150875"/>
                <a:gd name="connsiteY60" fmla="*/ 101251 h 177165"/>
                <a:gd name="connsiteX61" fmla="*/ 21622 w 150875"/>
                <a:gd name="connsiteY61" fmla="*/ 103156 h 177165"/>
                <a:gd name="connsiteX62" fmla="*/ 41815 w 150875"/>
                <a:gd name="connsiteY62" fmla="*/ 87821 h 177165"/>
                <a:gd name="connsiteX63" fmla="*/ 49054 w 150875"/>
                <a:gd name="connsiteY63" fmla="*/ 96774 h 177165"/>
                <a:gd name="connsiteX64" fmla="*/ 58769 w 150875"/>
                <a:gd name="connsiteY64" fmla="*/ 93345 h 177165"/>
                <a:gd name="connsiteX65" fmla="*/ 62960 w 150875"/>
                <a:gd name="connsiteY65" fmla="*/ 88106 h 177165"/>
                <a:gd name="connsiteX66" fmla="*/ 62198 w 150875"/>
                <a:gd name="connsiteY66" fmla="*/ 83058 h 177165"/>
                <a:gd name="connsiteX67" fmla="*/ 77343 w 150875"/>
                <a:gd name="connsiteY67" fmla="*/ 86487 h 177165"/>
                <a:gd name="connsiteX68" fmla="*/ 85154 w 150875"/>
                <a:gd name="connsiteY68" fmla="*/ 99155 h 177165"/>
                <a:gd name="connsiteX69" fmla="*/ 90583 w 150875"/>
                <a:gd name="connsiteY69" fmla="*/ 100775 h 177165"/>
                <a:gd name="connsiteX70" fmla="*/ 94202 w 150875"/>
                <a:gd name="connsiteY70" fmla="*/ 106775 h 177165"/>
                <a:gd name="connsiteX71" fmla="*/ 91821 w 150875"/>
                <a:gd name="connsiteY71" fmla="*/ 121825 h 177165"/>
                <a:gd name="connsiteX72" fmla="*/ 96964 w 150875"/>
                <a:gd name="connsiteY72" fmla="*/ 128969 h 177165"/>
                <a:gd name="connsiteX73" fmla="*/ 105537 w 150875"/>
                <a:gd name="connsiteY73" fmla="*/ 133160 h 177165"/>
                <a:gd name="connsiteX74" fmla="*/ 103918 w 150875"/>
                <a:gd name="connsiteY74" fmla="*/ 136588 h 177165"/>
                <a:gd name="connsiteX75" fmla="*/ 109633 w 150875"/>
                <a:gd name="connsiteY75" fmla="*/ 138684 h 177165"/>
                <a:gd name="connsiteX76" fmla="*/ 108871 w 150875"/>
                <a:gd name="connsiteY76" fmla="*/ 146113 h 177165"/>
                <a:gd name="connsiteX77" fmla="*/ 105728 w 150875"/>
                <a:gd name="connsiteY77" fmla="*/ 149257 h 177165"/>
                <a:gd name="connsiteX78" fmla="*/ 109347 w 150875"/>
                <a:gd name="connsiteY78" fmla="*/ 154019 h 177165"/>
                <a:gd name="connsiteX79" fmla="*/ 108109 w 150875"/>
                <a:gd name="connsiteY79" fmla="*/ 162973 h 177165"/>
                <a:gd name="connsiteX80" fmla="*/ 101632 w 150875"/>
                <a:gd name="connsiteY80" fmla="*/ 166402 h 177165"/>
                <a:gd name="connsiteX81" fmla="*/ 104489 w 150875"/>
                <a:gd name="connsiteY81" fmla="*/ 171926 h 177165"/>
                <a:gd name="connsiteX82" fmla="*/ 111728 w 150875"/>
                <a:gd name="connsiteY82" fmla="*/ 171926 h 177165"/>
                <a:gd name="connsiteX83" fmla="*/ 117920 w 150875"/>
                <a:gd name="connsiteY83" fmla="*/ 177165 h 177165"/>
                <a:gd name="connsiteX84" fmla="*/ 121253 w 150875"/>
                <a:gd name="connsiteY84" fmla="*/ 173546 h 177165"/>
                <a:gd name="connsiteX85" fmla="*/ 116586 w 150875"/>
                <a:gd name="connsiteY85" fmla="*/ 166116 h 177165"/>
                <a:gd name="connsiteX86" fmla="*/ 122492 w 150875"/>
                <a:gd name="connsiteY86" fmla="*/ 165640 h 177165"/>
                <a:gd name="connsiteX87" fmla="*/ 128492 w 150875"/>
                <a:gd name="connsiteY87" fmla="*/ 161639 h 177165"/>
                <a:gd name="connsiteX88" fmla="*/ 134112 w 150875"/>
                <a:gd name="connsiteY88" fmla="*/ 167164 h 177165"/>
                <a:gd name="connsiteX89" fmla="*/ 147828 w 150875"/>
                <a:gd name="connsiteY89" fmla="*/ 158782 h 177165"/>
                <a:gd name="connsiteX90" fmla="*/ 148019 w 150875"/>
                <a:gd name="connsiteY90" fmla="*/ 158782 h 177165"/>
                <a:gd name="connsiteX91" fmla="*/ 147066 w 150875"/>
                <a:gd name="connsiteY91" fmla="*/ 152971 h 177165"/>
                <a:gd name="connsiteX92" fmla="*/ 150876 w 150875"/>
                <a:gd name="connsiteY92" fmla="*/ 148209 h 17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50875" h="177165">
                  <a:moveTo>
                    <a:pt x="150876" y="148209"/>
                  </a:moveTo>
                  <a:lnTo>
                    <a:pt x="148304" y="145256"/>
                  </a:lnTo>
                  <a:lnTo>
                    <a:pt x="140875" y="136874"/>
                  </a:lnTo>
                  <a:lnTo>
                    <a:pt x="146495" y="132683"/>
                  </a:lnTo>
                  <a:lnTo>
                    <a:pt x="137255" y="126873"/>
                  </a:lnTo>
                  <a:lnTo>
                    <a:pt x="134684" y="121348"/>
                  </a:lnTo>
                  <a:lnTo>
                    <a:pt x="129730" y="124968"/>
                  </a:lnTo>
                  <a:lnTo>
                    <a:pt x="128206" y="113443"/>
                  </a:lnTo>
                  <a:lnTo>
                    <a:pt x="110109" y="96774"/>
                  </a:lnTo>
                  <a:lnTo>
                    <a:pt x="107061" y="87821"/>
                  </a:lnTo>
                  <a:lnTo>
                    <a:pt x="104680" y="89726"/>
                  </a:lnTo>
                  <a:lnTo>
                    <a:pt x="99346" y="83629"/>
                  </a:lnTo>
                  <a:lnTo>
                    <a:pt x="101918" y="79153"/>
                  </a:lnTo>
                  <a:lnTo>
                    <a:pt x="91821" y="76200"/>
                  </a:lnTo>
                  <a:lnTo>
                    <a:pt x="75533" y="66485"/>
                  </a:lnTo>
                  <a:lnTo>
                    <a:pt x="80010" y="63055"/>
                  </a:lnTo>
                  <a:lnTo>
                    <a:pt x="78200" y="58864"/>
                  </a:lnTo>
                  <a:lnTo>
                    <a:pt x="85915" y="58007"/>
                  </a:lnTo>
                  <a:lnTo>
                    <a:pt x="88202" y="61246"/>
                  </a:lnTo>
                  <a:lnTo>
                    <a:pt x="97250" y="53340"/>
                  </a:lnTo>
                  <a:lnTo>
                    <a:pt x="96488" y="48292"/>
                  </a:lnTo>
                  <a:lnTo>
                    <a:pt x="92107" y="48292"/>
                  </a:lnTo>
                  <a:lnTo>
                    <a:pt x="91059" y="44863"/>
                  </a:lnTo>
                  <a:lnTo>
                    <a:pt x="84106" y="43529"/>
                  </a:lnTo>
                  <a:lnTo>
                    <a:pt x="91059" y="38862"/>
                  </a:lnTo>
                  <a:lnTo>
                    <a:pt x="80010" y="31147"/>
                  </a:lnTo>
                  <a:lnTo>
                    <a:pt x="73533" y="33909"/>
                  </a:lnTo>
                  <a:lnTo>
                    <a:pt x="72199" y="38291"/>
                  </a:lnTo>
                  <a:lnTo>
                    <a:pt x="66580" y="34195"/>
                  </a:lnTo>
                  <a:lnTo>
                    <a:pt x="61913" y="34766"/>
                  </a:lnTo>
                  <a:lnTo>
                    <a:pt x="55150" y="26289"/>
                  </a:lnTo>
                  <a:lnTo>
                    <a:pt x="58579" y="16954"/>
                  </a:lnTo>
                  <a:lnTo>
                    <a:pt x="55436" y="13335"/>
                  </a:lnTo>
                  <a:lnTo>
                    <a:pt x="50292" y="16383"/>
                  </a:lnTo>
                  <a:lnTo>
                    <a:pt x="40767" y="1905"/>
                  </a:lnTo>
                  <a:lnTo>
                    <a:pt x="40767" y="1810"/>
                  </a:lnTo>
                  <a:lnTo>
                    <a:pt x="36767" y="2191"/>
                  </a:lnTo>
                  <a:lnTo>
                    <a:pt x="32671" y="0"/>
                  </a:lnTo>
                  <a:lnTo>
                    <a:pt x="28765" y="5429"/>
                  </a:lnTo>
                  <a:lnTo>
                    <a:pt x="34290" y="16288"/>
                  </a:lnTo>
                  <a:lnTo>
                    <a:pt x="33052" y="22955"/>
                  </a:lnTo>
                  <a:lnTo>
                    <a:pt x="34290" y="29051"/>
                  </a:lnTo>
                  <a:lnTo>
                    <a:pt x="23908" y="27718"/>
                  </a:lnTo>
                  <a:lnTo>
                    <a:pt x="22955" y="19621"/>
                  </a:lnTo>
                  <a:lnTo>
                    <a:pt x="8763" y="30575"/>
                  </a:lnTo>
                  <a:lnTo>
                    <a:pt x="11335" y="34195"/>
                  </a:lnTo>
                  <a:lnTo>
                    <a:pt x="2572" y="37147"/>
                  </a:lnTo>
                  <a:lnTo>
                    <a:pt x="0" y="45148"/>
                  </a:lnTo>
                  <a:lnTo>
                    <a:pt x="0" y="46387"/>
                  </a:lnTo>
                  <a:lnTo>
                    <a:pt x="1334" y="47816"/>
                  </a:lnTo>
                  <a:lnTo>
                    <a:pt x="6953" y="44387"/>
                  </a:lnTo>
                  <a:lnTo>
                    <a:pt x="10573" y="51721"/>
                  </a:lnTo>
                  <a:lnTo>
                    <a:pt x="5429" y="57817"/>
                  </a:lnTo>
                  <a:lnTo>
                    <a:pt x="11049" y="63055"/>
                  </a:lnTo>
                  <a:lnTo>
                    <a:pt x="16288" y="59912"/>
                  </a:lnTo>
                  <a:lnTo>
                    <a:pt x="24479" y="60198"/>
                  </a:lnTo>
                  <a:lnTo>
                    <a:pt x="22670" y="66008"/>
                  </a:lnTo>
                  <a:lnTo>
                    <a:pt x="26003" y="72295"/>
                  </a:lnTo>
                  <a:lnTo>
                    <a:pt x="19907" y="83629"/>
                  </a:lnTo>
                  <a:lnTo>
                    <a:pt x="22670" y="89726"/>
                  </a:lnTo>
                  <a:lnTo>
                    <a:pt x="15430" y="101251"/>
                  </a:lnTo>
                  <a:lnTo>
                    <a:pt x="21622" y="103156"/>
                  </a:lnTo>
                  <a:lnTo>
                    <a:pt x="41815" y="87821"/>
                  </a:lnTo>
                  <a:lnTo>
                    <a:pt x="49054" y="96774"/>
                  </a:lnTo>
                  <a:lnTo>
                    <a:pt x="58769" y="93345"/>
                  </a:lnTo>
                  <a:lnTo>
                    <a:pt x="62960" y="88106"/>
                  </a:lnTo>
                  <a:lnTo>
                    <a:pt x="62198" y="83058"/>
                  </a:lnTo>
                  <a:lnTo>
                    <a:pt x="77343" y="86487"/>
                  </a:lnTo>
                  <a:lnTo>
                    <a:pt x="85154" y="99155"/>
                  </a:lnTo>
                  <a:lnTo>
                    <a:pt x="90583" y="100775"/>
                  </a:lnTo>
                  <a:lnTo>
                    <a:pt x="94202" y="106775"/>
                  </a:lnTo>
                  <a:lnTo>
                    <a:pt x="91821" y="121825"/>
                  </a:lnTo>
                  <a:lnTo>
                    <a:pt x="96964" y="128969"/>
                  </a:lnTo>
                  <a:lnTo>
                    <a:pt x="105537" y="133160"/>
                  </a:lnTo>
                  <a:lnTo>
                    <a:pt x="103918" y="136588"/>
                  </a:lnTo>
                  <a:lnTo>
                    <a:pt x="109633" y="138684"/>
                  </a:lnTo>
                  <a:lnTo>
                    <a:pt x="108871" y="146113"/>
                  </a:lnTo>
                  <a:lnTo>
                    <a:pt x="105728" y="149257"/>
                  </a:lnTo>
                  <a:lnTo>
                    <a:pt x="109347" y="154019"/>
                  </a:lnTo>
                  <a:lnTo>
                    <a:pt x="108109" y="162973"/>
                  </a:lnTo>
                  <a:lnTo>
                    <a:pt x="101632" y="166402"/>
                  </a:lnTo>
                  <a:lnTo>
                    <a:pt x="104489" y="171926"/>
                  </a:lnTo>
                  <a:lnTo>
                    <a:pt x="111728" y="171926"/>
                  </a:lnTo>
                  <a:lnTo>
                    <a:pt x="117920" y="177165"/>
                  </a:lnTo>
                  <a:lnTo>
                    <a:pt x="121253" y="173546"/>
                  </a:lnTo>
                  <a:lnTo>
                    <a:pt x="116586" y="166116"/>
                  </a:lnTo>
                  <a:lnTo>
                    <a:pt x="122492" y="165640"/>
                  </a:lnTo>
                  <a:lnTo>
                    <a:pt x="128492" y="161639"/>
                  </a:lnTo>
                  <a:lnTo>
                    <a:pt x="134112" y="167164"/>
                  </a:lnTo>
                  <a:lnTo>
                    <a:pt x="147828" y="158782"/>
                  </a:lnTo>
                  <a:lnTo>
                    <a:pt x="148019" y="158782"/>
                  </a:lnTo>
                  <a:lnTo>
                    <a:pt x="147066" y="152971"/>
                  </a:lnTo>
                  <a:lnTo>
                    <a:pt x="150876" y="14820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6" name="Freeform: Shape 2696">
              <a:extLst>
                <a:ext uri="{FF2B5EF4-FFF2-40B4-BE49-F238E27FC236}">
                  <a16:creationId xmlns:a16="http://schemas.microsoft.com/office/drawing/2014/main" id="{3A5EB61B-4D62-12A3-5605-C02AC856956B}"/>
                </a:ext>
              </a:extLst>
            </p:cNvPr>
            <p:cNvSpPr/>
            <p:nvPr/>
          </p:nvSpPr>
          <p:spPr>
            <a:xfrm>
              <a:off x="3117627" y="3694969"/>
              <a:ext cx="217170" cy="98583"/>
            </a:xfrm>
            <a:custGeom>
              <a:avLst/>
              <a:gdLst>
                <a:gd name="connsiteX0" fmla="*/ 199358 w 217170"/>
                <a:gd name="connsiteY0" fmla="*/ 18193 h 98583"/>
                <a:gd name="connsiteX1" fmla="*/ 195548 w 217170"/>
                <a:gd name="connsiteY1" fmla="*/ 10478 h 98583"/>
                <a:gd name="connsiteX2" fmla="*/ 191167 w 217170"/>
                <a:gd name="connsiteY2" fmla="*/ 12097 h 98583"/>
                <a:gd name="connsiteX3" fmla="*/ 182118 w 217170"/>
                <a:gd name="connsiteY3" fmla="*/ 8954 h 98583"/>
                <a:gd name="connsiteX4" fmla="*/ 166402 w 217170"/>
                <a:gd name="connsiteY4" fmla="*/ 8287 h 98583"/>
                <a:gd name="connsiteX5" fmla="*/ 159449 w 217170"/>
                <a:gd name="connsiteY5" fmla="*/ 9525 h 98583"/>
                <a:gd name="connsiteX6" fmla="*/ 152971 w 217170"/>
                <a:gd name="connsiteY6" fmla="*/ 6382 h 98583"/>
                <a:gd name="connsiteX7" fmla="*/ 128207 w 217170"/>
                <a:gd name="connsiteY7" fmla="*/ 6667 h 98583"/>
                <a:gd name="connsiteX8" fmla="*/ 125921 w 217170"/>
                <a:gd name="connsiteY8" fmla="*/ 10858 h 98583"/>
                <a:gd name="connsiteX9" fmla="*/ 112490 w 217170"/>
                <a:gd name="connsiteY9" fmla="*/ 8287 h 98583"/>
                <a:gd name="connsiteX10" fmla="*/ 96774 w 217170"/>
                <a:gd name="connsiteY10" fmla="*/ 0 h 98583"/>
                <a:gd name="connsiteX11" fmla="*/ 84868 w 217170"/>
                <a:gd name="connsiteY11" fmla="*/ 4763 h 98583"/>
                <a:gd name="connsiteX12" fmla="*/ 81725 w 217170"/>
                <a:gd name="connsiteY12" fmla="*/ 14002 h 98583"/>
                <a:gd name="connsiteX13" fmla="*/ 83344 w 217170"/>
                <a:gd name="connsiteY13" fmla="*/ 21336 h 98583"/>
                <a:gd name="connsiteX14" fmla="*/ 77343 w 217170"/>
                <a:gd name="connsiteY14" fmla="*/ 17526 h 98583"/>
                <a:gd name="connsiteX15" fmla="*/ 69913 w 217170"/>
                <a:gd name="connsiteY15" fmla="*/ 16859 h 98583"/>
                <a:gd name="connsiteX16" fmla="*/ 52102 w 217170"/>
                <a:gd name="connsiteY16" fmla="*/ 9525 h 98583"/>
                <a:gd name="connsiteX17" fmla="*/ 45149 w 217170"/>
                <a:gd name="connsiteY17" fmla="*/ 11811 h 98583"/>
                <a:gd name="connsiteX18" fmla="*/ 41243 w 217170"/>
                <a:gd name="connsiteY18" fmla="*/ 9906 h 98583"/>
                <a:gd name="connsiteX19" fmla="*/ 35052 w 217170"/>
                <a:gd name="connsiteY19" fmla="*/ 14002 h 98583"/>
                <a:gd name="connsiteX20" fmla="*/ 30956 w 217170"/>
                <a:gd name="connsiteY20" fmla="*/ 23336 h 98583"/>
                <a:gd name="connsiteX21" fmla="*/ 30861 w 217170"/>
                <a:gd name="connsiteY21" fmla="*/ 23431 h 98583"/>
                <a:gd name="connsiteX22" fmla="*/ 35719 w 217170"/>
                <a:gd name="connsiteY22" fmla="*/ 21717 h 98583"/>
                <a:gd name="connsiteX23" fmla="*/ 39815 w 217170"/>
                <a:gd name="connsiteY23" fmla="*/ 26765 h 98583"/>
                <a:gd name="connsiteX24" fmla="*/ 25813 w 217170"/>
                <a:gd name="connsiteY24" fmla="*/ 34480 h 98583"/>
                <a:gd name="connsiteX25" fmla="*/ 17336 w 217170"/>
                <a:gd name="connsiteY25" fmla="*/ 42481 h 98583"/>
                <a:gd name="connsiteX26" fmla="*/ 26575 w 217170"/>
                <a:gd name="connsiteY26" fmla="*/ 43244 h 98583"/>
                <a:gd name="connsiteX27" fmla="*/ 28956 w 217170"/>
                <a:gd name="connsiteY27" fmla="*/ 48958 h 98583"/>
                <a:gd name="connsiteX28" fmla="*/ 40196 w 217170"/>
                <a:gd name="connsiteY28" fmla="*/ 51054 h 98583"/>
                <a:gd name="connsiteX29" fmla="*/ 41815 w 217170"/>
                <a:gd name="connsiteY29" fmla="*/ 46482 h 98583"/>
                <a:gd name="connsiteX30" fmla="*/ 47434 w 217170"/>
                <a:gd name="connsiteY30" fmla="*/ 42481 h 98583"/>
                <a:gd name="connsiteX31" fmla="*/ 50673 w 217170"/>
                <a:gd name="connsiteY31" fmla="*/ 48958 h 98583"/>
                <a:gd name="connsiteX32" fmla="*/ 56959 w 217170"/>
                <a:gd name="connsiteY32" fmla="*/ 48958 h 98583"/>
                <a:gd name="connsiteX33" fmla="*/ 59341 w 217170"/>
                <a:gd name="connsiteY33" fmla="*/ 54292 h 98583"/>
                <a:gd name="connsiteX34" fmla="*/ 65246 w 217170"/>
                <a:gd name="connsiteY34" fmla="*/ 54673 h 98583"/>
                <a:gd name="connsiteX35" fmla="*/ 76771 w 217170"/>
                <a:gd name="connsiteY35" fmla="*/ 58769 h 98583"/>
                <a:gd name="connsiteX36" fmla="*/ 67723 w 217170"/>
                <a:gd name="connsiteY36" fmla="*/ 66294 h 98583"/>
                <a:gd name="connsiteX37" fmla="*/ 60293 w 217170"/>
                <a:gd name="connsiteY37" fmla="*/ 64865 h 98583"/>
                <a:gd name="connsiteX38" fmla="*/ 60293 w 217170"/>
                <a:gd name="connsiteY38" fmla="*/ 70199 h 98583"/>
                <a:gd name="connsiteX39" fmla="*/ 55340 w 217170"/>
                <a:gd name="connsiteY39" fmla="*/ 68961 h 98583"/>
                <a:gd name="connsiteX40" fmla="*/ 53721 w 217170"/>
                <a:gd name="connsiteY40" fmla="*/ 73438 h 98583"/>
                <a:gd name="connsiteX41" fmla="*/ 47054 w 217170"/>
                <a:gd name="connsiteY41" fmla="*/ 76200 h 98583"/>
                <a:gd name="connsiteX42" fmla="*/ 39148 w 217170"/>
                <a:gd name="connsiteY42" fmla="*/ 71819 h 98583"/>
                <a:gd name="connsiteX43" fmla="*/ 32480 w 217170"/>
                <a:gd name="connsiteY43" fmla="*/ 72580 h 98583"/>
                <a:gd name="connsiteX44" fmla="*/ 32195 w 217170"/>
                <a:gd name="connsiteY44" fmla="*/ 73533 h 98583"/>
                <a:gd name="connsiteX45" fmla="*/ 30671 w 217170"/>
                <a:gd name="connsiteY45" fmla="*/ 78391 h 98583"/>
                <a:gd name="connsiteX46" fmla="*/ 27337 w 217170"/>
                <a:gd name="connsiteY46" fmla="*/ 79915 h 98583"/>
                <a:gd name="connsiteX47" fmla="*/ 24765 w 217170"/>
                <a:gd name="connsiteY47" fmla="*/ 83725 h 98583"/>
                <a:gd name="connsiteX48" fmla="*/ 22384 w 217170"/>
                <a:gd name="connsiteY48" fmla="*/ 77819 h 98583"/>
                <a:gd name="connsiteX49" fmla="*/ 7715 w 217170"/>
                <a:gd name="connsiteY49" fmla="*/ 74486 h 98583"/>
                <a:gd name="connsiteX50" fmla="*/ 7429 w 217170"/>
                <a:gd name="connsiteY50" fmla="*/ 80200 h 98583"/>
                <a:gd name="connsiteX51" fmla="*/ 2096 w 217170"/>
                <a:gd name="connsiteY51" fmla="*/ 81058 h 98583"/>
                <a:gd name="connsiteX52" fmla="*/ 0 w 217170"/>
                <a:gd name="connsiteY52" fmla="*/ 89249 h 98583"/>
                <a:gd name="connsiteX53" fmla="*/ 24479 w 217170"/>
                <a:gd name="connsiteY53" fmla="*/ 89249 h 98583"/>
                <a:gd name="connsiteX54" fmla="*/ 28384 w 217170"/>
                <a:gd name="connsiteY54" fmla="*/ 94488 h 98583"/>
                <a:gd name="connsiteX55" fmla="*/ 33814 w 217170"/>
                <a:gd name="connsiteY55" fmla="*/ 93631 h 98583"/>
                <a:gd name="connsiteX56" fmla="*/ 35814 w 217170"/>
                <a:gd name="connsiteY56" fmla="*/ 89821 h 98583"/>
                <a:gd name="connsiteX57" fmla="*/ 44101 w 217170"/>
                <a:gd name="connsiteY57" fmla="*/ 88678 h 98583"/>
                <a:gd name="connsiteX58" fmla="*/ 48006 w 217170"/>
                <a:gd name="connsiteY58" fmla="*/ 94488 h 98583"/>
                <a:gd name="connsiteX59" fmla="*/ 53912 w 217170"/>
                <a:gd name="connsiteY59" fmla="*/ 93059 h 98583"/>
                <a:gd name="connsiteX60" fmla="*/ 58007 w 217170"/>
                <a:gd name="connsiteY60" fmla="*/ 98584 h 98583"/>
                <a:gd name="connsiteX61" fmla="*/ 62675 w 217170"/>
                <a:gd name="connsiteY61" fmla="*/ 93059 h 98583"/>
                <a:gd name="connsiteX62" fmla="*/ 76867 w 217170"/>
                <a:gd name="connsiteY62" fmla="*/ 94202 h 98583"/>
                <a:gd name="connsiteX63" fmla="*/ 89725 w 217170"/>
                <a:gd name="connsiteY63" fmla="*/ 91249 h 98583"/>
                <a:gd name="connsiteX64" fmla="*/ 92869 w 217170"/>
                <a:gd name="connsiteY64" fmla="*/ 88106 h 98583"/>
                <a:gd name="connsiteX65" fmla="*/ 90011 w 217170"/>
                <a:gd name="connsiteY65" fmla="*/ 82772 h 98583"/>
                <a:gd name="connsiteX66" fmla="*/ 95155 w 217170"/>
                <a:gd name="connsiteY66" fmla="*/ 76390 h 98583"/>
                <a:gd name="connsiteX67" fmla="*/ 99346 w 217170"/>
                <a:gd name="connsiteY67" fmla="*/ 77533 h 98583"/>
                <a:gd name="connsiteX68" fmla="*/ 109633 w 217170"/>
                <a:gd name="connsiteY68" fmla="*/ 72009 h 98583"/>
                <a:gd name="connsiteX69" fmla="*/ 108585 w 217170"/>
                <a:gd name="connsiteY69" fmla="*/ 66580 h 98583"/>
                <a:gd name="connsiteX70" fmla="*/ 117062 w 217170"/>
                <a:gd name="connsiteY70" fmla="*/ 66580 h 98583"/>
                <a:gd name="connsiteX71" fmla="*/ 124111 w 217170"/>
                <a:gd name="connsiteY71" fmla="*/ 63055 h 98583"/>
                <a:gd name="connsiteX72" fmla="*/ 126111 w 217170"/>
                <a:gd name="connsiteY72" fmla="*/ 71342 h 98583"/>
                <a:gd name="connsiteX73" fmla="*/ 140589 w 217170"/>
                <a:gd name="connsiteY73" fmla="*/ 69723 h 98583"/>
                <a:gd name="connsiteX74" fmla="*/ 148876 w 217170"/>
                <a:gd name="connsiteY74" fmla="*/ 55054 h 98583"/>
                <a:gd name="connsiteX75" fmla="*/ 162020 w 217170"/>
                <a:gd name="connsiteY75" fmla="*/ 55721 h 98583"/>
                <a:gd name="connsiteX76" fmla="*/ 175355 w 217170"/>
                <a:gd name="connsiteY76" fmla="*/ 52578 h 98583"/>
                <a:gd name="connsiteX77" fmla="*/ 179546 w 217170"/>
                <a:gd name="connsiteY77" fmla="*/ 44863 h 98583"/>
                <a:gd name="connsiteX78" fmla="*/ 206597 w 217170"/>
                <a:gd name="connsiteY78" fmla="*/ 33147 h 98583"/>
                <a:gd name="connsiteX79" fmla="*/ 209169 w 217170"/>
                <a:gd name="connsiteY79" fmla="*/ 29623 h 98583"/>
                <a:gd name="connsiteX80" fmla="*/ 217170 w 217170"/>
                <a:gd name="connsiteY80" fmla="*/ 28956 h 98583"/>
                <a:gd name="connsiteX81" fmla="*/ 216789 w 217170"/>
                <a:gd name="connsiteY81" fmla="*/ 26384 h 98583"/>
                <a:gd name="connsiteX82" fmla="*/ 209741 w 217170"/>
                <a:gd name="connsiteY82" fmla="*/ 20098 h 98583"/>
                <a:gd name="connsiteX83" fmla="*/ 199358 w 217170"/>
                <a:gd name="connsiteY83" fmla="*/ 18193 h 9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17170" h="98583">
                  <a:moveTo>
                    <a:pt x="199358" y="18193"/>
                  </a:moveTo>
                  <a:lnTo>
                    <a:pt x="195548" y="10478"/>
                  </a:lnTo>
                  <a:lnTo>
                    <a:pt x="191167" y="12097"/>
                  </a:lnTo>
                  <a:lnTo>
                    <a:pt x="182118" y="8954"/>
                  </a:lnTo>
                  <a:lnTo>
                    <a:pt x="166402" y="8287"/>
                  </a:lnTo>
                  <a:lnTo>
                    <a:pt x="159449" y="9525"/>
                  </a:lnTo>
                  <a:lnTo>
                    <a:pt x="152971" y="6382"/>
                  </a:lnTo>
                  <a:lnTo>
                    <a:pt x="128207" y="6667"/>
                  </a:lnTo>
                  <a:lnTo>
                    <a:pt x="125921" y="10858"/>
                  </a:lnTo>
                  <a:lnTo>
                    <a:pt x="112490" y="8287"/>
                  </a:lnTo>
                  <a:lnTo>
                    <a:pt x="96774" y="0"/>
                  </a:lnTo>
                  <a:lnTo>
                    <a:pt x="84868" y="4763"/>
                  </a:lnTo>
                  <a:lnTo>
                    <a:pt x="81725" y="14002"/>
                  </a:lnTo>
                  <a:lnTo>
                    <a:pt x="83344" y="21336"/>
                  </a:lnTo>
                  <a:lnTo>
                    <a:pt x="77343" y="17526"/>
                  </a:lnTo>
                  <a:lnTo>
                    <a:pt x="69913" y="16859"/>
                  </a:lnTo>
                  <a:lnTo>
                    <a:pt x="52102" y="9525"/>
                  </a:lnTo>
                  <a:lnTo>
                    <a:pt x="45149" y="11811"/>
                  </a:lnTo>
                  <a:lnTo>
                    <a:pt x="41243" y="9906"/>
                  </a:lnTo>
                  <a:lnTo>
                    <a:pt x="35052" y="14002"/>
                  </a:lnTo>
                  <a:lnTo>
                    <a:pt x="30956" y="23336"/>
                  </a:lnTo>
                  <a:lnTo>
                    <a:pt x="30861" y="23431"/>
                  </a:lnTo>
                  <a:lnTo>
                    <a:pt x="35719" y="21717"/>
                  </a:lnTo>
                  <a:lnTo>
                    <a:pt x="39815" y="26765"/>
                  </a:lnTo>
                  <a:lnTo>
                    <a:pt x="25813" y="34480"/>
                  </a:lnTo>
                  <a:lnTo>
                    <a:pt x="17336" y="42481"/>
                  </a:lnTo>
                  <a:lnTo>
                    <a:pt x="26575" y="43244"/>
                  </a:lnTo>
                  <a:lnTo>
                    <a:pt x="28956" y="48958"/>
                  </a:lnTo>
                  <a:lnTo>
                    <a:pt x="40196" y="51054"/>
                  </a:lnTo>
                  <a:lnTo>
                    <a:pt x="41815" y="46482"/>
                  </a:lnTo>
                  <a:lnTo>
                    <a:pt x="47434" y="42481"/>
                  </a:lnTo>
                  <a:lnTo>
                    <a:pt x="50673" y="48958"/>
                  </a:lnTo>
                  <a:lnTo>
                    <a:pt x="56959" y="48958"/>
                  </a:lnTo>
                  <a:lnTo>
                    <a:pt x="59341" y="54292"/>
                  </a:lnTo>
                  <a:lnTo>
                    <a:pt x="65246" y="54673"/>
                  </a:lnTo>
                  <a:lnTo>
                    <a:pt x="76771" y="58769"/>
                  </a:lnTo>
                  <a:lnTo>
                    <a:pt x="67723" y="66294"/>
                  </a:lnTo>
                  <a:lnTo>
                    <a:pt x="60293" y="64865"/>
                  </a:lnTo>
                  <a:lnTo>
                    <a:pt x="60293" y="70199"/>
                  </a:lnTo>
                  <a:lnTo>
                    <a:pt x="55340" y="68961"/>
                  </a:lnTo>
                  <a:lnTo>
                    <a:pt x="53721" y="73438"/>
                  </a:lnTo>
                  <a:lnTo>
                    <a:pt x="47054" y="76200"/>
                  </a:lnTo>
                  <a:lnTo>
                    <a:pt x="39148" y="71819"/>
                  </a:lnTo>
                  <a:lnTo>
                    <a:pt x="32480" y="72580"/>
                  </a:lnTo>
                  <a:lnTo>
                    <a:pt x="32195" y="73533"/>
                  </a:lnTo>
                  <a:lnTo>
                    <a:pt x="30671" y="78391"/>
                  </a:lnTo>
                  <a:lnTo>
                    <a:pt x="27337" y="79915"/>
                  </a:lnTo>
                  <a:lnTo>
                    <a:pt x="24765" y="83725"/>
                  </a:lnTo>
                  <a:lnTo>
                    <a:pt x="22384" y="77819"/>
                  </a:lnTo>
                  <a:lnTo>
                    <a:pt x="7715" y="74486"/>
                  </a:lnTo>
                  <a:lnTo>
                    <a:pt x="7429" y="80200"/>
                  </a:lnTo>
                  <a:lnTo>
                    <a:pt x="2096" y="81058"/>
                  </a:lnTo>
                  <a:lnTo>
                    <a:pt x="0" y="89249"/>
                  </a:lnTo>
                  <a:lnTo>
                    <a:pt x="24479" y="89249"/>
                  </a:lnTo>
                  <a:lnTo>
                    <a:pt x="28384" y="94488"/>
                  </a:lnTo>
                  <a:lnTo>
                    <a:pt x="33814" y="93631"/>
                  </a:lnTo>
                  <a:lnTo>
                    <a:pt x="35814" y="89821"/>
                  </a:lnTo>
                  <a:lnTo>
                    <a:pt x="44101" y="88678"/>
                  </a:lnTo>
                  <a:lnTo>
                    <a:pt x="48006" y="94488"/>
                  </a:lnTo>
                  <a:lnTo>
                    <a:pt x="53912" y="93059"/>
                  </a:lnTo>
                  <a:lnTo>
                    <a:pt x="58007" y="98584"/>
                  </a:lnTo>
                  <a:lnTo>
                    <a:pt x="62675" y="93059"/>
                  </a:lnTo>
                  <a:lnTo>
                    <a:pt x="76867" y="94202"/>
                  </a:lnTo>
                  <a:lnTo>
                    <a:pt x="89725" y="91249"/>
                  </a:lnTo>
                  <a:lnTo>
                    <a:pt x="92869" y="88106"/>
                  </a:lnTo>
                  <a:lnTo>
                    <a:pt x="90011" y="82772"/>
                  </a:lnTo>
                  <a:lnTo>
                    <a:pt x="95155" y="76390"/>
                  </a:lnTo>
                  <a:lnTo>
                    <a:pt x="99346" y="77533"/>
                  </a:lnTo>
                  <a:lnTo>
                    <a:pt x="109633" y="72009"/>
                  </a:lnTo>
                  <a:lnTo>
                    <a:pt x="108585" y="66580"/>
                  </a:lnTo>
                  <a:lnTo>
                    <a:pt x="117062" y="66580"/>
                  </a:lnTo>
                  <a:lnTo>
                    <a:pt x="124111" y="63055"/>
                  </a:lnTo>
                  <a:lnTo>
                    <a:pt x="126111" y="71342"/>
                  </a:lnTo>
                  <a:lnTo>
                    <a:pt x="140589" y="69723"/>
                  </a:lnTo>
                  <a:lnTo>
                    <a:pt x="148876" y="55054"/>
                  </a:lnTo>
                  <a:lnTo>
                    <a:pt x="162020" y="55721"/>
                  </a:lnTo>
                  <a:lnTo>
                    <a:pt x="175355" y="52578"/>
                  </a:lnTo>
                  <a:lnTo>
                    <a:pt x="179546" y="44863"/>
                  </a:lnTo>
                  <a:lnTo>
                    <a:pt x="206597" y="33147"/>
                  </a:lnTo>
                  <a:lnTo>
                    <a:pt x="209169" y="29623"/>
                  </a:lnTo>
                  <a:lnTo>
                    <a:pt x="217170" y="28956"/>
                  </a:lnTo>
                  <a:lnTo>
                    <a:pt x="216789" y="26384"/>
                  </a:lnTo>
                  <a:lnTo>
                    <a:pt x="209741" y="20098"/>
                  </a:lnTo>
                  <a:lnTo>
                    <a:pt x="199358" y="1819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7" name="Freeform: Shape 2697">
              <a:extLst>
                <a:ext uri="{FF2B5EF4-FFF2-40B4-BE49-F238E27FC236}">
                  <a16:creationId xmlns:a16="http://schemas.microsoft.com/office/drawing/2014/main" id="{966D2F90-A818-4BE6-DF84-D1CA11365AD5}"/>
                </a:ext>
              </a:extLst>
            </p:cNvPr>
            <p:cNvSpPr/>
            <p:nvPr/>
          </p:nvSpPr>
          <p:spPr>
            <a:xfrm>
              <a:off x="2663761" y="3998531"/>
              <a:ext cx="39624" cy="30670"/>
            </a:xfrm>
            <a:custGeom>
              <a:avLst/>
              <a:gdLst>
                <a:gd name="connsiteX0" fmla="*/ 25146 w 39624"/>
                <a:gd name="connsiteY0" fmla="*/ 30289 h 30670"/>
                <a:gd name="connsiteX1" fmla="*/ 39624 w 39624"/>
                <a:gd name="connsiteY1" fmla="*/ 30671 h 30670"/>
                <a:gd name="connsiteX2" fmla="*/ 34671 w 39624"/>
                <a:gd name="connsiteY2" fmla="*/ 9620 h 30670"/>
                <a:gd name="connsiteX3" fmla="*/ 38386 w 39624"/>
                <a:gd name="connsiteY3" fmla="*/ 5239 h 30670"/>
                <a:gd name="connsiteX4" fmla="*/ 38386 w 39624"/>
                <a:gd name="connsiteY4" fmla="*/ 5239 h 30670"/>
                <a:gd name="connsiteX5" fmla="*/ 31909 w 39624"/>
                <a:gd name="connsiteY5" fmla="*/ 857 h 30670"/>
                <a:gd name="connsiteX6" fmla="*/ 14192 w 39624"/>
                <a:gd name="connsiteY6" fmla="*/ 0 h 30670"/>
                <a:gd name="connsiteX7" fmla="*/ 0 w 39624"/>
                <a:gd name="connsiteY7" fmla="*/ 19621 h 30670"/>
                <a:gd name="connsiteX8" fmla="*/ 0 w 39624"/>
                <a:gd name="connsiteY8" fmla="*/ 19621 h 30670"/>
                <a:gd name="connsiteX9" fmla="*/ 20860 w 39624"/>
                <a:gd name="connsiteY9" fmla="*/ 21241 h 30670"/>
                <a:gd name="connsiteX10" fmla="*/ 25146 w 39624"/>
                <a:gd name="connsiteY10" fmla="*/ 30289 h 3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4" h="30670">
                  <a:moveTo>
                    <a:pt x="25146" y="30289"/>
                  </a:moveTo>
                  <a:lnTo>
                    <a:pt x="39624" y="30671"/>
                  </a:lnTo>
                  <a:lnTo>
                    <a:pt x="34671" y="9620"/>
                  </a:lnTo>
                  <a:lnTo>
                    <a:pt x="38386" y="5239"/>
                  </a:lnTo>
                  <a:lnTo>
                    <a:pt x="38386" y="5239"/>
                  </a:lnTo>
                  <a:lnTo>
                    <a:pt x="31909" y="857"/>
                  </a:lnTo>
                  <a:lnTo>
                    <a:pt x="14192" y="0"/>
                  </a:lnTo>
                  <a:lnTo>
                    <a:pt x="0" y="19621"/>
                  </a:lnTo>
                  <a:lnTo>
                    <a:pt x="0" y="19621"/>
                  </a:lnTo>
                  <a:lnTo>
                    <a:pt x="20860" y="21241"/>
                  </a:lnTo>
                  <a:lnTo>
                    <a:pt x="25146" y="3028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8" name="Freeform: Shape 2698">
              <a:extLst>
                <a:ext uri="{FF2B5EF4-FFF2-40B4-BE49-F238E27FC236}">
                  <a16:creationId xmlns:a16="http://schemas.microsoft.com/office/drawing/2014/main" id="{1D385D4B-C71A-C337-186B-D3EA0A5A8664}"/>
                </a:ext>
              </a:extLst>
            </p:cNvPr>
            <p:cNvSpPr/>
            <p:nvPr/>
          </p:nvSpPr>
          <p:spPr>
            <a:xfrm>
              <a:off x="2895504" y="3616007"/>
              <a:ext cx="51054" cy="59245"/>
            </a:xfrm>
            <a:custGeom>
              <a:avLst/>
              <a:gdLst>
                <a:gd name="connsiteX0" fmla="*/ 51054 w 51054"/>
                <a:gd name="connsiteY0" fmla="*/ 8954 h 59245"/>
                <a:gd name="connsiteX1" fmla="*/ 25241 w 51054"/>
                <a:gd name="connsiteY1" fmla="*/ 0 h 59245"/>
                <a:gd name="connsiteX2" fmla="*/ 25241 w 51054"/>
                <a:gd name="connsiteY2" fmla="*/ 13335 h 59245"/>
                <a:gd name="connsiteX3" fmla="*/ 12382 w 51054"/>
                <a:gd name="connsiteY3" fmla="*/ 9525 h 59245"/>
                <a:gd name="connsiteX4" fmla="*/ 4953 w 51054"/>
                <a:gd name="connsiteY4" fmla="*/ 23336 h 59245"/>
                <a:gd name="connsiteX5" fmla="*/ 1048 w 51054"/>
                <a:gd name="connsiteY5" fmla="*/ 30575 h 59245"/>
                <a:gd name="connsiteX6" fmla="*/ 0 w 51054"/>
                <a:gd name="connsiteY6" fmla="*/ 50292 h 59245"/>
                <a:gd name="connsiteX7" fmla="*/ 11335 w 51054"/>
                <a:gd name="connsiteY7" fmla="*/ 50959 h 59245"/>
                <a:gd name="connsiteX8" fmla="*/ 11335 w 51054"/>
                <a:gd name="connsiteY8" fmla="*/ 29337 h 59245"/>
                <a:gd name="connsiteX9" fmla="*/ 20669 w 51054"/>
                <a:gd name="connsiteY9" fmla="*/ 21050 h 59245"/>
                <a:gd name="connsiteX10" fmla="*/ 24193 w 51054"/>
                <a:gd name="connsiteY10" fmla="*/ 35719 h 59245"/>
                <a:gd name="connsiteX11" fmla="*/ 15526 w 51054"/>
                <a:gd name="connsiteY11" fmla="*/ 54102 h 59245"/>
                <a:gd name="connsiteX12" fmla="*/ 34004 w 51054"/>
                <a:gd name="connsiteY12" fmla="*/ 59246 h 59245"/>
                <a:gd name="connsiteX13" fmla="*/ 46958 w 51054"/>
                <a:gd name="connsiteY13" fmla="*/ 43339 h 59245"/>
                <a:gd name="connsiteX14" fmla="*/ 36100 w 51054"/>
                <a:gd name="connsiteY14" fmla="*/ 20384 h 59245"/>
                <a:gd name="connsiteX15" fmla="*/ 51054 w 51054"/>
                <a:gd name="connsiteY15" fmla="*/ 8954 h 5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054" h="59245">
                  <a:moveTo>
                    <a:pt x="51054" y="8954"/>
                  </a:moveTo>
                  <a:lnTo>
                    <a:pt x="25241" y="0"/>
                  </a:lnTo>
                  <a:lnTo>
                    <a:pt x="25241" y="13335"/>
                  </a:lnTo>
                  <a:lnTo>
                    <a:pt x="12382" y="9525"/>
                  </a:lnTo>
                  <a:lnTo>
                    <a:pt x="4953" y="23336"/>
                  </a:lnTo>
                  <a:lnTo>
                    <a:pt x="1048" y="30575"/>
                  </a:lnTo>
                  <a:lnTo>
                    <a:pt x="0" y="50292"/>
                  </a:lnTo>
                  <a:lnTo>
                    <a:pt x="11335" y="50959"/>
                  </a:lnTo>
                  <a:lnTo>
                    <a:pt x="11335" y="29337"/>
                  </a:lnTo>
                  <a:lnTo>
                    <a:pt x="20669" y="21050"/>
                  </a:lnTo>
                  <a:lnTo>
                    <a:pt x="24193" y="35719"/>
                  </a:lnTo>
                  <a:lnTo>
                    <a:pt x="15526" y="54102"/>
                  </a:lnTo>
                  <a:lnTo>
                    <a:pt x="34004" y="59246"/>
                  </a:lnTo>
                  <a:lnTo>
                    <a:pt x="46958" y="43339"/>
                  </a:lnTo>
                  <a:lnTo>
                    <a:pt x="36100" y="20384"/>
                  </a:lnTo>
                  <a:lnTo>
                    <a:pt x="51054" y="89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09" name="Freeform: Shape 2699">
              <a:extLst>
                <a:ext uri="{FF2B5EF4-FFF2-40B4-BE49-F238E27FC236}">
                  <a16:creationId xmlns:a16="http://schemas.microsoft.com/office/drawing/2014/main" id="{ADFA08BD-8EF4-F8B4-EDF7-340838D1BF81}"/>
                </a:ext>
              </a:extLst>
            </p:cNvPr>
            <p:cNvSpPr/>
            <p:nvPr/>
          </p:nvSpPr>
          <p:spPr>
            <a:xfrm>
              <a:off x="2853690" y="3637057"/>
              <a:ext cx="340709" cy="200596"/>
            </a:xfrm>
            <a:custGeom>
              <a:avLst/>
              <a:gdLst>
                <a:gd name="connsiteX0" fmla="*/ 329184 w 340709"/>
                <a:gd name="connsiteY0" fmla="*/ 112586 h 200596"/>
                <a:gd name="connsiteX1" fmla="*/ 323278 w 340709"/>
                <a:gd name="connsiteY1" fmla="*/ 112204 h 200596"/>
                <a:gd name="connsiteX2" fmla="*/ 320897 w 340709"/>
                <a:gd name="connsiteY2" fmla="*/ 106871 h 200596"/>
                <a:gd name="connsiteX3" fmla="*/ 314611 w 340709"/>
                <a:gd name="connsiteY3" fmla="*/ 106871 h 200596"/>
                <a:gd name="connsiteX4" fmla="*/ 311372 w 340709"/>
                <a:gd name="connsiteY4" fmla="*/ 100394 h 200596"/>
                <a:gd name="connsiteX5" fmla="*/ 305752 w 340709"/>
                <a:gd name="connsiteY5" fmla="*/ 104394 h 200596"/>
                <a:gd name="connsiteX6" fmla="*/ 304133 w 340709"/>
                <a:gd name="connsiteY6" fmla="*/ 108966 h 200596"/>
                <a:gd name="connsiteX7" fmla="*/ 292894 w 340709"/>
                <a:gd name="connsiteY7" fmla="*/ 106871 h 200596"/>
                <a:gd name="connsiteX8" fmla="*/ 290513 w 340709"/>
                <a:gd name="connsiteY8" fmla="*/ 101156 h 200596"/>
                <a:gd name="connsiteX9" fmla="*/ 281273 w 340709"/>
                <a:gd name="connsiteY9" fmla="*/ 100394 h 200596"/>
                <a:gd name="connsiteX10" fmla="*/ 289750 w 340709"/>
                <a:gd name="connsiteY10" fmla="*/ 92393 h 200596"/>
                <a:gd name="connsiteX11" fmla="*/ 303752 w 340709"/>
                <a:gd name="connsiteY11" fmla="*/ 84677 h 200596"/>
                <a:gd name="connsiteX12" fmla="*/ 299656 w 340709"/>
                <a:gd name="connsiteY12" fmla="*/ 79629 h 200596"/>
                <a:gd name="connsiteX13" fmla="*/ 292989 w 340709"/>
                <a:gd name="connsiteY13" fmla="*/ 82010 h 200596"/>
                <a:gd name="connsiteX14" fmla="*/ 289750 w 340709"/>
                <a:gd name="connsiteY14" fmla="*/ 86106 h 200596"/>
                <a:gd name="connsiteX15" fmla="*/ 285083 w 340709"/>
                <a:gd name="connsiteY15" fmla="*/ 83820 h 200596"/>
                <a:gd name="connsiteX16" fmla="*/ 276511 w 340709"/>
                <a:gd name="connsiteY16" fmla="*/ 94488 h 200596"/>
                <a:gd name="connsiteX17" fmla="*/ 258032 w 340709"/>
                <a:gd name="connsiteY17" fmla="*/ 102966 h 200596"/>
                <a:gd name="connsiteX18" fmla="*/ 258032 w 340709"/>
                <a:gd name="connsiteY18" fmla="*/ 108204 h 200596"/>
                <a:gd name="connsiteX19" fmla="*/ 249650 w 340709"/>
                <a:gd name="connsiteY19" fmla="*/ 115062 h 200596"/>
                <a:gd name="connsiteX20" fmla="*/ 250507 w 340709"/>
                <a:gd name="connsiteY20" fmla="*/ 124206 h 200596"/>
                <a:gd name="connsiteX21" fmla="*/ 238030 w 340709"/>
                <a:gd name="connsiteY21" fmla="*/ 117443 h 200596"/>
                <a:gd name="connsiteX22" fmla="*/ 240697 w 340709"/>
                <a:gd name="connsiteY22" fmla="*/ 111728 h 200596"/>
                <a:gd name="connsiteX23" fmla="*/ 236410 w 340709"/>
                <a:gd name="connsiteY23" fmla="*/ 108109 h 200596"/>
                <a:gd name="connsiteX24" fmla="*/ 212312 w 340709"/>
                <a:gd name="connsiteY24" fmla="*/ 108490 h 200596"/>
                <a:gd name="connsiteX25" fmla="*/ 208693 w 340709"/>
                <a:gd name="connsiteY25" fmla="*/ 88583 h 200596"/>
                <a:gd name="connsiteX26" fmla="*/ 198787 w 340709"/>
                <a:gd name="connsiteY26" fmla="*/ 88583 h 200596"/>
                <a:gd name="connsiteX27" fmla="*/ 200406 w 340709"/>
                <a:gd name="connsiteY27" fmla="*/ 64103 h 200596"/>
                <a:gd name="connsiteX28" fmla="*/ 194500 w 340709"/>
                <a:gd name="connsiteY28" fmla="*/ 66961 h 200596"/>
                <a:gd name="connsiteX29" fmla="*/ 188881 w 340709"/>
                <a:gd name="connsiteY29" fmla="*/ 56293 h 200596"/>
                <a:gd name="connsiteX30" fmla="*/ 183547 w 340709"/>
                <a:gd name="connsiteY30" fmla="*/ 53435 h 200596"/>
                <a:gd name="connsiteX31" fmla="*/ 176974 w 340709"/>
                <a:gd name="connsiteY31" fmla="*/ 46196 h 200596"/>
                <a:gd name="connsiteX32" fmla="*/ 166402 w 340709"/>
                <a:gd name="connsiteY32" fmla="*/ 50578 h 200596"/>
                <a:gd name="connsiteX33" fmla="*/ 142970 w 340709"/>
                <a:gd name="connsiteY33" fmla="*/ 48578 h 200596"/>
                <a:gd name="connsiteX34" fmla="*/ 119158 w 340709"/>
                <a:gd name="connsiteY34" fmla="*/ 52292 h 200596"/>
                <a:gd name="connsiteX35" fmla="*/ 115443 w 340709"/>
                <a:gd name="connsiteY35" fmla="*/ 48483 h 200596"/>
                <a:gd name="connsiteX36" fmla="*/ 100108 w 340709"/>
                <a:gd name="connsiteY36" fmla="*/ 33052 h 200596"/>
                <a:gd name="connsiteX37" fmla="*/ 99346 w 340709"/>
                <a:gd name="connsiteY37" fmla="*/ 29623 h 200596"/>
                <a:gd name="connsiteX38" fmla="*/ 88773 w 340709"/>
                <a:gd name="connsiteY38" fmla="*/ 22289 h 200596"/>
                <a:gd name="connsiteX39" fmla="*/ 75819 w 340709"/>
                <a:gd name="connsiteY39" fmla="*/ 38195 h 200596"/>
                <a:gd name="connsiteX40" fmla="*/ 57340 w 340709"/>
                <a:gd name="connsiteY40" fmla="*/ 33052 h 200596"/>
                <a:gd name="connsiteX41" fmla="*/ 66008 w 340709"/>
                <a:gd name="connsiteY41" fmla="*/ 14669 h 200596"/>
                <a:gd name="connsiteX42" fmla="*/ 62484 w 340709"/>
                <a:gd name="connsiteY42" fmla="*/ 0 h 200596"/>
                <a:gd name="connsiteX43" fmla="*/ 53149 w 340709"/>
                <a:gd name="connsiteY43" fmla="*/ 8287 h 200596"/>
                <a:gd name="connsiteX44" fmla="*/ 53149 w 340709"/>
                <a:gd name="connsiteY44" fmla="*/ 29909 h 200596"/>
                <a:gd name="connsiteX45" fmla="*/ 41815 w 340709"/>
                <a:gd name="connsiteY45" fmla="*/ 29242 h 200596"/>
                <a:gd name="connsiteX46" fmla="*/ 42863 w 340709"/>
                <a:gd name="connsiteY46" fmla="*/ 9525 h 200596"/>
                <a:gd name="connsiteX47" fmla="*/ 46768 w 340709"/>
                <a:gd name="connsiteY47" fmla="*/ 2286 h 200596"/>
                <a:gd name="connsiteX48" fmla="*/ 15430 w 340709"/>
                <a:gd name="connsiteY48" fmla="*/ 10954 h 200596"/>
                <a:gd name="connsiteX49" fmla="*/ 0 w 340709"/>
                <a:gd name="connsiteY49" fmla="*/ 15145 h 200596"/>
                <a:gd name="connsiteX50" fmla="*/ 0 w 340709"/>
                <a:gd name="connsiteY50" fmla="*/ 42291 h 200596"/>
                <a:gd name="connsiteX51" fmla="*/ 0 w 340709"/>
                <a:gd name="connsiteY51" fmla="*/ 104870 h 200596"/>
                <a:gd name="connsiteX52" fmla="*/ 24765 w 340709"/>
                <a:gd name="connsiteY52" fmla="*/ 106490 h 200596"/>
                <a:gd name="connsiteX53" fmla="*/ 20002 w 340709"/>
                <a:gd name="connsiteY53" fmla="*/ 98679 h 200596"/>
                <a:gd name="connsiteX54" fmla="*/ 20002 w 340709"/>
                <a:gd name="connsiteY54" fmla="*/ 90869 h 200596"/>
                <a:gd name="connsiteX55" fmla="*/ 28670 w 340709"/>
                <a:gd name="connsiteY55" fmla="*/ 84487 h 200596"/>
                <a:gd name="connsiteX56" fmla="*/ 36957 w 340709"/>
                <a:gd name="connsiteY56" fmla="*/ 83629 h 200596"/>
                <a:gd name="connsiteX57" fmla="*/ 37909 w 340709"/>
                <a:gd name="connsiteY57" fmla="*/ 77534 h 200596"/>
                <a:gd name="connsiteX58" fmla="*/ 49816 w 340709"/>
                <a:gd name="connsiteY58" fmla="*/ 81248 h 200596"/>
                <a:gd name="connsiteX59" fmla="*/ 45529 w 340709"/>
                <a:gd name="connsiteY59" fmla="*/ 71438 h 200596"/>
                <a:gd name="connsiteX60" fmla="*/ 51816 w 340709"/>
                <a:gd name="connsiteY60" fmla="*/ 68961 h 200596"/>
                <a:gd name="connsiteX61" fmla="*/ 64675 w 340709"/>
                <a:gd name="connsiteY61" fmla="*/ 80010 h 200596"/>
                <a:gd name="connsiteX62" fmla="*/ 77914 w 340709"/>
                <a:gd name="connsiteY62" fmla="*/ 79058 h 200596"/>
                <a:gd name="connsiteX63" fmla="*/ 81248 w 340709"/>
                <a:gd name="connsiteY63" fmla="*/ 83153 h 200596"/>
                <a:gd name="connsiteX64" fmla="*/ 79534 w 340709"/>
                <a:gd name="connsiteY64" fmla="*/ 88583 h 200596"/>
                <a:gd name="connsiteX65" fmla="*/ 85915 w 340709"/>
                <a:gd name="connsiteY65" fmla="*/ 95631 h 200596"/>
                <a:gd name="connsiteX66" fmla="*/ 80867 w 340709"/>
                <a:gd name="connsiteY66" fmla="*/ 102394 h 200596"/>
                <a:gd name="connsiteX67" fmla="*/ 89440 w 340709"/>
                <a:gd name="connsiteY67" fmla="*/ 107728 h 200596"/>
                <a:gd name="connsiteX68" fmla="*/ 104965 w 340709"/>
                <a:gd name="connsiteY68" fmla="*/ 108966 h 200596"/>
                <a:gd name="connsiteX69" fmla="*/ 106966 w 340709"/>
                <a:gd name="connsiteY69" fmla="*/ 104870 h 200596"/>
                <a:gd name="connsiteX70" fmla="*/ 114490 w 340709"/>
                <a:gd name="connsiteY70" fmla="*/ 108966 h 200596"/>
                <a:gd name="connsiteX71" fmla="*/ 116491 w 340709"/>
                <a:gd name="connsiteY71" fmla="*/ 110109 h 200596"/>
                <a:gd name="connsiteX72" fmla="*/ 119634 w 340709"/>
                <a:gd name="connsiteY72" fmla="*/ 123158 h 200596"/>
                <a:gd name="connsiteX73" fmla="*/ 125825 w 340709"/>
                <a:gd name="connsiteY73" fmla="*/ 127254 h 200596"/>
                <a:gd name="connsiteX74" fmla="*/ 127730 w 340709"/>
                <a:gd name="connsiteY74" fmla="*/ 136684 h 200596"/>
                <a:gd name="connsiteX75" fmla="*/ 159544 w 340709"/>
                <a:gd name="connsiteY75" fmla="*/ 159258 h 200596"/>
                <a:gd name="connsiteX76" fmla="*/ 166211 w 340709"/>
                <a:gd name="connsiteY76" fmla="*/ 159258 h 200596"/>
                <a:gd name="connsiteX77" fmla="*/ 190119 w 340709"/>
                <a:gd name="connsiteY77" fmla="*/ 176689 h 200596"/>
                <a:gd name="connsiteX78" fmla="*/ 199739 w 340709"/>
                <a:gd name="connsiteY78" fmla="*/ 177070 h 200596"/>
                <a:gd name="connsiteX79" fmla="*/ 211264 w 340709"/>
                <a:gd name="connsiteY79" fmla="*/ 183071 h 200596"/>
                <a:gd name="connsiteX80" fmla="*/ 208597 w 340709"/>
                <a:gd name="connsiteY80" fmla="*/ 188500 h 200596"/>
                <a:gd name="connsiteX81" fmla="*/ 208693 w 340709"/>
                <a:gd name="connsiteY81" fmla="*/ 197072 h 200596"/>
                <a:gd name="connsiteX82" fmla="*/ 208597 w 340709"/>
                <a:gd name="connsiteY82" fmla="*/ 197168 h 200596"/>
                <a:gd name="connsiteX83" fmla="*/ 218218 w 340709"/>
                <a:gd name="connsiteY83" fmla="*/ 196120 h 200596"/>
                <a:gd name="connsiteX84" fmla="*/ 223171 w 340709"/>
                <a:gd name="connsiteY84" fmla="*/ 200597 h 200596"/>
                <a:gd name="connsiteX85" fmla="*/ 233077 w 340709"/>
                <a:gd name="connsiteY85" fmla="*/ 200216 h 200596"/>
                <a:gd name="connsiteX86" fmla="*/ 235553 w 340709"/>
                <a:gd name="connsiteY86" fmla="*/ 195358 h 200596"/>
                <a:gd name="connsiteX87" fmla="*/ 234410 w 340709"/>
                <a:gd name="connsiteY87" fmla="*/ 192215 h 200596"/>
                <a:gd name="connsiteX88" fmla="*/ 240125 w 340709"/>
                <a:gd name="connsiteY88" fmla="*/ 183356 h 200596"/>
                <a:gd name="connsiteX89" fmla="*/ 244030 w 340709"/>
                <a:gd name="connsiteY89" fmla="*/ 183356 h 200596"/>
                <a:gd name="connsiteX90" fmla="*/ 245269 w 340709"/>
                <a:gd name="connsiteY90" fmla="*/ 177832 h 200596"/>
                <a:gd name="connsiteX91" fmla="*/ 239077 w 340709"/>
                <a:gd name="connsiteY91" fmla="*/ 169926 h 200596"/>
                <a:gd name="connsiteX92" fmla="*/ 239363 w 340709"/>
                <a:gd name="connsiteY92" fmla="*/ 164306 h 200596"/>
                <a:gd name="connsiteX93" fmla="*/ 242316 w 340709"/>
                <a:gd name="connsiteY93" fmla="*/ 163259 h 200596"/>
                <a:gd name="connsiteX94" fmla="*/ 239363 w 340709"/>
                <a:gd name="connsiteY94" fmla="*/ 159829 h 200596"/>
                <a:gd name="connsiteX95" fmla="*/ 232410 w 340709"/>
                <a:gd name="connsiteY95" fmla="*/ 160211 h 200596"/>
                <a:gd name="connsiteX96" fmla="*/ 231457 w 340709"/>
                <a:gd name="connsiteY96" fmla="*/ 156877 h 200596"/>
                <a:gd name="connsiteX97" fmla="*/ 224409 w 340709"/>
                <a:gd name="connsiteY97" fmla="*/ 153829 h 200596"/>
                <a:gd name="connsiteX98" fmla="*/ 231362 w 340709"/>
                <a:gd name="connsiteY98" fmla="*/ 146018 h 200596"/>
                <a:gd name="connsiteX99" fmla="*/ 248317 w 340709"/>
                <a:gd name="connsiteY99" fmla="*/ 147542 h 200596"/>
                <a:gd name="connsiteX100" fmla="*/ 250222 w 340709"/>
                <a:gd name="connsiteY100" fmla="*/ 140779 h 200596"/>
                <a:gd name="connsiteX101" fmla="*/ 254984 w 340709"/>
                <a:gd name="connsiteY101" fmla="*/ 138589 h 200596"/>
                <a:gd name="connsiteX102" fmla="*/ 249650 w 340709"/>
                <a:gd name="connsiteY102" fmla="*/ 133350 h 200596"/>
                <a:gd name="connsiteX103" fmla="*/ 263842 w 340709"/>
                <a:gd name="connsiteY103" fmla="*/ 132112 h 200596"/>
                <a:gd name="connsiteX104" fmla="*/ 261842 w 340709"/>
                <a:gd name="connsiteY104" fmla="*/ 123635 h 200596"/>
                <a:gd name="connsiteX105" fmla="*/ 265747 w 340709"/>
                <a:gd name="connsiteY105" fmla="*/ 116491 h 200596"/>
                <a:gd name="connsiteX106" fmla="*/ 271081 w 340709"/>
                <a:gd name="connsiteY106" fmla="*/ 121539 h 200596"/>
                <a:gd name="connsiteX107" fmla="*/ 284607 w 340709"/>
                <a:gd name="connsiteY107" fmla="*/ 114586 h 200596"/>
                <a:gd name="connsiteX108" fmla="*/ 285940 w 340709"/>
                <a:gd name="connsiteY108" fmla="*/ 110966 h 200596"/>
                <a:gd name="connsiteX109" fmla="*/ 293180 w 340709"/>
                <a:gd name="connsiteY109" fmla="*/ 119539 h 200596"/>
                <a:gd name="connsiteX110" fmla="*/ 285464 w 340709"/>
                <a:gd name="connsiteY110" fmla="*/ 125921 h 200596"/>
                <a:gd name="connsiteX111" fmla="*/ 289750 w 340709"/>
                <a:gd name="connsiteY111" fmla="*/ 131350 h 200596"/>
                <a:gd name="connsiteX112" fmla="*/ 296418 w 340709"/>
                <a:gd name="connsiteY112" fmla="*/ 130493 h 200596"/>
                <a:gd name="connsiteX113" fmla="*/ 303085 w 340709"/>
                <a:gd name="connsiteY113" fmla="*/ 129731 h 200596"/>
                <a:gd name="connsiteX114" fmla="*/ 310991 w 340709"/>
                <a:gd name="connsiteY114" fmla="*/ 134112 h 200596"/>
                <a:gd name="connsiteX115" fmla="*/ 317659 w 340709"/>
                <a:gd name="connsiteY115" fmla="*/ 131350 h 200596"/>
                <a:gd name="connsiteX116" fmla="*/ 319278 w 340709"/>
                <a:gd name="connsiteY116" fmla="*/ 126873 h 200596"/>
                <a:gd name="connsiteX117" fmla="*/ 324231 w 340709"/>
                <a:gd name="connsiteY117" fmla="*/ 128111 h 200596"/>
                <a:gd name="connsiteX118" fmla="*/ 324231 w 340709"/>
                <a:gd name="connsiteY118" fmla="*/ 122777 h 200596"/>
                <a:gd name="connsiteX119" fmla="*/ 331660 w 340709"/>
                <a:gd name="connsiteY119" fmla="*/ 124206 h 200596"/>
                <a:gd name="connsiteX120" fmla="*/ 340709 w 340709"/>
                <a:gd name="connsiteY120" fmla="*/ 116681 h 200596"/>
                <a:gd name="connsiteX121" fmla="*/ 329184 w 340709"/>
                <a:gd name="connsiteY121" fmla="*/ 112586 h 20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40709" h="200596">
                  <a:moveTo>
                    <a:pt x="329184" y="112586"/>
                  </a:moveTo>
                  <a:lnTo>
                    <a:pt x="323278" y="112204"/>
                  </a:lnTo>
                  <a:lnTo>
                    <a:pt x="320897" y="106871"/>
                  </a:lnTo>
                  <a:lnTo>
                    <a:pt x="314611" y="106871"/>
                  </a:lnTo>
                  <a:lnTo>
                    <a:pt x="311372" y="100394"/>
                  </a:lnTo>
                  <a:lnTo>
                    <a:pt x="305752" y="104394"/>
                  </a:lnTo>
                  <a:lnTo>
                    <a:pt x="304133" y="108966"/>
                  </a:lnTo>
                  <a:lnTo>
                    <a:pt x="292894" y="106871"/>
                  </a:lnTo>
                  <a:lnTo>
                    <a:pt x="290513" y="101156"/>
                  </a:lnTo>
                  <a:lnTo>
                    <a:pt x="281273" y="100394"/>
                  </a:lnTo>
                  <a:lnTo>
                    <a:pt x="289750" y="92393"/>
                  </a:lnTo>
                  <a:lnTo>
                    <a:pt x="303752" y="84677"/>
                  </a:lnTo>
                  <a:lnTo>
                    <a:pt x="299656" y="79629"/>
                  </a:lnTo>
                  <a:lnTo>
                    <a:pt x="292989" y="82010"/>
                  </a:lnTo>
                  <a:lnTo>
                    <a:pt x="289750" y="86106"/>
                  </a:lnTo>
                  <a:lnTo>
                    <a:pt x="285083" y="83820"/>
                  </a:lnTo>
                  <a:lnTo>
                    <a:pt x="276511" y="94488"/>
                  </a:lnTo>
                  <a:lnTo>
                    <a:pt x="258032" y="102966"/>
                  </a:lnTo>
                  <a:lnTo>
                    <a:pt x="258032" y="108204"/>
                  </a:lnTo>
                  <a:lnTo>
                    <a:pt x="249650" y="115062"/>
                  </a:lnTo>
                  <a:lnTo>
                    <a:pt x="250507" y="124206"/>
                  </a:lnTo>
                  <a:lnTo>
                    <a:pt x="238030" y="117443"/>
                  </a:lnTo>
                  <a:lnTo>
                    <a:pt x="240697" y="111728"/>
                  </a:lnTo>
                  <a:lnTo>
                    <a:pt x="236410" y="108109"/>
                  </a:lnTo>
                  <a:lnTo>
                    <a:pt x="212312" y="108490"/>
                  </a:lnTo>
                  <a:lnTo>
                    <a:pt x="208693" y="88583"/>
                  </a:lnTo>
                  <a:lnTo>
                    <a:pt x="198787" y="88583"/>
                  </a:lnTo>
                  <a:lnTo>
                    <a:pt x="200406" y="64103"/>
                  </a:lnTo>
                  <a:lnTo>
                    <a:pt x="194500" y="66961"/>
                  </a:lnTo>
                  <a:lnTo>
                    <a:pt x="188881" y="56293"/>
                  </a:lnTo>
                  <a:lnTo>
                    <a:pt x="183547" y="53435"/>
                  </a:lnTo>
                  <a:lnTo>
                    <a:pt x="176974" y="46196"/>
                  </a:lnTo>
                  <a:lnTo>
                    <a:pt x="166402" y="50578"/>
                  </a:lnTo>
                  <a:lnTo>
                    <a:pt x="142970" y="48578"/>
                  </a:lnTo>
                  <a:lnTo>
                    <a:pt x="119158" y="52292"/>
                  </a:lnTo>
                  <a:lnTo>
                    <a:pt x="115443" y="48483"/>
                  </a:lnTo>
                  <a:lnTo>
                    <a:pt x="100108" y="33052"/>
                  </a:lnTo>
                  <a:lnTo>
                    <a:pt x="99346" y="29623"/>
                  </a:lnTo>
                  <a:lnTo>
                    <a:pt x="88773" y="22289"/>
                  </a:lnTo>
                  <a:lnTo>
                    <a:pt x="75819" y="38195"/>
                  </a:lnTo>
                  <a:lnTo>
                    <a:pt x="57340" y="33052"/>
                  </a:lnTo>
                  <a:lnTo>
                    <a:pt x="66008" y="14669"/>
                  </a:lnTo>
                  <a:lnTo>
                    <a:pt x="62484" y="0"/>
                  </a:lnTo>
                  <a:lnTo>
                    <a:pt x="53149" y="8287"/>
                  </a:lnTo>
                  <a:lnTo>
                    <a:pt x="53149" y="29909"/>
                  </a:lnTo>
                  <a:lnTo>
                    <a:pt x="41815" y="29242"/>
                  </a:lnTo>
                  <a:lnTo>
                    <a:pt x="42863" y="9525"/>
                  </a:lnTo>
                  <a:lnTo>
                    <a:pt x="46768" y="2286"/>
                  </a:lnTo>
                  <a:lnTo>
                    <a:pt x="15430" y="10954"/>
                  </a:lnTo>
                  <a:lnTo>
                    <a:pt x="0" y="15145"/>
                  </a:lnTo>
                  <a:lnTo>
                    <a:pt x="0" y="42291"/>
                  </a:lnTo>
                  <a:lnTo>
                    <a:pt x="0" y="104870"/>
                  </a:lnTo>
                  <a:lnTo>
                    <a:pt x="24765" y="106490"/>
                  </a:lnTo>
                  <a:lnTo>
                    <a:pt x="20002" y="98679"/>
                  </a:lnTo>
                  <a:lnTo>
                    <a:pt x="20002" y="90869"/>
                  </a:lnTo>
                  <a:lnTo>
                    <a:pt x="28670" y="84487"/>
                  </a:lnTo>
                  <a:lnTo>
                    <a:pt x="36957" y="83629"/>
                  </a:lnTo>
                  <a:lnTo>
                    <a:pt x="37909" y="77534"/>
                  </a:lnTo>
                  <a:lnTo>
                    <a:pt x="49816" y="81248"/>
                  </a:lnTo>
                  <a:lnTo>
                    <a:pt x="45529" y="71438"/>
                  </a:lnTo>
                  <a:lnTo>
                    <a:pt x="51816" y="68961"/>
                  </a:lnTo>
                  <a:lnTo>
                    <a:pt x="64675" y="80010"/>
                  </a:lnTo>
                  <a:lnTo>
                    <a:pt x="77914" y="79058"/>
                  </a:lnTo>
                  <a:lnTo>
                    <a:pt x="81248" y="83153"/>
                  </a:lnTo>
                  <a:lnTo>
                    <a:pt x="79534" y="88583"/>
                  </a:lnTo>
                  <a:lnTo>
                    <a:pt x="85915" y="95631"/>
                  </a:lnTo>
                  <a:lnTo>
                    <a:pt x="80867" y="102394"/>
                  </a:lnTo>
                  <a:lnTo>
                    <a:pt x="89440" y="107728"/>
                  </a:lnTo>
                  <a:lnTo>
                    <a:pt x="104965" y="108966"/>
                  </a:lnTo>
                  <a:lnTo>
                    <a:pt x="106966" y="104870"/>
                  </a:lnTo>
                  <a:lnTo>
                    <a:pt x="114490" y="108966"/>
                  </a:lnTo>
                  <a:lnTo>
                    <a:pt x="116491" y="110109"/>
                  </a:lnTo>
                  <a:lnTo>
                    <a:pt x="119634" y="123158"/>
                  </a:lnTo>
                  <a:lnTo>
                    <a:pt x="125825" y="127254"/>
                  </a:lnTo>
                  <a:lnTo>
                    <a:pt x="127730" y="136684"/>
                  </a:lnTo>
                  <a:lnTo>
                    <a:pt x="159544" y="159258"/>
                  </a:lnTo>
                  <a:lnTo>
                    <a:pt x="166211" y="159258"/>
                  </a:lnTo>
                  <a:lnTo>
                    <a:pt x="190119" y="176689"/>
                  </a:lnTo>
                  <a:lnTo>
                    <a:pt x="199739" y="177070"/>
                  </a:lnTo>
                  <a:lnTo>
                    <a:pt x="211264" y="183071"/>
                  </a:lnTo>
                  <a:lnTo>
                    <a:pt x="208597" y="188500"/>
                  </a:lnTo>
                  <a:lnTo>
                    <a:pt x="208693" y="197072"/>
                  </a:lnTo>
                  <a:lnTo>
                    <a:pt x="208597" y="197168"/>
                  </a:lnTo>
                  <a:lnTo>
                    <a:pt x="218218" y="196120"/>
                  </a:lnTo>
                  <a:lnTo>
                    <a:pt x="223171" y="200597"/>
                  </a:lnTo>
                  <a:lnTo>
                    <a:pt x="233077" y="200216"/>
                  </a:lnTo>
                  <a:lnTo>
                    <a:pt x="235553" y="195358"/>
                  </a:lnTo>
                  <a:lnTo>
                    <a:pt x="234410" y="192215"/>
                  </a:lnTo>
                  <a:lnTo>
                    <a:pt x="240125" y="183356"/>
                  </a:lnTo>
                  <a:lnTo>
                    <a:pt x="244030" y="183356"/>
                  </a:lnTo>
                  <a:lnTo>
                    <a:pt x="245269" y="177832"/>
                  </a:lnTo>
                  <a:lnTo>
                    <a:pt x="239077" y="169926"/>
                  </a:lnTo>
                  <a:lnTo>
                    <a:pt x="239363" y="164306"/>
                  </a:lnTo>
                  <a:lnTo>
                    <a:pt x="242316" y="163259"/>
                  </a:lnTo>
                  <a:lnTo>
                    <a:pt x="239363" y="159829"/>
                  </a:lnTo>
                  <a:lnTo>
                    <a:pt x="232410" y="160211"/>
                  </a:lnTo>
                  <a:lnTo>
                    <a:pt x="231457" y="156877"/>
                  </a:lnTo>
                  <a:lnTo>
                    <a:pt x="224409" y="153829"/>
                  </a:lnTo>
                  <a:lnTo>
                    <a:pt x="231362" y="146018"/>
                  </a:lnTo>
                  <a:lnTo>
                    <a:pt x="248317" y="147542"/>
                  </a:lnTo>
                  <a:lnTo>
                    <a:pt x="250222" y="140779"/>
                  </a:lnTo>
                  <a:lnTo>
                    <a:pt x="254984" y="138589"/>
                  </a:lnTo>
                  <a:lnTo>
                    <a:pt x="249650" y="133350"/>
                  </a:lnTo>
                  <a:lnTo>
                    <a:pt x="263842" y="132112"/>
                  </a:lnTo>
                  <a:lnTo>
                    <a:pt x="261842" y="123635"/>
                  </a:lnTo>
                  <a:lnTo>
                    <a:pt x="265747" y="116491"/>
                  </a:lnTo>
                  <a:lnTo>
                    <a:pt x="271081" y="121539"/>
                  </a:lnTo>
                  <a:lnTo>
                    <a:pt x="284607" y="114586"/>
                  </a:lnTo>
                  <a:lnTo>
                    <a:pt x="285940" y="110966"/>
                  </a:lnTo>
                  <a:lnTo>
                    <a:pt x="293180" y="119539"/>
                  </a:lnTo>
                  <a:lnTo>
                    <a:pt x="285464" y="125921"/>
                  </a:lnTo>
                  <a:lnTo>
                    <a:pt x="289750" y="131350"/>
                  </a:lnTo>
                  <a:lnTo>
                    <a:pt x="296418" y="130493"/>
                  </a:lnTo>
                  <a:lnTo>
                    <a:pt x="303085" y="129731"/>
                  </a:lnTo>
                  <a:lnTo>
                    <a:pt x="310991" y="134112"/>
                  </a:lnTo>
                  <a:lnTo>
                    <a:pt x="317659" y="131350"/>
                  </a:lnTo>
                  <a:lnTo>
                    <a:pt x="319278" y="126873"/>
                  </a:lnTo>
                  <a:lnTo>
                    <a:pt x="324231" y="128111"/>
                  </a:lnTo>
                  <a:lnTo>
                    <a:pt x="324231" y="122777"/>
                  </a:lnTo>
                  <a:lnTo>
                    <a:pt x="331660" y="124206"/>
                  </a:lnTo>
                  <a:lnTo>
                    <a:pt x="340709" y="116681"/>
                  </a:lnTo>
                  <a:lnTo>
                    <a:pt x="329184" y="11258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0" name="Freeform: Shape 2700">
              <a:extLst>
                <a:ext uri="{FF2B5EF4-FFF2-40B4-BE49-F238E27FC236}">
                  <a16:creationId xmlns:a16="http://schemas.microsoft.com/office/drawing/2014/main" id="{08AA4EE4-25A4-C072-F44E-391CA0468129}"/>
                </a:ext>
              </a:extLst>
            </p:cNvPr>
            <p:cNvSpPr/>
            <p:nvPr/>
          </p:nvSpPr>
          <p:spPr>
            <a:xfrm>
              <a:off x="2665857" y="3377977"/>
              <a:ext cx="811053" cy="383285"/>
            </a:xfrm>
            <a:custGeom>
              <a:avLst/>
              <a:gdLst>
                <a:gd name="connsiteX0" fmla="*/ 811054 w 811053"/>
                <a:gd name="connsiteY0" fmla="*/ 174022 h 383285"/>
                <a:gd name="connsiteX1" fmla="*/ 796671 w 811053"/>
                <a:gd name="connsiteY1" fmla="*/ 162877 h 383285"/>
                <a:gd name="connsiteX2" fmla="*/ 799243 w 811053"/>
                <a:gd name="connsiteY2" fmla="*/ 157829 h 383285"/>
                <a:gd name="connsiteX3" fmla="*/ 793528 w 811053"/>
                <a:gd name="connsiteY3" fmla="*/ 153352 h 383285"/>
                <a:gd name="connsiteX4" fmla="*/ 784288 w 811053"/>
                <a:gd name="connsiteY4" fmla="*/ 162877 h 383285"/>
                <a:gd name="connsiteX5" fmla="*/ 767810 w 811053"/>
                <a:gd name="connsiteY5" fmla="*/ 160972 h 383285"/>
                <a:gd name="connsiteX6" fmla="*/ 762572 w 811053"/>
                <a:gd name="connsiteY6" fmla="*/ 148209 h 383285"/>
                <a:gd name="connsiteX7" fmla="*/ 748189 w 811053"/>
                <a:gd name="connsiteY7" fmla="*/ 144875 h 383285"/>
                <a:gd name="connsiteX8" fmla="*/ 741997 w 811053"/>
                <a:gd name="connsiteY8" fmla="*/ 127635 h 383285"/>
                <a:gd name="connsiteX9" fmla="*/ 725996 w 811053"/>
                <a:gd name="connsiteY9" fmla="*/ 122682 h 383285"/>
                <a:gd name="connsiteX10" fmla="*/ 714661 w 811053"/>
                <a:gd name="connsiteY10" fmla="*/ 133445 h 383285"/>
                <a:gd name="connsiteX11" fmla="*/ 697039 w 811053"/>
                <a:gd name="connsiteY11" fmla="*/ 133445 h 383285"/>
                <a:gd name="connsiteX12" fmla="*/ 693992 w 811053"/>
                <a:gd name="connsiteY12" fmla="*/ 124111 h 383285"/>
                <a:gd name="connsiteX13" fmla="*/ 686752 w 811053"/>
                <a:gd name="connsiteY13" fmla="*/ 127635 h 383285"/>
                <a:gd name="connsiteX14" fmla="*/ 688276 w 811053"/>
                <a:gd name="connsiteY14" fmla="*/ 116967 h 383285"/>
                <a:gd name="connsiteX15" fmla="*/ 673322 w 811053"/>
                <a:gd name="connsiteY15" fmla="*/ 115443 h 383285"/>
                <a:gd name="connsiteX16" fmla="*/ 672370 w 811053"/>
                <a:gd name="connsiteY16" fmla="*/ 126206 h 383285"/>
                <a:gd name="connsiteX17" fmla="*/ 665131 w 811053"/>
                <a:gd name="connsiteY17" fmla="*/ 131254 h 383285"/>
                <a:gd name="connsiteX18" fmla="*/ 620173 w 811053"/>
                <a:gd name="connsiteY18" fmla="*/ 60960 h 383285"/>
                <a:gd name="connsiteX19" fmla="*/ 596455 w 811053"/>
                <a:gd name="connsiteY19" fmla="*/ 45244 h 383285"/>
                <a:gd name="connsiteX20" fmla="*/ 591312 w 811053"/>
                <a:gd name="connsiteY20" fmla="*/ 38767 h 383285"/>
                <a:gd name="connsiteX21" fmla="*/ 599599 w 811053"/>
                <a:gd name="connsiteY21" fmla="*/ 38767 h 383285"/>
                <a:gd name="connsiteX22" fmla="*/ 602647 w 811053"/>
                <a:gd name="connsiteY22" fmla="*/ 27242 h 383285"/>
                <a:gd name="connsiteX23" fmla="*/ 588740 w 811053"/>
                <a:gd name="connsiteY23" fmla="*/ 29432 h 383285"/>
                <a:gd name="connsiteX24" fmla="*/ 554736 w 811053"/>
                <a:gd name="connsiteY24" fmla="*/ 48768 h 383285"/>
                <a:gd name="connsiteX25" fmla="*/ 552640 w 811053"/>
                <a:gd name="connsiteY25" fmla="*/ 57436 h 383285"/>
                <a:gd name="connsiteX26" fmla="*/ 543306 w 811053"/>
                <a:gd name="connsiteY26" fmla="*/ 50959 h 383285"/>
                <a:gd name="connsiteX27" fmla="*/ 534067 w 811053"/>
                <a:gd name="connsiteY27" fmla="*/ 57436 h 383285"/>
                <a:gd name="connsiteX28" fmla="*/ 529400 w 811053"/>
                <a:gd name="connsiteY28" fmla="*/ 50197 h 383285"/>
                <a:gd name="connsiteX29" fmla="*/ 539210 w 811053"/>
                <a:gd name="connsiteY29" fmla="*/ 44482 h 383285"/>
                <a:gd name="connsiteX30" fmla="*/ 539686 w 811053"/>
                <a:gd name="connsiteY30" fmla="*/ 35909 h 383285"/>
                <a:gd name="connsiteX31" fmla="*/ 528923 w 811053"/>
                <a:gd name="connsiteY31" fmla="*/ 40196 h 383285"/>
                <a:gd name="connsiteX32" fmla="*/ 520160 w 811053"/>
                <a:gd name="connsiteY32" fmla="*/ 36576 h 383285"/>
                <a:gd name="connsiteX33" fmla="*/ 514921 w 811053"/>
                <a:gd name="connsiteY33" fmla="*/ 44482 h 383285"/>
                <a:gd name="connsiteX34" fmla="*/ 508254 w 811053"/>
                <a:gd name="connsiteY34" fmla="*/ 32290 h 383285"/>
                <a:gd name="connsiteX35" fmla="*/ 490156 w 811053"/>
                <a:gd name="connsiteY35" fmla="*/ 41624 h 383285"/>
                <a:gd name="connsiteX36" fmla="*/ 483489 w 811053"/>
                <a:gd name="connsiteY36" fmla="*/ 33718 h 383285"/>
                <a:gd name="connsiteX37" fmla="*/ 489680 w 811053"/>
                <a:gd name="connsiteY37" fmla="*/ 25146 h 383285"/>
                <a:gd name="connsiteX38" fmla="*/ 480917 w 811053"/>
                <a:gd name="connsiteY38" fmla="*/ 5048 h 383285"/>
                <a:gd name="connsiteX39" fmla="*/ 467963 w 811053"/>
                <a:gd name="connsiteY39" fmla="*/ 10096 h 383285"/>
                <a:gd name="connsiteX40" fmla="*/ 456629 w 811053"/>
                <a:gd name="connsiteY40" fmla="*/ 2857 h 383285"/>
                <a:gd name="connsiteX41" fmla="*/ 449961 w 811053"/>
                <a:gd name="connsiteY41" fmla="*/ 7239 h 383285"/>
                <a:gd name="connsiteX42" fmla="*/ 443198 w 811053"/>
                <a:gd name="connsiteY42" fmla="*/ 0 h 383285"/>
                <a:gd name="connsiteX43" fmla="*/ 429863 w 811053"/>
                <a:gd name="connsiteY43" fmla="*/ 7239 h 383285"/>
                <a:gd name="connsiteX44" fmla="*/ 431863 w 811053"/>
                <a:gd name="connsiteY44" fmla="*/ 16478 h 383285"/>
                <a:gd name="connsiteX45" fmla="*/ 421100 w 811053"/>
                <a:gd name="connsiteY45" fmla="*/ 15811 h 383285"/>
                <a:gd name="connsiteX46" fmla="*/ 385953 w 811053"/>
                <a:gd name="connsiteY46" fmla="*/ 24384 h 383285"/>
                <a:gd name="connsiteX47" fmla="*/ 371284 w 811053"/>
                <a:gd name="connsiteY47" fmla="*/ 26194 h 383285"/>
                <a:gd name="connsiteX48" fmla="*/ 370522 w 811053"/>
                <a:gd name="connsiteY48" fmla="*/ 34766 h 383285"/>
                <a:gd name="connsiteX49" fmla="*/ 364046 w 811053"/>
                <a:gd name="connsiteY49" fmla="*/ 29813 h 383285"/>
                <a:gd name="connsiteX50" fmla="*/ 346996 w 811053"/>
                <a:gd name="connsiteY50" fmla="*/ 35909 h 383285"/>
                <a:gd name="connsiteX51" fmla="*/ 340042 w 811053"/>
                <a:gd name="connsiteY51" fmla="*/ 34480 h 383285"/>
                <a:gd name="connsiteX52" fmla="*/ 321469 w 811053"/>
                <a:gd name="connsiteY52" fmla="*/ 38386 h 383285"/>
                <a:gd name="connsiteX53" fmla="*/ 317563 w 811053"/>
                <a:gd name="connsiteY53" fmla="*/ 45910 h 383285"/>
                <a:gd name="connsiteX54" fmla="*/ 311658 w 811053"/>
                <a:gd name="connsiteY54" fmla="*/ 41243 h 383285"/>
                <a:gd name="connsiteX55" fmla="*/ 287941 w 811053"/>
                <a:gd name="connsiteY55" fmla="*/ 40576 h 383285"/>
                <a:gd name="connsiteX56" fmla="*/ 290227 w 811053"/>
                <a:gd name="connsiteY56" fmla="*/ 46672 h 383285"/>
                <a:gd name="connsiteX57" fmla="*/ 287655 w 811053"/>
                <a:gd name="connsiteY57" fmla="*/ 53435 h 383285"/>
                <a:gd name="connsiteX58" fmla="*/ 296418 w 811053"/>
                <a:gd name="connsiteY58" fmla="*/ 50578 h 383285"/>
                <a:gd name="connsiteX59" fmla="*/ 298228 w 811053"/>
                <a:gd name="connsiteY59" fmla="*/ 56007 h 383285"/>
                <a:gd name="connsiteX60" fmla="*/ 290798 w 811053"/>
                <a:gd name="connsiteY60" fmla="*/ 60674 h 383285"/>
                <a:gd name="connsiteX61" fmla="*/ 310610 w 811053"/>
                <a:gd name="connsiteY61" fmla="*/ 66008 h 383285"/>
                <a:gd name="connsiteX62" fmla="*/ 310134 w 811053"/>
                <a:gd name="connsiteY62" fmla="*/ 69628 h 383285"/>
                <a:gd name="connsiteX63" fmla="*/ 299656 w 811053"/>
                <a:gd name="connsiteY63" fmla="*/ 71818 h 383285"/>
                <a:gd name="connsiteX64" fmla="*/ 296227 w 811053"/>
                <a:gd name="connsiteY64" fmla="*/ 68866 h 383285"/>
                <a:gd name="connsiteX65" fmla="*/ 288226 w 811053"/>
                <a:gd name="connsiteY65" fmla="*/ 69913 h 383285"/>
                <a:gd name="connsiteX66" fmla="*/ 281750 w 811053"/>
                <a:gd name="connsiteY66" fmla="*/ 77819 h 383285"/>
                <a:gd name="connsiteX67" fmla="*/ 287941 w 811053"/>
                <a:gd name="connsiteY67" fmla="*/ 87916 h 383285"/>
                <a:gd name="connsiteX68" fmla="*/ 280702 w 811053"/>
                <a:gd name="connsiteY68" fmla="*/ 92202 h 383285"/>
                <a:gd name="connsiteX69" fmla="*/ 266319 w 811053"/>
                <a:gd name="connsiteY69" fmla="*/ 94679 h 383285"/>
                <a:gd name="connsiteX70" fmla="*/ 266795 w 811053"/>
                <a:gd name="connsiteY70" fmla="*/ 100393 h 383285"/>
                <a:gd name="connsiteX71" fmla="*/ 276320 w 811053"/>
                <a:gd name="connsiteY71" fmla="*/ 101536 h 383285"/>
                <a:gd name="connsiteX72" fmla="*/ 274510 w 811053"/>
                <a:gd name="connsiteY72" fmla="*/ 106489 h 383285"/>
                <a:gd name="connsiteX73" fmla="*/ 286131 w 811053"/>
                <a:gd name="connsiteY73" fmla="*/ 106204 h 383285"/>
                <a:gd name="connsiteX74" fmla="*/ 284607 w 811053"/>
                <a:gd name="connsiteY74" fmla="*/ 110490 h 383285"/>
                <a:gd name="connsiteX75" fmla="*/ 296227 w 811053"/>
                <a:gd name="connsiteY75" fmla="*/ 111538 h 383285"/>
                <a:gd name="connsiteX76" fmla="*/ 301657 w 811053"/>
                <a:gd name="connsiteY76" fmla="*/ 115157 h 383285"/>
                <a:gd name="connsiteX77" fmla="*/ 297466 w 811053"/>
                <a:gd name="connsiteY77" fmla="*/ 119443 h 383285"/>
                <a:gd name="connsiteX78" fmla="*/ 295465 w 811053"/>
                <a:gd name="connsiteY78" fmla="*/ 129826 h 383285"/>
                <a:gd name="connsiteX79" fmla="*/ 273748 w 811053"/>
                <a:gd name="connsiteY79" fmla="*/ 132683 h 383285"/>
                <a:gd name="connsiteX80" fmla="*/ 268319 w 811053"/>
                <a:gd name="connsiteY80" fmla="*/ 127635 h 383285"/>
                <a:gd name="connsiteX81" fmla="*/ 261938 w 811053"/>
                <a:gd name="connsiteY81" fmla="*/ 138113 h 383285"/>
                <a:gd name="connsiteX82" fmla="*/ 256699 w 811053"/>
                <a:gd name="connsiteY82" fmla="*/ 134493 h 383285"/>
                <a:gd name="connsiteX83" fmla="*/ 240506 w 811053"/>
                <a:gd name="connsiteY83" fmla="*/ 130207 h 383285"/>
                <a:gd name="connsiteX84" fmla="*/ 238696 w 811053"/>
                <a:gd name="connsiteY84" fmla="*/ 122301 h 383285"/>
                <a:gd name="connsiteX85" fmla="*/ 222980 w 811053"/>
                <a:gd name="connsiteY85" fmla="*/ 120491 h 383285"/>
                <a:gd name="connsiteX86" fmla="*/ 222694 w 811053"/>
                <a:gd name="connsiteY86" fmla="*/ 127349 h 383285"/>
                <a:gd name="connsiteX87" fmla="*/ 216217 w 811053"/>
                <a:gd name="connsiteY87" fmla="*/ 128778 h 383285"/>
                <a:gd name="connsiteX88" fmla="*/ 212122 w 811053"/>
                <a:gd name="connsiteY88" fmla="*/ 121253 h 383285"/>
                <a:gd name="connsiteX89" fmla="*/ 204597 w 811053"/>
                <a:gd name="connsiteY89" fmla="*/ 120491 h 383285"/>
                <a:gd name="connsiteX90" fmla="*/ 202597 w 811053"/>
                <a:gd name="connsiteY90" fmla="*/ 125158 h 383285"/>
                <a:gd name="connsiteX91" fmla="*/ 196596 w 811053"/>
                <a:gd name="connsiteY91" fmla="*/ 120205 h 383285"/>
                <a:gd name="connsiteX92" fmla="*/ 193548 w 811053"/>
                <a:gd name="connsiteY92" fmla="*/ 127635 h 383285"/>
                <a:gd name="connsiteX93" fmla="*/ 180594 w 811053"/>
                <a:gd name="connsiteY93" fmla="*/ 137731 h 383285"/>
                <a:gd name="connsiteX94" fmla="*/ 168497 w 811053"/>
                <a:gd name="connsiteY94" fmla="*/ 126206 h 383285"/>
                <a:gd name="connsiteX95" fmla="*/ 159448 w 811053"/>
                <a:gd name="connsiteY95" fmla="*/ 123349 h 383285"/>
                <a:gd name="connsiteX96" fmla="*/ 162306 w 811053"/>
                <a:gd name="connsiteY96" fmla="*/ 128778 h 383285"/>
                <a:gd name="connsiteX97" fmla="*/ 162592 w 811053"/>
                <a:gd name="connsiteY97" fmla="*/ 136969 h 383285"/>
                <a:gd name="connsiteX98" fmla="*/ 155067 w 811053"/>
                <a:gd name="connsiteY98" fmla="*/ 135541 h 383285"/>
                <a:gd name="connsiteX99" fmla="*/ 156400 w 811053"/>
                <a:gd name="connsiteY99" fmla="*/ 128397 h 383285"/>
                <a:gd name="connsiteX100" fmla="*/ 151733 w 811053"/>
                <a:gd name="connsiteY100" fmla="*/ 124492 h 383285"/>
                <a:gd name="connsiteX101" fmla="*/ 150209 w 811053"/>
                <a:gd name="connsiteY101" fmla="*/ 119825 h 383285"/>
                <a:gd name="connsiteX102" fmla="*/ 141446 w 811053"/>
                <a:gd name="connsiteY102" fmla="*/ 116967 h 383285"/>
                <a:gd name="connsiteX103" fmla="*/ 137255 w 811053"/>
                <a:gd name="connsiteY103" fmla="*/ 110490 h 383285"/>
                <a:gd name="connsiteX104" fmla="*/ 118967 w 811053"/>
                <a:gd name="connsiteY104" fmla="*/ 111157 h 383285"/>
                <a:gd name="connsiteX105" fmla="*/ 115633 w 811053"/>
                <a:gd name="connsiteY105" fmla="*/ 102584 h 383285"/>
                <a:gd name="connsiteX106" fmla="*/ 105346 w 811053"/>
                <a:gd name="connsiteY106" fmla="*/ 106204 h 383285"/>
                <a:gd name="connsiteX107" fmla="*/ 104775 w 811053"/>
                <a:gd name="connsiteY107" fmla="*/ 112300 h 383285"/>
                <a:gd name="connsiteX108" fmla="*/ 100393 w 811053"/>
                <a:gd name="connsiteY108" fmla="*/ 110109 h 383285"/>
                <a:gd name="connsiteX109" fmla="*/ 94488 w 811053"/>
                <a:gd name="connsiteY109" fmla="*/ 110871 h 383285"/>
                <a:gd name="connsiteX110" fmla="*/ 96488 w 811053"/>
                <a:gd name="connsiteY110" fmla="*/ 104775 h 383285"/>
                <a:gd name="connsiteX111" fmla="*/ 86487 w 811053"/>
                <a:gd name="connsiteY111" fmla="*/ 103251 h 383285"/>
                <a:gd name="connsiteX112" fmla="*/ 84677 w 811053"/>
                <a:gd name="connsiteY112" fmla="*/ 107918 h 383285"/>
                <a:gd name="connsiteX113" fmla="*/ 80010 w 811053"/>
                <a:gd name="connsiteY113" fmla="*/ 105823 h 383285"/>
                <a:gd name="connsiteX114" fmla="*/ 77152 w 811053"/>
                <a:gd name="connsiteY114" fmla="*/ 114014 h 383285"/>
                <a:gd name="connsiteX115" fmla="*/ 65056 w 811053"/>
                <a:gd name="connsiteY115" fmla="*/ 120491 h 383285"/>
                <a:gd name="connsiteX116" fmla="*/ 59150 w 811053"/>
                <a:gd name="connsiteY116" fmla="*/ 117634 h 383285"/>
                <a:gd name="connsiteX117" fmla="*/ 55817 w 811053"/>
                <a:gd name="connsiteY117" fmla="*/ 122968 h 383285"/>
                <a:gd name="connsiteX118" fmla="*/ 57340 w 811053"/>
                <a:gd name="connsiteY118" fmla="*/ 128016 h 383285"/>
                <a:gd name="connsiteX119" fmla="*/ 46482 w 811053"/>
                <a:gd name="connsiteY119" fmla="*/ 134874 h 383285"/>
                <a:gd name="connsiteX120" fmla="*/ 41053 w 811053"/>
                <a:gd name="connsiteY120" fmla="*/ 134493 h 383285"/>
                <a:gd name="connsiteX121" fmla="*/ 46768 w 811053"/>
                <a:gd name="connsiteY121" fmla="*/ 151733 h 383285"/>
                <a:gd name="connsiteX122" fmla="*/ 35909 w 811053"/>
                <a:gd name="connsiteY122" fmla="*/ 155543 h 383285"/>
                <a:gd name="connsiteX123" fmla="*/ 21717 w 811053"/>
                <a:gd name="connsiteY123" fmla="*/ 138779 h 383285"/>
                <a:gd name="connsiteX124" fmla="*/ 16002 w 811053"/>
                <a:gd name="connsiteY124" fmla="*/ 142780 h 383285"/>
                <a:gd name="connsiteX125" fmla="*/ 17335 w 811053"/>
                <a:gd name="connsiteY125" fmla="*/ 149542 h 383285"/>
                <a:gd name="connsiteX126" fmla="*/ 8287 w 811053"/>
                <a:gd name="connsiteY126" fmla="*/ 154972 h 383285"/>
                <a:gd name="connsiteX127" fmla="*/ 6191 w 811053"/>
                <a:gd name="connsiteY127" fmla="*/ 167640 h 383285"/>
                <a:gd name="connsiteX128" fmla="*/ 10858 w 811053"/>
                <a:gd name="connsiteY128" fmla="*/ 170879 h 383285"/>
                <a:gd name="connsiteX129" fmla="*/ 9620 w 811053"/>
                <a:gd name="connsiteY129" fmla="*/ 175641 h 383285"/>
                <a:gd name="connsiteX130" fmla="*/ 4953 w 811053"/>
                <a:gd name="connsiteY130" fmla="*/ 177832 h 383285"/>
                <a:gd name="connsiteX131" fmla="*/ 0 w 811053"/>
                <a:gd name="connsiteY131" fmla="*/ 190595 h 383285"/>
                <a:gd name="connsiteX132" fmla="*/ 12192 w 811053"/>
                <a:gd name="connsiteY132" fmla="*/ 196025 h 383285"/>
                <a:gd name="connsiteX133" fmla="*/ 11430 w 811053"/>
                <a:gd name="connsiteY133" fmla="*/ 204883 h 383285"/>
                <a:gd name="connsiteX134" fmla="*/ 17335 w 811053"/>
                <a:gd name="connsiteY134" fmla="*/ 209740 h 383285"/>
                <a:gd name="connsiteX135" fmla="*/ 17335 w 811053"/>
                <a:gd name="connsiteY135" fmla="*/ 203930 h 383285"/>
                <a:gd name="connsiteX136" fmla="*/ 23527 w 811053"/>
                <a:gd name="connsiteY136" fmla="*/ 206502 h 383285"/>
                <a:gd name="connsiteX137" fmla="*/ 30480 w 811053"/>
                <a:gd name="connsiteY137" fmla="*/ 205264 h 383285"/>
                <a:gd name="connsiteX138" fmla="*/ 40005 w 811053"/>
                <a:gd name="connsiteY138" fmla="*/ 214503 h 383285"/>
                <a:gd name="connsiteX139" fmla="*/ 43434 w 811053"/>
                <a:gd name="connsiteY139" fmla="*/ 221742 h 383285"/>
                <a:gd name="connsiteX140" fmla="*/ 50863 w 811053"/>
                <a:gd name="connsiteY140" fmla="*/ 229076 h 383285"/>
                <a:gd name="connsiteX141" fmla="*/ 47530 w 811053"/>
                <a:gd name="connsiteY141" fmla="*/ 232981 h 383285"/>
                <a:gd name="connsiteX142" fmla="*/ 41624 w 811053"/>
                <a:gd name="connsiteY142" fmla="*/ 229457 h 383285"/>
                <a:gd name="connsiteX143" fmla="*/ 38195 w 811053"/>
                <a:gd name="connsiteY143" fmla="*/ 235458 h 383285"/>
                <a:gd name="connsiteX144" fmla="*/ 51625 w 811053"/>
                <a:gd name="connsiteY144" fmla="*/ 239935 h 383285"/>
                <a:gd name="connsiteX145" fmla="*/ 52864 w 811053"/>
                <a:gd name="connsiteY145" fmla="*/ 238125 h 383285"/>
                <a:gd name="connsiteX146" fmla="*/ 62103 w 811053"/>
                <a:gd name="connsiteY146" fmla="*/ 239077 h 383285"/>
                <a:gd name="connsiteX147" fmla="*/ 93821 w 811053"/>
                <a:gd name="connsiteY147" fmla="*/ 223838 h 383285"/>
                <a:gd name="connsiteX148" fmla="*/ 125539 w 811053"/>
                <a:gd name="connsiteY148" fmla="*/ 230505 h 383285"/>
                <a:gd name="connsiteX149" fmla="*/ 120110 w 811053"/>
                <a:gd name="connsiteY149" fmla="*/ 260128 h 383285"/>
                <a:gd name="connsiteX150" fmla="*/ 95345 w 811053"/>
                <a:gd name="connsiteY150" fmla="*/ 262985 h 383285"/>
                <a:gd name="connsiteX151" fmla="*/ 86868 w 811053"/>
                <a:gd name="connsiteY151" fmla="*/ 271558 h 383285"/>
                <a:gd name="connsiteX152" fmla="*/ 95345 w 811053"/>
                <a:gd name="connsiteY152" fmla="*/ 284988 h 383285"/>
                <a:gd name="connsiteX153" fmla="*/ 72961 w 811053"/>
                <a:gd name="connsiteY153" fmla="*/ 282988 h 383285"/>
                <a:gd name="connsiteX154" fmla="*/ 88392 w 811053"/>
                <a:gd name="connsiteY154" fmla="*/ 301180 h 383285"/>
                <a:gd name="connsiteX155" fmla="*/ 93821 w 811053"/>
                <a:gd name="connsiteY155" fmla="*/ 316421 h 383285"/>
                <a:gd name="connsiteX156" fmla="*/ 106966 w 811053"/>
                <a:gd name="connsiteY156" fmla="*/ 325088 h 383285"/>
                <a:gd name="connsiteX157" fmla="*/ 124015 w 811053"/>
                <a:gd name="connsiteY157" fmla="*/ 328898 h 383285"/>
                <a:gd name="connsiteX158" fmla="*/ 116300 w 811053"/>
                <a:gd name="connsiteY158" fmla="*/ 344138 h 383285"/>
                <a:gd name="connsiteX159" fmla="*/ 118681 w 811053"/>
                <a:gd name="connsiteY159" fmla="*/ 350806 h 383285"/>
                <a:gd name="connsiteX160" fmla="*/ 126682 w 811053"/>
                <a:gd name="connsiteY160" fmla="*/ 340900 h 383285"/>
                <a:gd name="connsiteX161" fmla="*/ 148018 w 811053"/>
                <a:gd name="connsiteY161" fmla="*/ 336328 h 383285"/>
                <a:gd name="connsiteX162" fmla="*/ 167354 w 811053"/>
                <a:gd name="connsiteY162" fmla="*/ 345948 h 383285"/>
                <a:gd name="connsiteX163" fmla="*/ 168783 w 811053"/>
                <a:gd name="connsiteY163" fmla="*/ 353854 h 383285"/>
                <a:gd name="connsiteX164" fmla="*/ 178879 w 811053"/>
                <a:gd name="connsiteY164" fmla="*/ 367189 h 383285"/>
                <a:gd name="connsiteX165" fmla="*/ 187833 w 811053"/>
                <a:gd name="connsiteY165" fmla="*/ 363950 h 383285"/>
                <a:gd name="connsiteX166" fmla="*/ 187833 w 811053"/>
                <a:gd name="connsiteY166" fmla="*/ 301371 h 383285"/>
                <a:gd name="connsiteX167" fmla="*/ 187833 w 811053"/>
                <a:gd name="connsiteY167" fmla="*/ 274225 h 383285"/>
                <a:gd name="connsiteX168" fmla="*/ 203263 w 811053"/>
                <a:gd name="connsiteY168" fmla="*/ 270034 h 383285"/>
                <a:gd name="connsiteX169" fmla="*/ 234601 w 811053"/>
                <a:gd name="connsiteY169" fmla="*/ 261366 h 383285"/>
                <a:gd name="connsiteX170" fmla="*/ 242030 w 811053"/>
                <a:gd name="connsiteY170" fmla="*/ 247555 h 383285"/>
                <a:gd name="connsiteX171" fmla="*/ 254889 w 811053"/>
                <a:gd name="connsiteY171" fmla="*/ 251365 h 383285"/>
                <a:gd name="connsiteX172" fmla="*/ 254889 w 811053"/>
                <a:gd name="connsiteY172" fmla="*/ 238030 h 383285"/>
                <a:gd name="connsiteX173" fmla="*/ 280702 w 811053"/>
                <a:gd name="connsiteY173" fmla="*/ 246983 h 383285"/>
                <a:gd name="connsiteX174" fmla="*/ 265747 w 811053"/>
                <a:gd name="connsiteY174" fmla="*/ 258413 h 383285"/>
                <a:gd name="connsiteX175" fmla="*/ 276606 w 811053"/>
                <a:gd name="connsiteY175" fmla="*/ 281369 h 383285"/>
                <a:gd name="connsiteX176" fmla="*/ 287179 w 811053"/>
                <a:gd name="connsiteY176" fmla="*/ 288703 h 383285"/>
                <a:gd name="connsiteX177" fmla="*/ 287941 w 811053"/>
                <a:gd name="connsiteY177" fmla="*/ 292132 h 383285"/>
                <a:gd name="connsiteX178" fmla="*/ 303276 w 811053"/>
                <a:gd name="connsiteY178" fmla="*/ 307562 h 383285"/>
                <a:gd name="connsiteX179" fmla="*/ 306991 w 811053"/>
                <a:gd name="connsiteY179" fmla="*/ 311372 h 383285"/>
                <a:gd name="connsiteX180" fmla="*/ 330803 w 811053"/>
                <a:gd name="connsiteY180" fmla="*/ 307657 h 383285"/>
                <a:gd name="connsiteX181" fmla="*/ 354235 w 811053"/>
                <a:gd name="connsiteY181" fmla="*/ 309658 h 383285"/>
                <a:gd name="connsiteX182" fmla="*/ 364807 w 811053"/>
                <a:gd name="connsiteY182" fmla="*/ 305276 h 383285"/>
                <a:gd name="connsiteX183" fmla="*/ 371380 w 811053"/>
                <a:gd name="connsiteY183" fmla="*/ 312515 h 383285"/>
                <a:gd name="connsiteX184" fmla="*/ 376714 w 811053"/>
                <a:gd name="connsiteY184" fmla="*/ 315373 h 383285"/>
                <a:gd name="connsiteX185" fmla="*/ 382334 w 811053"/>
                <a:gd name="connsiteY185" fmla="*/ 326041 h 383285"/>
                <a:gd name="connsiteX186" fmla="*/ 388239 w 811053"/>
                <a:gd name="connsiteY186" fmla="*/ 323183 h 383285"/>
                <a:gd name="connsiteX187" fmla="*/ 386620 w 811053"/>
                <a:gd name="connsiteY187" fmla="*/ 347663 h 383285"/>
                <a:gd name="connsiteX188" fmla="*/ 396526 w 811053"/>
                <a:gd name="connsiteY188" fmla="*/ 347663 h 383285"/>
                <a:gd name="connsiteX189" fmla="*/ 400145 w 811053"/>
                <a:gd name="connsiteY189" fmla="*/ 367570 h 383285"/>
                <a:gd name="connsiteX190" fmla="*/ 424243 w 811053"/>
                <a:gd name="connsiteY190" fmla="*/ 367189 h 383285"/>
                <a:gd name="connsiteX191" fmla="*/ 428530 w 811053"/>
                <a:gd name="connsiteY191" fmla="*/ 370808 h 383285"/>
                <a:gd name="connsiteX192" fmla="*/ 425863 w 811053"/>
                <a:gd name="connsiteY192" fmla="*/ 376523 h 383285"/>
                <a:gd name="connsiteX193" fmla="*/ 438340 w 811053"/>
                <a:gd name="connsiteY193" fmla="*/ 383286 h 383285"/>
                <a:gd name="connsiteX194" fmla="*/ 437483 w 811053"/>
                <a:gd name="connsiteY194" fmla="*/ 374142 h 383285"/>
                <a:gd name="connsiteX195" fmla="*/ 445865 w 811053"/>
                <a:gd name="connsiteY195" fmla="*/ 367284 h 383285"/>
                <a:gd name="connsiteX196" fmla="*/ 445865 w 811053"/>
                <a:gd name="connsiteY196" fmla="*/ 362045 h 383285"/>
                <a:gd name="connsiteX197" fmla="*/ 464344 w 811053"/>
                <a:gd name="connsiteY197" fmla="*/ 353568 h 383285"/>
                <a:gd name="connsiteX198" fmla="*/ 472916 w 811053"/>
                <a:gd name="connsiteY198" fmla="*/ 342900 h 383285"/>
                <a:gd name="connsiteX199" fmla="*/ 477584 w 811053"/>
                <a:gd name="connsiteY199" fmla="*/ 345186 h 383285"/>
                <a:gd name="connsiteX200" fmla="*/ 480822 w 811053"/>
                <a:gd name="connsiteY200" fmla="*/ 341090 h 383285"/>
                <a:gd name="connsiteX201" fmla="*/ 482632 w 811053"/>
                <a:gd name="connsiteY201" fmla="*/ 340423 h 383285"/>
                <a:gd name="connsiteX202" fmla="*/ 482727 w 811053"/>
                <a:gd name="connsiteY202" fmla="*/ 340328 h 383285"/>
                <a:gd name="connsiteX203" fmla="*/ 486823 w 811053"/>
                <a:gd name="connsiteY203" fmla="*/ 330994 h 383285"/>
                <a:gd name="connsiteX204" fmla="*/ 493014 w 811053"/>
                <a:gd name="connsiteY204" fmla="*/ 326898 h 383285"/>
                <a:gd name="connsiteX205" fmla="*/ 496919 w 811053"/>
                <a:gd name="connsiteY205" fmla="*/ 328803 h 383285"/>
                <a:gd name="connsiteX206" fmla="*/ 503872 w 811053"/>
                <a:gd name="connsiteY206" fmla="*/ 326517 h 383285"/>
                <a:gd name="connsiteX207" fmla="*/ 521684 w 811053"/>
                <a:gd name="connsiteY207" fmla="*/ 333851 h 383285"/>
                <a:gd name="connsiteX208" fmla="*/ 529114 w 811053"/>
                <a:gd name="connsiteY208" fmla="*/ 334518 h 383285"/>
                <a:gd name="connsiteX209" fmla="*/ 535114 w 811053"/>
                <a:gd name="connsiteY209" fmla="*/ 338328 h 383285"/>
                <a:gd name="connsiteX210" fmla="*/ 533495 w 811053"/>
                <a:gd name="connsiteY210" fmla="*/ 330994 h 383285"/>
                <a:gd name="connsiteX211" fmla="*/ 536638 w 811053"/>
                <a:gd name="connsiteY211" fmla="*/ 321755 h 383285"/>
                <a:gd name="connsiteX212" fmla="*/ 548545 w 811053"/>
                <a:gd name="connsiteY212" fmla="*/ 316992 h 383285"/>
                <a:gd name="connsiteX213" fmla="*/ 564261 w 811053"/>
                <a:gd name="connsiteY213" fmla="*/ 325279 h 383285"/>
                <a:gd name="connsiteX214" fmla="*/ 577691 w 811053"/>
                <a:gd name="connsiteY214" fmla="*/ 327850 h 383285"/>
                <a:gd name="connsiteX215" fmla="*/ 579977 w 811053"/>
                <a:gd name="connsiteY215" fmla="*/ 323659 h 383285"/>
                <a:gd name="connsiteX216" fmla="*/ 604742 w 811053"/>
                <a:gd name="connsiteY216" fmla="*/ 323374 h 383285"/>
                <a:gd name="connsiteX217" fmla="*/ 611219 w 811053"/>
                <a:gd name="connsiteY217" fmla="*/ 326517 h 383285"/>
                <a:gd name="connsiteX218" fmla="*/ 618172 w 811053"/>
                <a:gd name="connsiteY218" fmla="*/ 325279 h 383285"/>
                <a:gd name="connsiteX219" fmla="*/ 633889 w 811053"/>
                <a:gd name="connsiteY219" fmla="*/ 325946 h 383285"/>
                <a:gd name="connsiteX220" fmla="*/ 642938 w 811053"/>
                <a:gd name="connsiteY220" fmla="*/ 329089 h 383285"/>
                <a:gd name="connsiteX221" fmla="*/ 647319 w 811053"/>
                <a:gd name="connsiteY221" fmla="*/ 327470 h 383285"/>
                <a:gd name="connsiteX222" fmla="*/ 651129 w 811053"/>
                <a:gd name="connsiteY222" fmla="*/ 335185 h 383285"/>
                <a:gd name="connsiteX223" fmla="*/ 661511 w 811053"/>
                <a:gd name="connsiteY223" fmla="*/ 337090 h 383285"/>
                <a:gd name="connsiteX224" fmla="*/ 668560 w 811053"/>
                <a:gd name="connsiteY224" fmla="*/ 343376 h 383285"/>
                <a:gd name="connsiteX225" fmla="*/ 666655 w 811053"/>
                <a:gd name="connsiteY225" fmla="*/ 329374 h 383285"/>
                <a:gd name="connsiteX226" fmla="*/ 674656 w 811053"/>
                <a:gd name="connsiteY226" fmla="*/ 325564 h 383285"/>
                <a:gd name="connsiteX227" fmla="*/ 669988 w 811053"/>
                <a:gd name="connsiteY227" fmla="*/ 321755 h 383285"/>
                <a:gd name="connsiteX228" fmla="*/ 678751 w 811053"/>
                <a:gd name="connsiteY228" fmla="*/ 319183 h 383285"/>
                <a:gd name="connsiteX229" fmla="*/ 677227 w 811053"/>
                <a:gd name="connsiteY229" fmla="*/ 310610 h 383285"/>
                <a:gd name="connsiteX230" fmla="*/ 670560 w 811053"/>
                <a:gd name="connsiteY230" fmla="*/ 295084 h 383285"/>
                <a:gd name="connsiteX231" fmla="*/ 672846 w 811053"/>
                <a:gd name="connsiteY231" fmla="*/ 280702 h 383285"/>
                <a:gd name="connsiteX232" fmla="*/ 663797 w 811053"/>
                <a:gd name="connsiteY232" fmla="*/ 280416 h 383285"/>
                <a:gd name="connsiteX233" fmla="*/ 659701 w 811053"/>
                <a:gd name="connsiteY233" fmla="*/ 275558 h 383285"/>
                <a:gd name="connsiteX234" fmla="*/ 698659 w 811053"/>
                <a:gd name="connsiteY234" fmla="*/ 263842 h 383285"/>
                <a:gd name="connsiteX235" fmla="*/ 699706 w 811053"/>
                <a:gd name="connsiteY235" fmla="*/ 270796 h 383285"/>
                <a:gd name="connsiteX236" fmla="*/ 708946 w 811053"/>
                <a:gd name="connsiteY236" fmla="*/ 268319 h 383285"/>
                <a:gd name="connsiteX237" fmla="*/ 713804 w 811053"/>
                <a:gd name="connsiteY237" fmla="*/ 271748 h 383285"/>
                <a:gd name="connsiteX238" fmla="*/ 716185 w 811053"/>
                <a:gd name="connsiteY238" fmla="*/ 263176 h 383285"/>
                <a:gd name="connsiteX239" fmla="*/ 708946 w 811053"/>
                <a:gd name="connsiteY239" fmla="*/ 260318 h 383285"/>
                <a:gd name="connsiteX240" fmla="*/ 724186 w 811053"/>
                <a:gd name="connsiteY240" fmla="*/ 219932 h 383285"/>
                <a:gd name="connsiteX241" fmla="*/ 737330 w 811053"/>
                <a:gd name="connsiteY241" fmla="*/ 225266 h 383285"/>
                <a:gd name="connsiteX242" fmla="*/ 757238 w 811053"/>
                <a:gd name="connsiteY242" fmla="*/ 224314 h 383285"/>
                <a:gd name="connsiteX243" fmla="*/ 756952 w 811053"/>
                <a:gd name="connsiteY243" fmla="*/ 230981 h 383285"/>
                <a:gd name="connsiteX244" fmla="*/ 766477 w 811053"/>
                <a:gd name="connsiteY244" fmla="*/ 224695 h 383285"/>
                <a:gd name="connsiteX245" fmla="*/ 772668 w 811053"/>
                <a:gd name="connsiteY245" fmla="*/ 223742 h 383285"/>
                <a:gd name="connsiteX246" fmla="*/ 776288 w 811053"/>
                <a:gd name="connsiteY246" fmla="*/ 216694 h 383285"/>
                <a:gd name="connsiteX247" fmla="*/ 772668 w 811053"/>
                <a:gd name="connsiteY247" fmla="*/ 201739 h 383285"/>
                <a:gd name="connsiteX248" fmla="*/ 777811 w 811053"/>
                <a:gd name="connsiteY248" fmla="*/ 190881 h 383285"/>
                <a:gd name="connsiteX249" fmla="*/ 793813 w 811053"/>
                <a:gd name="connsiteY249" fmla="*/ 188023 h 383285"/>
                <a:gd name="connsiteX250" fmla="*/ 798481 w 811053"/>
                <a:gd name="connsiteY250" fmla="*/ 181356 h 383285"/>
                <a:gd name="connsiteX251" fmla="*/ 796671 w 811053"/>
                <a:gd name="connsiteY251" fmla="*/ 177260 h 383285"/>
                <a:gd name="connsiteX252" fmla="*/ 799338 w 811053"/>
                <a:gd name="connsiteY252" fmla="*/ 174022 h 383285"/>
                <a:gd name="connsiteX253" fmla="*/ 811054 w 811053"/>
                <a:gd name="connsiteY253" fmla="*/ 174022 h 38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811053" h="383285">
                  <a:moveTo>
                    <a:pt x="811054" y="174022"/>
                  </a:moveTo>
                  <a:lnTo>
                    <a:pt x="796671" y="162877"/>
                  </a:lnTo>
                  <a:lnTo>
                    <a:pt x="799243" y="157829"/>
                  </a:lnTo>
                  <a:lnTo>
                    <a:pt x="793528" y="153352"/>
                  </a:lnTo>
                  <a:lnTo>
                    <a:pt x="784288" y="162877"/>
                  </a:lnTo>
                  <a:lnTo>
                    <a:pt x="767810" y="160972"/>
                  </a:lnTo>
                  <a:lnTo>
                    <a:pt x="762572" y="148209"/>
                  </a:lnTo>
                  <a:lnTo>
                    <a:pt x="748189" y="144875"/>
                  </a:lnTo>
                  <a:lnTo>
                    <a:pt x="741997" y="127635"/>
                  </a:lnTo>
                  <a:lnTo>
                    <a:pt x="725996" y="122682"/>
                  </a:lnTo>
                  <a:lnTo>
                    <a:pt x="714661" y="133445"/>
                  </a:lnTo>
                  <a:lnTo>
                    <a:pt x="697039" y="133445"/>
                  </a:lnTo>
                  <a:lnTo>
                    <a:pt x="693992" y="124111"/>
                  </a:lnTo>
                  <a:lnTo>
                    <a:pt x="686752" y="127635"/>
                  </a:lnTo>
                  <a:lnTo>
                    <a:pt x="688276" y="116967"/>
                  </a:lnTo>
                  <a:lnTo>
                    <a:pt x="673322" y="115443"/>
                  </a:lnTo>
                  <a:lnTo>
                    <a:pt x="672370" y="126206"/>
                  </a:lnTo>
                  <a:lnTo>
                    <a:pt x="665131" y="131254"/>
                  </a:lnTo>
                  <a:lnTo>
                    <a:pt x="620173" y="60960"/>
                  </a:lnTo>
                  <a:lnTo>
                    <a:pt x="596455" y="45244"/>
                  </a:lnTo>
                  <a:lnTo>
                    <a:pt x="591312" y="38767"/>
                  </a:lnTo>
                  <a:lnTo>
                    <a:pt x="599599" y="38767"/>
                  </a:lnTo>
                  <a:lnTo>
                    <a:pt x="602647" y="27242"/>
                  </a:lnTo>
                  <a:lnTo>
                    <a:pt x="588740" y="29432"/>
                  </a:lnTo>
                  <a:lnTo>
                    <a:pt x="554736" y="48768"/>
                  </a:lnTo>
                  <a:lnTo>
                    <a:pt x="552640" y="57436"/>
                  </a:lnTo>
                  <a:lnTo>
                    <a:pt x="543306" y="50959"/>
                  </a:lnTo>
                  <a:lnTo>
                    <a:pt x="534067" y="57436"/>
                  </a:lnTo>
                  <a:lnTo>
                    <a:pt x="529400" y="50197"/>
                  </a:lnTo>
                  <a:lnTo>
                    <a:pt x="539210" y="44482"/>
                  </a:lnTo>
                  <a:lnTo>
                    <a:pt x="539686" y="35909"/>
                  </a:lnTo>
                  <a:lnTo>
                    <a:pt x="528923" y="40196"/>
                  </a:lnTo>
                  <a:lnTo>
                    <a:pt x="520160" y="36576"/>
                  </a:lnTo>
                  <a:lnTo>
                    <a:pt x="514921" y="44482"/>
                  </a:lnTo>
                  <a:lnTo>
                    <a:pt x="508254" y="32290"/>
                  </a:lnTo>
                  <a:lnTo>
                    <a:pt x="490156" y="41624"/>
                  </a:lnTo>
                  <a:lnTo>
                    <a:pt x="483489" y="33718"/>
                  </a:lnTo>
                  <a:lnTo>
                    <a:pt x="489680" y="25146"/>
                  </a:lnTo>
                  <a:lnTo>
                    <a:pt x="480917" y="5048"/>
                  </a:lnTo>
                  <a:lnTo>
                    <a:pt x="467963" y="10096"/>
                  </a:lnTo>
                  <a:lnTo>
                    <a:pt x="456629" y="2857"/>
                  </a:lnTo>
                  <a:lnTo>
                    <a:pt x="449961" y="7239"/>
                  </a:lnTo>
                  <a:lnTo>
                    <a:pt x="443198" y="0"/>
                  </a:lnTo>
                  <a:lnTo>
                    <a:pt x="429863" y="7239"/>
                  </a:lnTo>
                  <a:lnTo>
                    <a:pt x="431863" y="16478"/>
                  </a:lnTo>
                  <a:lnTo>
                    <a:pt x="421100" y="15811"/>
                  </a:lnTo>
                  <a:lnTo>
                    <a:pt x="385953" y="24384"/>
                  </a:lnTo>
                  <a:lnTo>
                    <a:pt x="371284" y="26194"/>
                  </a:lnTo>
                  <a:lnTo>
                    <a:pt x="370522" y="34766"/>
                  </a:lnTo>
                  <a:lnTo>
                    <a:pt x="364046" y="29813"/>
                  </a:lnTo>
                  <a:lnTo>
                    <a:pt x="346996" y="35909"/>
                  </a:lnTo>
                  <a:lnTo>
                    <a:pt x="340042" y="34480"/>
                  </a:lnTo>
                  <a:lnTo>
                    <a:pt x="321469" y="38386"/>
                  </a:lnTo>
                  <a:lnTo>
                    <a:pt x="317563" y="45910"/>
                  </a:lnTo>
                  <a:lnTo>
                    <a:pt x="311658" y="41243"/>
                  </a:lnTo>
                  <a:lnTo>
                    <a:pt x="287941" y="40576"/>
                  </a:lnTo>
                  <a:lnTo>
                    <a:pt x="290227" y="46672"/>
                  </a:lnTo>
                  <a:lnTo>
                    <a:pt x="287655" y="53435"/>
                  </a:lnTo>
                  <a:lnTo>
                    <a:pt x="296418" y="50578"/>
                  </a:lnTo>
                  <a:lnTo>
                    <a:pt x="298228" y="56007"/>
                  </a:lnTo>
                  <a:lnTo>
                    <a:pt x="290798" y="60674"/>
                  </a:lnTo>
                  <a:lnTo>
                    <a:pt x="310610" y="66008"/>
                  </a:lnTo>
                  <a:lnTo>
                    <a:pt x="310134" y="69628"/>
                  </a:lnTo>
                  <a:lnTo>
                    <a:pt x="299656" y="71818"/>
                  </a:lnTo>
                  <a:lnTo>
                    <a:pt x="296227" y="68866"/>
                  </a:lnTo>
                  <a:lnTo>
                    <a:pt x="288226" y="69913"/>
                  </a:lnTo>
                  <a:lnTo>
                    <a:pt x="281750" y="77819"/>
                  </a:lnTo>
                  <a:lnTo>
                    <a:pt x="287941" y="87916"/>
                  </a:lnTo>
                  <a:lnTo>
                    <a:pt x="280702" y="92202"/>
                  </a:lnTo>
                  <a:lnTo>
                    <a:pt x="266319" y="94679"/>
                  </a:lnTo>
                  <a:lnTo>
                    <a:pt x="266795" y="100393"/>
                  </a:lnTo>
                  <a:lnTo>
                    <a:pt x="276320" y="101536"/>
                  </a:lnTo>
                  <a:lnTo>
                    <a:pt x="274510" y="106489"/>
                  </a:lnTo>
                  <a:lnTo>
                    <a:pt x="286131" y="106204"/>
                  </a:lnTo>
                  <a:lnTo>
                    <a:pt x="284607" y="110490"/>
                  </a:lnTo>
                  <a:lnTo>
                    <a:pt x="296227" y="111538"/>
                  </a:lnTo>
                  <a:lnTo>
                    <a:pt x="301657" y="115157"/>
                  </a:lnTo>
                  <a:lnTo>
                    <a:pt x="297466" y="119443"/>
                  </a:lnTo>
                  <a:lnTo>
                    <a:pt x="295465" y="129826"/>
                  </a:lnTo>
                  <a:lnTo>
                    <a:pt x="273748" y="132683"/>
                  </a:lnTo>
                  <a:lnTo>
                    <a:pt x="268319" y="127635"/>
                  </a:lnTo>
                  <a:lnTo>
                    <a:pt x="261938" y="138113"/>
                  </a:lnTo>
                  <a:lnTo>
                    <a:pt x="256699" y="134493"/>
                  </a:lnTo>
                  <a:lnTo>
                    <a:pt x="240506" y="130207"/>
                  </a:lnTo>
                  <a:lnTo>
                    <a:pt x="238696" y="122301"/>
                  </a:lnTo>
                  <a:lnTo>
                    <a:pt x="222980" y="120491"/>
                  </a:lnTo>
                  <a:lnTo>
                    <a:pt x="222694" y="127349"/>
                  </a:lnTo>
                  <a:lnTo>
                    <a:pt x="216217" y="128778"/>
                  </a:lnTo>
                  <a:lnTo>
                    <a:pt x="212122" y="121253"/>
                  </a:lnTo>
                  <a:lnTo>
                    <a:pt x="204597" y="120491"/>
                  </a:lnTo>
                  <a:lnTo>
                    <a:pt x="202597" y="125158"/>
                  </a:lnTo>
                  <a:lnTo>
                    <a:pt x="196596" y="120205"/>
                  </a:lnTo>
                  <a:lnTo>
                    <a:pt x="193548" y="127635"/>
                  </a:lnTo>
                  <a:lnTo>
                    <a:pt x="180594" y="137731"/>
                  </a:lnTo>
                  <a:lnTo>
                    <a:pt x="168497" y="126206"/>
                  </a:lnTo>
                  <a:lnTo>
                    <a:pt x="159448" y="123349"/>
                  </a:lnTo>
                  <a:lnTo>
                    <a:pt x="162306" y="128778"/>
                  </a:lnTo>
                  <a:lnTo>
                    <a:pt x="162592" y="136969"/>
                  </a:lnTo>
                  <a:lnTo>
                    <a:pt x="155067" y="135541"/>
                  </a:lnTo>
                  <a:lnTo>
                    <a:pt x="156400" y="128397"/>
                  </a:lnTo>
                  <a:lnTo>
                    <a:pt x="151733" y="124492"/>
                  </a:lnTo>
                  <a:lnTo>
                    <a:pt x="150209" y="119825"/>
                  </a:lnTo>
                  <a:lnTo>
                    <a:pt x="141446" y="116967"/>
                  </a:lnTo>
                  <a:lnTo>
                    <a:pt x="137255" y="110490"/>
                  </a:lnTo>
                  <a:lnTo>
                    <a:pt x="118967" y="111157"/>
                  </a:lnTo>
                  <a:lnTo>
                    <a:pt x="115633" y="102584"/>
                  </a:lnTo>
                  <a:lnTo>
                    <a:pt x="105346" y="106204"/>
                  </a:lnTo>
                  <a:lnTo>
                    <a:pt x="104775" y="112300"/>
                  </a:lnTo>
                  <a:lnTo>
                    <a:pt x="100393" y="110109"/>
                  </a:lnTo>
                  <a:lnTo>
                    <a:pt x="94488" y="110871"/>
                  </a:lnTo>
                  <a:lnTo>
                    <a:pt x="96488" y="104775"/>
                  </a:lnTo>
                  <a:lnTo>
                    <a:pt x="86487" y="103251"/>
                  </a:lnTo>
                  <a:lnTo>
                    <a:pt x="84677" y="107918"/>
                  </a:lnTo>
                  <a:lnTo>
                    <a:pt x="80010" y="105823"/>
                  </a:lnTo>
                  <a:lnTo>
                    <a:pt x="77152" y="114014"/>
                  </a:lnTo>
                  <a:lnTo>
                    <a:pt x="65056" y="120491"/>
                  </a:lnTo>
                  <a:lnTo>
                    <a:pt x="59150" y="117634"/>
                  </a:lnTo>
                  <a:lnTo>
                    <a:pt x="55817" y="122968"/>
                  </a:lnTo>
                  <a:lnTo>
                    <a:pt x="57340" y="128016"/>
                  </a:lnTo>
                  <a:lnTo>
                    <a:pt x="46482" y="134874"/>
                  </a:lnTo>
                  <a:lnTo>
                    <a:pt x="41053" y="134493"/>
                  </a:lnTo>
                  <a:lnTo>
                    <a:pt x="46768" y="151733"/>
                  </a:lnTo>
                  <a:lnTo>
                    <a:pt x="35909" y="155543"/>
                  </a:lnTo>
                  <a:lnTo>
                    <a:pt x="21717" y="138779"/>
                  </a:lnTo>
                  <a:lnTo>
                    <a:pt x="16002" y="142780"/>
                  </a:lnTo>
                  <a:lnTo>
                    <a:pt x="17335" y="149542"/>
                  </a:lnTo>
                  <a:lnTo>
                    <a:pt x="8287" y="154972"/>
                  </a:lnTo>
                  <a:lnTo>
                    <a:pt x="6191" y="167640"/>
                  </a:lnTo>
                  <a:lnTo>
                    <a:pt x="10858" y="170879"/>
                  </a:lnTo>
                  <a:lnTo>
                    <a:pt x="9620" y="175641"/>
                  </a:lnTo>
                  <a:lnTo>
                    <a:pt x="4953" y="177832"/>
                  </a:lnTo>
                  <a:lnTo>
                    <a:pt x="0" y="190595"/>
                  </a:lnTo>
                  <a:lnTo>
                    <a:pt x="12192" y="196025"/>
                  </a:lnTo>
                  <a:lnTo>
                    <a:pt x="11430" y="204883"/>
                  </a:lnTo>
                  <a:lnTo>
                    <a:pt x="17335" y="209740"/>
                  </a:lnTo>
                  <a:lnTo>
                    <a:pt x="17335" y="203930"/>
                  </a:lnTo>
                  <a:lnTo>
                    <a:pt x="23527" y="206502"/>
                  </a:lnTo>
                  <a:lnTo>
                    <a:pt x="30480" y="205264"/>
                  </a:lnTo>
                  <a:lnTo>
                    <a:pt x="40005" y="214503"/>
                  </a:lnTo>
                  <a:lnTo>
                    <a:pt x="43434" y="221742"/>
                  </a:lnTo>
                  <a:lnTo>
                    <a:pt x="50863" y="229076"/>
                  </a:lnTo>
                  <a:lnTo>
                    <a:pt x="47530" y="232981"/>
                  </a:lnTo>
                  <a:lnTo>
                    <a:pt x="41624" y="229457"/>
                  </a:lnTo>
                  <a:lnTo>
                    <a:pt x="38195" y="235458"/>
                  </a:lnTo>
                  <a:lnTo>
                    <a:pt x="51625" y="239935"/>
                  </a:lnTo>
                  <a:lnTo>
                    <a:pt x="52864" y="238125"/>
                  </a:lnTo>
                  <a:lnTo>
                    <a:pt x="62103" y="239077"/>
                  </a:lnTo>
                  <a:lnTo>
                    <a:pt x="93821" y="223838"/>
                  </a:lnTo>
                  <a:lnTo>
                    <a:pt x="125539" y="230505"/>
                  </a:lnTo>
                  <a:lnTo>
                    <a:pt x="120110" y="260128"/>
                  </a:lnTo>
                  <a:lnTo>
                    <a:pt x="95345" y="262985"/>
                  </a:lnTo>
                  <a:lnTo>
                    <a:pt x="86868" y="271558"/>
                  </a:lnTo>
                  <a:lnTo>
                    <a:pt x="95345" y="284988"/>
                  </a:lnTo>
                  <a:lnTo>
                    <a:pt x="72961" y="282988"/>
                  </a:lnTo>
                  <a:lnTo>
                    <a:pt x="88392" y="301180"/>
                  </a:lnTo>
                  <a:lnTo>
                    <a:pt x="93821" y="316421"/>
                  </a:lnTo>
                  <a:lnTo>
                    <a:pt x="106966" y="325088"/>
                  </a:lnTo>
                  <a:lnTo>
                    <a:pt x="124015" y="328898"/>
                  </a:lnTo>
                  <a:lnTo>
                    <a:pt x="116300" y="344138"/>
                  </a:lnTo>
                  <a:lnTo>
                    <a:pt x="118681" y="350806"/>
                  </a:lnTo>
                  <a:lnTo>
                    <a:pt x="126682" y="340900"/>
                  </a:lnTo>
                  <a:lnTo>
                    <a:pt x="148018" y="336328"/>
                  </a:lnTo>
                  <a:lnTo>
                    <a:pt x="167354" y="345948"/>
                  </a:lnTo>
                  <a:lnTo>
                    <a:pt x="168783" y="353854"/>
                  </a:lnTo>
                  <a:lnTo>
                    <a:pt x="178879" y="367189"/>
                  </a:lnTo>
                  <a:lnTo>
                    <a:pt x="187833" y="363950"/>
                  </a:lnTo>
                  <a:lnTo>
                    <a:pt x="187833" y="301371"/>
                  </a:lnTo>
                  <a:lnTo>
                    <a:pt x="187833" y="274225"/>
                  </a:lnTo>
                  <a:lnTo>
                    <a:pt x="203263" y="270034"/>
                  </a:lnTo>
                  <a:lnTo>
                    <a:pt x="234601" y="261366"/>
                  </a:lnTo>
                  <a:lnTo>
                    <a:pt x="242030" y="247555"/>
                  </a:lnTo>
                  <a:lnTo>
                    <a:pt x="254889" y="251365"/>
                  </a:lnTo>
                  <a:lnTo>
                    <a:pt x="254889" y="238030"/>
                  </a:lnTo>
                  <a:lnTo>
                    <a:pt x="280702" y="246983"/>
                  </a:lnTo>
                  <a:lnTo>
                    <a:pt x="265747" y="258413"/>
                  </a:lnTo>
                  <a:lnTo>
                    <a:pt x="276606" y="281369"/>
                  </a:lnTo>
                  <a:lnTo>
                    <a:pt x="287179" y="288703"/>
                  </a:lnTo>
                  <a:lnTo>
                    <a:pt x="287941" y="292132"/>
                  </a:lnTo>
                  <a:lnTo>
                    <a:pt x="303276" y="307562"/>
                  </a:lnTo>
                  <a:lnTo>
                    <a:pt x="306991" y="311372"/>
                  </a:lnTo>
                  <a:lnTo>
                    <a:pt x="330803" y="307657"/>
                  </a:lnTo>
                  <a:lnTo>
                    <a:pt x="354235" y="309658"/>
                  </a:lnTo>
                  <a:lnTo>
                    <a:pt x="364807" y="305276"/>
                  </a:lnTo>
                  <a:lnTo>
                    <a:pt x="371380" y="312515"/>
                  </a:lnTo>
                  <a:lnTo>
                    <a:pt x="376714" y="315373"/>
                  </a:lnTo>
                  <a:lnTo>
                    <a:pt x="382334" y="326041"/>
                  </a:lnTo>
                  <a:lnTo>
                    <a:pt x="388239" y="323183"/>
                  </a:lnTo>
                  <a:lnTo>
                    <a:pt x="386620" y="347663"/>
                  </a:lnTo>
                  <a:lnTo>
                    <a:pt x="396526" y="347663"/>
                  </a:lnTo>
                  <a:lnTo>
                    <a:pt x="400145" y="367570"/>
                  </a:lnTo>
                  <a:lnTo>
                    <a:pt x="424243" y="367189"/>
                  </a:lnTo>
                  <a:lnTo>
                    <a:pt x="428530" y="370808"/>
                  </a:lnTo>
                  <a:lnTo>
                    <a:pt x="425863" y="376523"/>
                  </a:lnTo>
                  <a:lnTo>
                    <a:pt x="438340" y="383286"/>
                  </a:lnTo>
                  <a:lnTo>
                    <a:pt x="437483" y="374142"/>
                  </a:lnTo>
                  <a:lnTo>
                    <a:pt x="445865" y="367284"/>
                  </a:lnTo>
                  <a:lnTo>
                    <a:pt x="445865" y="362045"/>
                  </a:lnTo>
                  <a:lnTo>
                    <a:pt x="464344" y="353568"/>
                  </a:lnTo>
                  <a:lnTo>
                    <a:pt x="472916" y="342900"/>
                  </a:lnTo>
                  <a:lnTo>
                    <a:pt x="477584" y="345186"/>
                  </a:lnTo>
                  <a:lnTo>
                    <a:pt x="480822" y="341090"/>
                  </a:lnTo>
                  <a:lnTo>
                    <a:pt x="482632" y="340423"/>
                  </a:lnTo>
                  <a:lnTo>
                    <a:pt x="482727" y="340328"/>
                  </a:lnTo>
                  <a:lnTo>
                    <a:pt x="486823" y="330994"/>
                  </a:lnTo>
                  <a:lnTo>
                    <a:pt x="493014" y="326898"/>
                  </a:lnTo>
                  <a:lnTo>
                    <a:pt x="496919" y="328803"/>
                  </a:lnTo>
                  <a:lnTo>
                    <a:pt x="503872" y="326517"/>
                  </a:lnTo>
                  <a:lnTo>
                    <a:pt x="521684" y="333851"/>
                  </a:lnTo>
                  <a:lnTo>
                    <a:pt x="529114" y="334518"/>
                  </a:lnTo>
                  <a:lnTo>
                    <a:pt x="535114" y="338328"/>
                  </a:lnTo>
                  <a:lnTo>
                    <a:pt x="533495" y="330994"/>
                  </a:lnTo>
                  <a:lnTo>
                    <a:pt x="536638" y="321755"/>
                  </a:lnTo>
                  <a:lnTo>
                    <a:pt x="548545" y="316992"/>
                  </a:lnTo>
                  <a:lnTo>
                    <a:pt x="564261" y="325279"/>
                  </a:lnTo>
                  <a:lnTo>
                    <a:pt x="577691" y="327850"/>
                  </a:lnTo>
                  <a:lnTo>
                    <a:pt x="579977" y="323659"/>
                  </a:lnTo>
                  <a:lnTo>
                    <a:pt x="604742" y="323374"/>
                  </a:lnTo>
                  <a:lnTo>
                    <a:pt x="611219" y="326517"/>
                  </a:lnTo>
                  <a:lnTo>
                    <a:pt x="618172" y="325279"/>
                  </a:lnTo>
                  <a:lnTo>
                    <a:pt x="633889" y="325946"/>
                  </a:lnTo>
                  <a:lnTo>
                    <a:pt x="642938" y="329089"/>
                  </a:lnTo>
                  <a:lnTo>
                    <a:pt x="647319" y="327470"/>
                  </a:lnTo>
                  <a:lnTo>
                    <a:pt x="651129" y="335185"/>
                  </a:lnTo>
                  <a:lnTo>
                    <a:pt x="661511" y="337090"/>
                  </a:lnTo>
                  <a:lnTo>
                    <a:pt x="668560" y="343376"/>
                  </a:lnTo>
                  <a:lnTo>
                    <a:pt x="666655" y="329374"/>
                  </a:lnTo>
                  <a:lnTo>
                    <a:pt x="674656" y="325564"/>
                  </a:lnTo>
                  <a:lnTo>
                    <a:pt x="669988" y="321755"/>
                  </a:lnTo>
                  <a:lnTo>
                    <a:pt x="678751" y="319183"/>
                  </a:lnTo>
                  <a:lnTo>
                    <a:pt x="677227" y="310610"/>
                  </a:lnTo>
                  <a:lnTo>
                    <a:pt x="670560" y="295084"/>
                  </a:lnTo>
                  <a:lnTo>
                    <a:pt x="672846" y="280702"/>
                  </a:lnTo>
                  <a:lnTo>
                    <a:pt x="663797" y="280416"/>
                  </a:lnTo>
                  <a:lnTo>
                    <a:pt x="659701" y="275558"/>
                  </a:lnTo>
                  <a:lnTo>
                    <a:pt x="698659" y="263842"/>
                  </a:lnTo>
                  <a:lnTo>
                    <a:pt x="699706" y="270796"/>
                  </a:lnTo>
                  <a:lnTo>
                    <a:pt x="708946" y="268319"/>
                  </a:lnTo>
                  <a:lnTo>
                    <a:pt x="713804" y="271748"/>
                  </a:lnTo>
                  <a:lnTo>
                    <a:pt x="716185" y="263176"/>
                  </a:lnTo>
                  <a:lnTo>
                    <a:pt x="708946" y="260318"/>
                  </a:lnTo>
                  <a:lnTo>
                    <a:pt x="724186" y="219932"/>
                  </a:lnTo>
                  <a:lnTo>
                    <a:pt x="737330" y="225266"/>
                  </a:lnTo>
                  <a:lnTo>
                    <a:pt x="757238" y="224314"/>
                  </a:lnTo>
                  <a:lnTo>
                    <a:pt x="756952" y="230981"/>
                  </a:lnTo>
                  <a:lnTo>
                    <a:pt x="766477" y="224695"/>
                  </a:lnTo>
                  <a:lnTo>
                    <a:pt x="772668" y="223742"/>
                  </a:lnTo>
                  <a:lnTo>
                    <a:pt x="776288" y="216694"/>
                  </a:lnTo>
                  <a:lnTo>
                    <a:pt x="772668" y="201739"/>
                  </a:lnTo>
                  <a:lnTo>
                    <a:pt x="777811" y="190881"/>
                  </a:lnTo>
                  <a:lnTo>
                    <a:pt x="793813" y="188023"/>
                  </a:lnTo>
                  <a:lnTo>
                    <a:pt x="798481" y="181356"/>
                  </a:lnTo>
                  <a:lnTo>
                    <a:pt x="796671" y="177260"/>
                  </a:lnTo>
                  <a:lnTo>
                    <a:pt x="799338" y="174022"/>
                  </a:lnTo>
                  <a:lnTo>
                    <a:pt x="811054" y="17402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1" name="Freeform: Shape 2701">
              <a:extLst>
                <a:ext uri="{FF2B5EF4-FFF2-40B4-BE49-F238E27FC236}">
                  <a16:creationId xmlns:a16="http://schemas.microsoft.com/office/drawing/2014/main" id="{B2600039-B9C5-F9A7-033F-257984D1772B}"/>
                </a:ext>
              </a:extLst>
            </p:cNvPr>
            <p:cNvSpPr/>
            <p:nvPr/>
          </p:nvSpPr>
          <p:spPr>
            <a:xfrm>
              <a:off x="2437828" y="3924331"/>
              <a:ext cx="86296" cy="91535"/>
            </a:xfrm>
            <a:custGeom>
              <a:avLst/>
              <a:gdLst>
                <a:gd name="connsiteX0" fmla="*/ 86296 w 86296"/>
                <a:gd name="connsiteY0" fmla="*/ 22479 h 91535"/>
                <a:gd name="connsiteX1" fmla="*/ 77629 w 86296"/>
                <a:gd name="connsiteY1" fmla="*/ 20574 h 91535"/>
                <a:gd name="connsiteX2" fmla="*/ 80391 w 86296"/>
                <a:gd name="connsiteY2" fmla="*/ 17240 h 91535"/>
                <a:gd name="connsiteX3" fmla="*/ 75343 w 86296"/>
                <a:gd name="connsiteY3" fmla="*/ 0 h 91535"/>
                <a:gd name="connsiteX4" fmla="*/ 36100 w 86296"/>
                <a:gd name="connsiteY4" fmla="*/ 22479 h 91535"/>
                <a:gd name="connsiteX5" fmla="*/ 28194 w 86296"/>
                <a:gd name="connsiteY5" fmla="*/ 21717 h 91535"/>
                <a:gd name="connsiteX6" fmla="*/ 24955 w 86296"/>
                <a:gd name="connsiteY6" fmla="*/ 18002 h 91535"/>
                <a:gd name="connsiteX7" fmla="*/ 21241 w 86296"/>
                <a:gd name="connsiteY7" fmla="*/ 17621 h 91535"/>
                <a:gd name="connsiteX8" fmla="*/ 15621 w 86296"/>
                <a:gd name="connsiteY8" fmla="*/ 12668 h 91535"/>
                <a:gd name="connsiteX9" fmla="*/ 12668 w 86296"/>
                <a:gd name="connsiteY9" fmla="*/ 14192 h 91535"/>
                <a:gd name="connsiteX10" fmla="*/ 11049 w 86296"/>
                <a:gd name="connsiteY10" fmla="*/ 14954 h 91535"/>
                <a:gd name="connsiteX11" fmla="*/ 11049 w 86296"/>
                <a:gd name="connsiteY11" fmla="*/ 20193 h 91535"/>
                <a:gd name="connsiteX12" fmla="*/ 11049 w 86296"/>
                <a:gd name="connsiteY12" fmla="*/ 38862 h 91535"/>
                <a:gd name="connsiteX13" fmla="*/ 7715 w 86296"/>
                <a:gd name="connsiteY13" fmla="*/ 46006 h 91535"/>
                <a:gd name="connsiteX14" fmla="*/ 10096 w 86296"/>
                <a:gd name="connsiteY14" fmla="*/ 49625 h 91535"/>
                <a:gd name="connsiteX15" fmla="*/ 2762 w 86296"/>
                <a:gd name="connsiteY15" fmla="*/ 65056 h 91535"/>
                <a:gd name="connsiteX16" fmla="*/ 3905 w 86296"/>
                <a:gd name="connsiteY16" fmla="*/ 72104 h 91535"/>
                <a:gd name="connsiteX17" fmla="*/ 0 w 86296"/>
                <a:gd name="connsiteY17" fmla="*/ 80867 h 91535"/>
                <a:gd name="connsiteX18" fmla="*/ 1429 w 86296"/>
                <a:gd name="connsiteY18" fmla="*/ 88202 h 91535"/>
                <a:gd name="connsiteX19" fmla="*/ 1429 w 86296"/>
                <a:gd name="connsiteY19" fmla="*/ 88202 h 91535"/>
                <a:gd name="connsiteX20" fmla="*/ 20955 w 86296"/>
                <a:gd name="connsiteY20" fmla="*/ 91535 h 91535"/>
                <a:gd name="connsiteX21" fmla="*/ 33909 w 86296"/>
                <a:gd name="connsiteY21" fmla="*/ 76581 h 91535"/>
                <a:gd name="connsiteX22" fmla="*/ 49625 w 86296"/>
                <a:gd name="connsiteY22" fmla="*/ 74009 h 91535"/>
                <a:gd name="connsiteX23" fmla="*/ 52578 w 86296"/>
                <a:gd name="connsiteY23" fmla="*/ 66866 h 91535"/>
                <a:gd name="connsiteX24" fmla="*/ 59246 w 86296"/>
                <a:gd name="connsiteY24" fmla="*/ 63151 h 91535"/>
                <a:gd name="connsiteX25" fmla="*/ 40291 w 86296"/>
                <a:gd name="connsiteY25" fmla="*/ 40481 h 91535"/>
                <a:gd name="connsiteX26" fmla="*/ 79058 w 86296"/>
                <a:gd name="connsiteY26" fmla="*/ 29528 h 91535"/>
                <a:gd name="connsiteX27" fmla="*/ 86296 w 86296"/>
                <a:gd name="connsiteY27" fmla="*/ 22479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296" h="91535">
                  <a:moveTo>
                    <a:pt x="86296" y="22479"/>
                  </a:moveTo>
                  <a:lnTo>
                    <a:pt x="77629" y="20574"/>
                  </a:lnTo>
                  <a:lnTo>
                    <a:pt x="80391" y="17240"/>
                  </a:lnTo>
                  <a:lnTo>
                    <a:pt x="75343" y="0"/>
                  </a:lnTo>
                  <a:lnTo>
                    <a:pt x="36100" y="22479"/>
                  </a:lnTo>
                  <a:lnTo>
                    <a:pt x="28194" y="21717"/>
                  </a:lnTo>
                  <a:lnTo>
                    <a:pt x="24955" y="18002"/>
                  </a:lnTo>
                  <a:lnTo>
                    <a:pt x="21241" y="17621"/>
                  </a:lnTo>
                  <a:lnTo>
                    <a:pt x="15621" y="12668"/>
                  </a:lnTo>
                  <a:lnTo>
                    <a:pt x="12668" y="14192"/>
                  </a:lnTo>
                  <a:lnTo>
                    <a:pt x="11049" y="14954"/>
                  </a:lnTo>
                  <a:lnTo>
                    <a:pt x="11049" y="20193"/>
                  </a:lnTo>
                  <a:lnTo>
                    <a:pt x="11049" y="38862"/>
                  </a:lnTo>
                  <a:lnTo>
                    <a:pt x="7715" y="46006"/>
                  </a:lnTo>
                  <a:lnTo>
                    <a:pt x="10096" y="49625"/>
                  </a:lnTo>
                  <a:lnTo>
                    <a:pt x="2762" y="65056"/>
                  </a:lnTo>
                  <a:lnTo>
                    <a:pt x="3905" y="72104"/>
                  </a:lnTo>
                  <a:lnTo>
                    <a:pt x="0" y="80867"/>
                  </a:lnTo>
                  <a:lnTo>
                    <a:pt x="1429" y="88202"/>
                  </a:lnTo>
                  <a:lnTo>
                    <a:pt x="1429" y="88202"/>
                  </a:lnTo>
                  <a:lnTo>
                    <a:pt x="20955" y="91535"/>
                  </a:lnTo>
                  <a:lnTo>
                    <a:pt x="33909" y="76581"/>
                  </a:lnTo>
                  <a:lnTo>
                    <a:pt x="49625" y="74009"/>
                  </a:lnTo>
                  <a:lnTo>
                    <a:pt x="52578" y="66866"/>
                  </a:lnTo>
                  <a:lnTo>
                    <a:pt x="59246" y="63151"/>
                  </a:lnTo>
                  <a:lnTo>
                    <a:pt x="40291" y="40481"/>
                  </a:lnTo>
                  <a:lnTo>
                    <a:pt x="79058" y="29528"/>
                  </a:lnTo>
                  <a:lnTo>
                    <a:pt x="86296" y="2247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2" name="Freeform: Shape 2702">
              <a:extLst>
                <a:ext uri="{FF2B5EF4-FFF2-40B4-BE49-F238E27FC236}">
                  <a16:creationId xmlns:a16="http://schemas.microsoft.com/office/drawing/2014/main" id="{94B70C2C-A35F-C065-1920-A9319256E364}"/>
                </a:ext>
              </a:extLst>
            </p:cNvPr>
            <p:cNvSpPr/>
            <p:nvPr/>
          </p:nvSpPr>
          <p:spPr>
            <a:xfrm>
              <a:off x="4514564" y="3640010"/>
              <a:ext cx="118586" cy="99059"/>
            </a:xfrm>
            <a:custGeom>
              <a:avLst/>
              <a:gdLst>
                <a:gd name="connsiteX0" fmla="*/ 12763 w 118586"/>
                <a:gd name="connsiteY0" fmla="*/ 57817 h 99059"/>
                <a:gd name="connsiteX1" fmla="*/ 0 w 118586"/>
                <a:gd name="connsiteY1" fmla="*/ 70485 h 99059"/>
                <a:gd name="connsiteX2" fmla="*/ 4001 w 118586"/>
                <a:gd name="connsiteY2" fmla="*/ 99060 h 99059"/>
                <a:gd name="connsiteX3" fmla="*/ 12573 w 118586"/>
                <a:gd name="connsiteY3" fmla="*/ 71723 h 99059"/>
                <a:gd name="connsiteX4" fmla="*/ 38671 w 118586"/>
                <a:gd name="connsiteY4" fmla="*/ 70866 h 99059"/>
                <a:gd name="connsiteX5" fmla="*/ 67342 w 118586"/>
                <a:gd name="connsiteY5" fmla="*/ 87630 h 99059"/>
                <a:gd name="connsiteX6" fmla="*/ 82201 w 118586"/>
                <a:gd name="connsiteY6" fmla="*/ 63532 h 99059"/>
                <a:gd name="connsiteX7" fmla="*/ 102013 w 118586"/>
                <a:gd name="connsiteY7" fmla="*/ 61531 h 99059"/>
                <a:gd name="connsiteX8" fmla="*/ 118586 w 118586"/>
                <a:gd name="connsiteY8" fmla="*/ 52197 h 99059"/>
                <a:gd name="connsiteX9" fmla="*/ 96774 w 118586"/>
                <a:gd name="connsiteY9" fmla="*/ 38671 h 99059"/>
                <a:gd name="connsiteX10" fmla="*/ 77914 w 118586"/>
                <a:gd name="connsiteY10" fmla="*/ 34195 h 99059"/>
                <a:gd name="connsiteX11" fmla="*/ 59150 w 118586"/>
                <a:gd name="connsiteY11" fmla="*/ 19526 h 99059"/>
                <a:gd name="connsiteX12" fmla="*/ 41910 w 118586"/>
                <a:gd name="connsiteY12" fmla="*/ 0 h 99059"/>
                <a:gd name="connsiteX13" fmla="*/ 38957 w 118586"/>
                <a:gd name="connsiteY13" fmla="*/ 21622 h 99059"/>
                <a:gd name="connsiteX14" fmla="*/ 31052 w 118586"/>
                <a:gd name="connsiteY14" fmla="*/ 54197 h 99059"/>
                <a:gd name="connsiteX15" fmla="*/ 12763 w 118586"/>
                <a:gd name="connsiteY15" fmla="*/ 57817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586" h="99059">
                  <a:moveTo>
                    <a:pt x="12763" y="57817"/>
                  </a:moveTo>
                  <a:lnTo>
                    <a:pt x="0" y="70485"/>
                  </a:lnTo>
                  <a:lnTo>
                    <a:pt x="4001" y="99060"/>
                  </a:lnTo>
                  <a:lnTo>
                    <a:pt x="12573" y="71723"/>
                  </a:lnTo>
                  <a:lnTo>
                    <a:pt x="38671" y="70866"/>
                  </a:lnTo>
                  <a:lnTo>
                    <a:pt x="67342" y="87630"/>
                  </a:lnTo>
                  <a:lnTo>
                    <a:pt x="82201" y="63532"/>
                  </a:lnTo>
                  <a:lnTo>
                    <a:pt x="102013" y="61531"/>
                  </a:lnTo>
                  <a:lnTo>
                    <a:pt x="118586" y="52197"/>
                  </a:lnTo>
                  <a:lnTo>
                    <a:pt x="96774" y="38671"/>
                  </a:lnTo>
                  <a:lnTo>
                    <a:pt x="77914" y="34195"/>
                  </a:lnTo>
                  <a:lnTo>
                    <a:pt x="59150" y="19526"/>
                  </a:lnTo>
                  <a:lnTo>
                    <a:pt x="41910" y="0"/>
                  </a:lnTo>
                  <a:lnTo>
                    <a:pt x="38957" y="21622"/>
                  </a:lnTo>
                  <a:lnTo>
                    <a:pt x="31052" y="54197"/>
                  </a:lnTo>
                  <a:lnTo>
                    <a:pt x="12763" y="57817"/>
                  </a:lnTo>
                  <a:close/>
                </a:path>
              </a:pathLst>
            </a:custGeom>
            <a:solidFill>
              <a:srgbClr val="FF0000"/>
            </a:solid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3" name="Freeform: Shape 2703">
              <a:extLst>
                <a:ext uri="{FF2B5EF4-FFF2-40B4-BE49-F238E27FC236}">
                  <a16:creationId xmlns:a16="http://schemas.microsoft.com/office/drawing/2014/main" id="{94A2D625-6514-CF89-A507-67988621D937}"/>
                </a:ext>
              </a:extLst>
            </p:cNvPr>
            <p:cNvSpPr/>
            <p:nvPr/>
          </p:nvSpPr>
          <p:spPr>
            <a:xfrm>
              <a:off x="4337208" y="3739451"/>
              <a:ext cx="221646" cy="182308"/>
            </a:xfrm>
            <a:custGeom>
              <a:avLst/>
              <a:gdLst>
                <a:gd name="connsiteX0" fmla="*/ 171831 w 221646"/>
                <a:gd name="connsiteY0" fmla="*/ 77724 h 182308"/>
                <a:gd name="connsiteX1" fmla="*/ 150971 w 221646"/>
                <a:gd name="connsiteY1" fmla="*/ 96965 h 182308"/>
                <a:gd name="connsiteX2" fmla="*/ 129349 w 221646"/>
                <a:gd name="connsiteY2" fmla="*/ 89535 h 182308"/>
                <a:gd name="connsiteX3" fmla="*/ 116586 w 221646"/>
                <a:gd name="connsiteY3" fmla="*/ 94488 h 182308"/>
                <a:gd name="connsiteX4" fmla="*/ 115633 w 221646"/>
                <a:gd name="connsiteY4" fmla="*/ 107918 h 182308"/>
                <a:gd name="connsiteX5" fmla="*/ 100774 w 221646"/>
                <a:gd name="connsiteY5" fmla="*/ 125063 h 182308"/>
                <a:gd name="connsiteX6" fmla="*/ 96107 w 221646"/>
                <a:gd name="connsiteY6" fmla="*/ 136303 h 182308"/>
                <a:gd name="connsiteX7" fmla="*/ 67723 w 221646"/>
                <a:gd name="connsiteY7" fmla="*/ 134112 h 182308"/>
                <a:gd name="connsiteX8" fmla="*/ 49530 w 221646"/>
                <a:gd name="connsiteY8" fmla="*/ 137065 h 182308"/>
                <a:gd name="connsiteX9" fmla="*/ 43624 w 221646"/>
                <a:gd name="connsiteY9" fmla="*/ 134112 h 182308"/>
                <a:gd name="connsiteX10" fmla="*/ 10287 w 221646"/>
                <a:gd name="connsiteY10" fmla="*/ 160211 h 182308"/>
                <a:gd name="connsiteX11" fmla="*/ 1333 w 221646"/>
                <a:gd name="connsiteY11" fmla="*/ 160211 h 182308"/>
                <a:gd name="connsiteX12" fmla="*/ 0 w 221646"/>
                <a:gd name="connsiteY12" fmla="*/ 171069 h 182308"/>
                <a:gd name="connsiteX13" fmla="*/ 23146 w 221646"/>
                <a:gd name="connsiteY13" fmla="*/ 174784 h 182308"/>
                <a:gd name="connsiteX14" fmla="*/ 29432 w 221646"/>
                <a:gd name="connsiteY14" fmla="*/ 161735 h 182308"/>
                <a:gd name="connsiteX15" fmla="*/ 33433 w 221646"/>
                <a:gd name="connsiteY15" fmla="*/ 165450 h 182308"/>
                <a:gd name="connsiteX16" fmla="*/ 66104 w 221646"/>
                <a:gd name="connsiteY16" fmla="*/ 153543 h 182308"/>
                <a:gd name="connsiteX17" fmla="*/ 88201 w 221646"/>
                <a:gd name="connsiteY17" fmla="*/ 153543 h 182308"/>
                <a:gd name="connsiteX18" fmla="*/ 96774 w 221646"/>
                <a:gd name="connsiteY18" fmla="*/ 182309 h 182308"/>
                <a:gd name="connsiteX19" fmla="*/ 111633 w 221646"/>
                <a:gd name="connsiteY19" fmla="*/ 153924 h 182308"/>
                <a:gd name="connsiteX20" fmla="*/ 118205 w 221646"/>
                <a:gd name="connsiteY20" fmla="*/ 145256 h 182308"/>
                <a:gd name="connsiteX21" fmla="*/ 145637 w 221646"/>
                <a:gd name="connsiteY21" fmla="*/ 156496 h 182308"/>
                <a:gd name="connsiteX22" fmla="*/ 155924 w 221646"/>
                <a:gd name="connsiteY22" fmla="*/ 144494 h 182308"/>
                <a:gd name="connsiteX23" fmla="*/ 157924 w 221646"/>
                <a:gd name="connsiteY23" fmla="*/ 156115 h 182308"/>
                <a:gd name="connsiteX24" fmla="*/ 187262 w 221646"/>
                <a:gd name="connsiteY24" fmla="*/ 144209 h 182308"/>
                <a:gd name="connsiteX25" fmla="*/ 191929 w 221646"/>
                <a:gd name="connsiteY25" fmla="*/ 118777 h 182308"/>
                <a:gd name="connsiteX26" fmla="*/ 200787 w 221646"/>
                <a:gd name="connsiteY26" fmla="*/ 98965 h 182308"/>
                <a:gd name="connsiteX27" fmla="*/ 199454 w 221646"/>
                <a:gd name="connsiteY27" fmla="*/ 76486 h 182308"/>
                <a:gd name="connsiteX28" fmla="*/ 211074 w 221646"/>
                <a:gd name="connsiteY28" fmla="*/ 73914 h 182308"/>
                <a:gd name="connsiteX29" fmla="*/ 209740 w 221646"/>
                <a:gd name="connsiteY29" fmla="*/ 65342 h 182308"/>
                <a:gd name="connsiteX30" fmla="*/ 221647 w 221646"/>
                <a:gd name="connsiteY30" fmla="*/ 45149 h 182308"/>
                <a:gd name="connsiteX31" fmla="*/ 209740 w 221646"/>
                <a:gd name="connsiteY31" fmla="*/ 20384 h 182308"/>
                <a:gd name="connsiteX32" fmla="*/ 209740 w 221646"/>
                <a:gd name="connsiteY32" fmla="*/ 858 h 182308"/>
                <a:gd name="connsiteX33" fmla="*/ 203073 w 221646"/>
                <a:gd name="connsiteY33" fmla="*/ 0 h 182308"/>
                <a:gd name="connsiteX34" fmla="*/ 185928 w 221646"/>
                <a:gd name="connsiteY34" fmla="*/ 15526 h 182308"/>
                <a:gd name="connsiteX35" fmla="*/ 177641 w 221646"/>
                <a:gd name="connsiteY35" fmla="*/ 20384 h 182308"/>
                <a:gd name="connsiteX36" fmla="*/ 180975 w 221646"/>
                <a:gd name="connsiteY36" fmla="*/ 29718 h 182308"/>
                <a:gd name="connsiteX37" fmla="*/ 174688 w 221646"/>
                <a:gd name="connsiteY37" fmla="*/ 36576 h 182308"/>
                <a:gd name="connsiteX38" fmla="*/ 181356 w 221646"/>
                <a:gd name="connsiteY38" fmla="*/ 39529 h 182308"/>
                <a:gd name="connsiteX39" fmla="*/ 180975 w 221646"/>
                <a:gd name="connsiteY39" fmla="*/ 48863 h 182308"/>
                <a:gd name="connsiteX40" fmla="*/ 171831 w 221646"/>
                <a:gd name="connsiteY40" fmla="*/ 77724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1646" h="182308">
                  <a:moveTo>
                    <a:pt x="171831" y="77724"/>
                  </a:moveTo>
                  <a:lnTo>
                    <a:pt x="150971" y="96965"/>
                  </a:lnTo>
                  <a:lnTo>
                    <a:pt x="129349" y="89535"/>
                  </a:lnTo>
                  <a:lnTo>
                    <a:pt x="116586" y="94488"/>
                  </a:lnTo>
                  <a:lnTo>
                    <a:pt x="115633" y="107918"/>
                  </a:lnTo>
                  <a:lnTo>
                    <a:pt x="100774" y="125063"/>
                  </a:lnTo>
                  <a:lnTo>
                    <a:pt x="96107" y="136303"/>
                  </a:lnTo>
                  <a:lnTo>
                    <a:pt x="67723" y="134112"/>
                  </a:lnTo>
                  <a:lnTo>
                    <a:pt x="49530" y="137065"/>
                  </a:lnTo>
                  <a:lnTo>
                    <a:pt x="43624" y="134112"/>
                  </a:lnTo>
                  <a:lnTo>
                    <a:pt x="10287" y="160211"/>
                  </a:lnTo>
                  <a:lnTo>
                    <a:pt x="1333" y="160211"/>
                  </a:lnTo>
                  <a:lnTo>
                    <a:pt x="0" y="171069"/>
                  </a:lnTo>
                  <a:lnTo>
                    <a:pt x="23146" y="174784"/>
                  </a:lnTo>
                  <a:lnTo>
                    <a:pt x="29432" y="161735"/>
                  </a:lnTo>
                  <a:lnTo>
                    <a:pt x="33433" y="165450"/>
                  </a:lnTo>
                  <a:lnTo>
                    <a:pt x="66104" y="153543"/>
                  </a:lnTo>
                  <a:lnTo>
                    <a:pt x="88201" y="153543"/>
                  </a:lnTo>
                  <a:lnTo>
                    <a:pt x="96774" y="182309"/>
                  </a:lnTo>
                  <a:lnTo>
                    <a:pt x="111633" y="153924"/>
                  </a:lnTo>
                  <a:lnTo>
                    <a:pt x="118205" y="145256"/>
                  </a:lnTo>
                  <a:lnTo>
                    <a:pt x="145637" y="156496"/>
                  </a:lnTo>
                  <a:lnTo>
                    <a:pt x="155924" y="144494"/>
                  </a:lnTo>
                  <a:lnTo>
                    <a:pt x="157924" y="156115"/>
                  </a:lnTo>
                  <a:lnTo>
                    <a:pt x="187262" y="144209"/>
                  </a:lnTo>
                  <a:lnTo>
                    <a:pt x="191929" y="118777"/>
                  </a:lnTo>
                  <a:lnTo>
                    <a:pt x="200787" y="98965"/>
                  </a:lnTo>
                  <a:lnTo>
                    <a:pt x="199454" y="76486"/>
                  </a:lnTo>
                  <a:lnTo>
                    <a:pt x="211074" y="73914"/>
                  </a:lnTo>
                  <a:lnTo>
                    <a:pt x="209740" y="65342"/>
                  </a:lnTo>
                  <a:lnTo>
                    <a:pt x="221647" y="45149"/>
                  </a:lnTo>
                  <a:lnTo>
                    <a:pt x="209740" y="20384"/>
                  </a:lnTo>
                  <a:lnTo>
                    <a:pt x="209740" y="858"/>
                  </a:lnTo>
                  <a:lnTo>
                    <a:pt x="203073" y="0"/>
                  </a:lnTo>
                  <a:lnTo>
                    <a:pt x="185928" y="15526"/>
                  </a:lnTo>
                  <a:lnTo>
                    <a:pt x="177641" y="20384"/>
                  </a:lnTo>
                  <a:lnTo>
                    <a:pt x="180975" y="29718"/>
                  </a:lnTo>
                  <a:lnTo>
                    <a:pt x="174688" y="36576"/>
                  </a:lnTo>
                  <a:lnTo>
                    <a:pt x="181356" y="39529"/>
                  </a:lnTo>
                  <a:lnTo>
                    <a:pt x="180975" y="48863"/>
                  </a:lnTo>
                  <a:lnTo>
                    <a:pt x="171831" y="77724"/>
                  </a:lnTo>
                  <a:close/>
                </a:path>
              </a:pathLst>
            </a:custGeom>
            <a:solidFill>
              <a:srgbClr val="FF0000"/>
            </a:solid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4" name="Freeform: Shape 2704">
              <a:extLst>
                <a:ext uri="{FF2B5EF4-FFF2-40B4-BE49-F238E27FC236}">
                  <a16:creationId xmlns:a16="http://schemas.microsoft.com/office/drawing/2014/main" id="{4A91BD4E-EC7A-8767-23AE-8FD0956268C4}"/>
                </a:ext>
              </a:extLst>
            </p:cNvPr>
            <p:cNvSpPr/>
            <p:nvPr/>
          </p:nvSpPr>
          <p:spPr>
            <a:xfrm>
              <a:off x="4359687" y="3906043"/>
              <a:ext cx="57340" cy="32099"/>
            </a:xfrm>
            <a:custGeom>
              <a:avLst/>
              <a:gdLst>
                <a:gd name="connsiteX0" fmla="*/ 18193 w 57340"/>
                <a:gd name="connsiteY0" fmla="*/ 0 h 32099"/>
                <a:gd name="connsiteX1" fmla="*/ 0 w 57340"/>
                <a:gd name="connsiteY1" fmla="*/ 17907 h 32099"/>
                <a:gd name="connsiteX2" fmla="*/ 19812 w 57340"/>
                <a:gd name="connsiteY2" fmla="*/ 32099 h 32099"/>
                <a:gd name="connsiteX3" fmla="*/ 28670 w 57340"/>
                <a:gd name="connsiteY3" fmla="*/ 16288 h 32099"/>
                <a:gd name="connsiteX4" fmla="*/ 57341 w 57340"/>
                <a:gd name="connsiteY4" fmla="*/ 12287 h 32099"/>
                <a:gd name="connsiteX5" fmla="*/ 51149 w 57340"/>
                <a:gd name="connsiteY5" fmla="*/ 1524 h 32099"/>
                <a:gd name="connsiteX6" fmla="*/ 30099 w 57340"/>
                <a:gd name="connsiteY6" fmla="*/ 3715 h 32099"/>
                <a:gd name="connsiteX7" fmla="*/ 18193 w 57340"/>
                <a:gd name="connsiteY7" fmla="*/ 0 h 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40" h="32099">
                  <a:moveTo>
                    <a:pt x="18193" y="0"/>
                  </a:moveTo>
                  <a:lnTo>
                    <a:pt x="0" y="17907"/>
                  </a:lnTo>
                  <a:lnTo>
                    <a:pt x="19812" y="32099"/>
                  </a:lnTo>
                  <a:lnTo>
                    <a:pt x="28670" y="16288"/>
                  </a:lnTo>
                  <a:lnTo>
                    <a:pt x="57341" y="12287"/>
                  </a:lnTo>
                  <a:lnTo>
                    <a:pt x="51149" y="1524"/>
                  </a:lnTo>
                  <a:lnTo>
                    <a:pt x="30099" y="3715"/>
                  </a:lnTo>
                  <a:lnTo>
                    <a:pt x="18193" y="0"/>
                  </a:lnTo>
                  <a:close/>
                </a:path>
              </a:pathLst>
            </a:custGeom>
            <a:solidFill>
              <a:srgbClr val="FF0000"/>
            </a:solidFill>
            <a:ln w="9525" cap="flat">
              <a:solidFill>
                <a:schemeClr val="bg1">
                  <a:lumMod val="85000"/>
                  <a:alpha val="18000"/>
                </a:schemeClr>
              </a:solidFill>
              <a:prstDash val="solid"/>
              <a:miter/>
            </a:ln>
          </p:spPr>
          <p:txBody>
            <a:bodyPr wrap="none" lIns="0" tIns="0" rIns="0" bIns="0" rtlCol="0" anchor="ctr"/>
            <a:lstStyle/>
            <a:p>
              <a:endParaRPr lang="en-GB" dirty="0"/>
            </a:p>
          </p:txBody>
        </p:sp>
        <p:sp>
          <p:nvSpPr>
            <p:cNvPr id="222715" name="Freeform: Shape 2705">
              <a:extLst>
                <a:ext uri="{FF2B5EF4-FFF2-40B4-BE49-F238E27FC236}">
                  <a16:creationId xmlns:a16="http://schemas.microsoft.com/office/drawing/2014/main" id="{BF559CF7-552B-F074-A1B0-830B60EB80AC}"/>
                </a:ext>
              </a:extLst>
            </p:cNvPr>
            <p:cNvSpPr/>
            <p:nvPr/>
          </p:nvSpPr>
          <p:spPr>
            <a:xfrm>
              <a:off x="4314063" y="3910901"/>
              <a:ext cx="38385" cy="62198"/>
            </a:xfrm>
            <a:custGeom>
              <a:avLst/>
              <a:gdLst>
                <a:gd name="connsiteX0" fmla="*/ 0 w 38385"/>
                <a:gd name="connsiteY0" fmla="*/ 11430 h 62198"/>
                <a:gd name="connsiteX1" fmla="*/ 3143 w 38385"/>
                <a:gd name="connsiteY1" fmla="*/ 28480 h 62198"/>
                <a:gd name="connsiteX2" fmla="*/ 18955 w 38385"/>
                <a:gd name="connsiteY2" fmla="*/ 24098 h 62198"/>
                <a:gd name="connsiteX3" fmla="*/ 8001 w 38385"/>
                <a:gd name="connsiteY3" fmla="*/ 56388 h 62198"/>
                <a:gd name="connsiteX4" fmla="*/ 15907 w 38385"/>
                <a:gd name="connsiteY4" fmla="*/ 61722 h 62198"/>
                <a:gd name="connsiteX5" fmla="*/ 19240 w 38385"/>
                <a:gd name="connsiteY5" fmla="*/ 49340 h 62198"/>
                <a:gd name="connsiteX6" fmla="*/ 22860 w 38385"/>
                <a:gd name="connsiteY6" fmla="*/ 62198 h 62198"/>
                <a:gd name="connsiteX7" fmla="*/ 32385 w 38385"/>
                <a:gd name="connsiteY7" fmla="*/ 57150 h 62198"/>
                <a:gd name="connsiteX8" fmla="*/ 38386 w 38385"/>
                <a:gd name="connsiteY8" fmla="*/ 32861 h 62198"/>
                <a:gd name="connsiteX9" fmla="*/ 29051 w 38385"/>
                <a:gd name="connsiteY9" fmla="*/ 10097 h 62198"/>
                <a:gd name="connsiteX10" fmla="*/ 17431 w 38385"/>
                <a:gd name="connsiteY10" fmla="*/ 0 h 62198"/>
                <a:gd name="connsiteX11" fmla="*/ 0 w 38385"/>
                <a:gd name="connsiteY11" fmla="*/ 11430 h 6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85" h="62198">
                  <a:moveTo>
                    <a:pt x="0" y="11430"/>
                  </a:moveTo>
                  <a:lnTo>
                    <a:pt x="3143" y="28480"/>
                  </a:lnTo>
                  <a:lnTo>
                    <a:pt x="18955" y="24098"/>
                  </a:lnTo>
                  <a:lnTo>
                    <a:pt x="8001" y="56388"/>
                  </a:lnTo>
                  <a:lnTo>
                    <a:pt x="15907" y="61722"/>
                  </a:lnTo>
                  <a:lnTo>
                    <a:pt x="19240" y="49340"/>
                  </a:lnTo>
                  <a:lnTo>
                    <a:pt x="22860" y="62198"/>
                  </a:lnTo>
                  <a:lnTo>
                    <a:pt x="32385" y="57150"/>
                  </a:lnTo>
                  <a:lnTo>
                    <a:pt x="38386" y="32861"/>
                  </a:lnTo>
                  <a:lnTo>
                    <a:pt x="29051" y="10097"/>
                  </a:lnTo>
                  <a:lnTo>
                    <a:pt x="17431" y="0"/>
                  </a:lnTo>
                  <a:lnTo>
                    <a:pt x="0" y="11430"/>
                  </a:lnTo>
                  <a:close/>
                </a:path>
              </a:pathLst>
            </a:custGeom>
            <a:solidFill>
              <a:srgbClr val="FF0000"/>
            </a:solid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6" name="Freeform: Shape 2706">
              <a:extLst>
                <a:ext uri="{FF2B5EF4-FFF2-40B4-BE49-F238E27FC236}">
                  <a16:creationId xmlns:a16="http://schemas.microsoft.com/office/drawing/2014/main" id="{42D4E582-1890-06ED-CE5F-A2A3DAC26E41}"/>
                </a:ext>
              </a:extLst>
            </p:cNvPr>
            <p:cNvSpPr/>
            <p:nvPr/>
          </p:nvSpPr>
          <p:spPr>
            <a:xfrm>
              <a:off x="2435637" y="3941571"/>
              <a:ext cx="13239" cy="32670"/>
            </a:xfrm>
            <a:custGeom>
              <a:avLst/>
              <a:gdLst>
                <a:gd name="connsiteX0" fmla="*/ 2191 w 13239"/>
                <a:gd name="connsiteY0" fmla="*/ 13335 h 32670"/>
                <a:gd name="connsiteX1" fmla="*/ 6572 w 13239"/>
                <a:gd name="connsiteY1" fmla="*/ 17907 h 32670"/>
                <a:gd name="connsiteX2" fmla="*/ 0 w 13239"/>
                <a:gd name="connsiteY2" fmla="*/ 24194 h 32670"/>
                <a:gd name="connsiteX3" fmla="*/ 4000 w 13239"/>
                <a:gd name="connsiteY3" fmla="*/ 32671 h 32670"/>
                <a:gd name="connsiteX4" fmla="*/ 9906 w 13239"/>
                <a:gd name="connsiteY4" fmla="*/ 28766 h 32670"/>
                <a:gd name="connsiteX5" fmla="*/ 13240 w 13239"/>
                <a:gd name="connsiteY5" fmla="*/ 21622 h 32670"/>
                <a:gd name="connsiteX6" fmla="*/ 13240 w 13239"/>
                <a:gd name="connsiteY6" fmla="*/ 2953 h 32670"/>
                <a:gd name="connsiteX7" fmla="*/ 6286 w 13239"/>
                <a:gd name="connsiteY7" fmla="*/ 0 h 32670"/>
                <a:gd name="connsiteX8" fmla="*/ 2191 w 13239"/>
                <a:gd name="connsiteY8" fmla="*/ 13335 h 32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9" h="32670">
                  <a:moveTo>
                    <a:pt x="2191" y="13335"/>
                  </a:moveTo>
                  <a:lnTo>
                    <a:pt x="6572" y="17907"/>
                  </a:lnTo>
                  <a:lnTo>
                    <a:pt x="0" y="24194"/>
                  </a:lnTo>
                  <a:lnTo>
                    <a:pt x="4000" y="32671"/>
                  </a:lnTo>
                  <a:lnTo>
                    <a:pt x="9906" y="28766"/>
                  </a:lnTo>
                  <a:lnTo>
                    <a:pt x="13240" y="21622"/>
                  </a:lnTo>
                  <a:lnTo>
                    <a:pt x="13240" y="2953"/>
                  </a:lnTo>
                  <a:lnTo>
                    <a:pt x="6286" y="0"/>
                  </a:lnTo>
                  <a:lnTo>
                    <a:pt x="2191" y="1333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7" name="Freeform: Shape 2707">
              <a:extLst>
                <a:ext uri="{FF2B5EF4-FFF2-40B4-BE49-F238E27FC236}">
                  <a16:creationId xmlns:a16="http://schemas.microsoft.com/office/drawing/2014/main" id="{6ECCD439-20D6-E1B6-8F3F-BDF4F6D59912}"/>
                </a:ext>
              </a:extLst>
            </p:cNvPr>
            <p:cNvSpPr/>
            <p:nvPr/>
          </p:nvSpPr>
          <p:spPr>
            <a:xfrm>
              <a:off x="2513171" y="3832986"/>
              <a:ext cx="192595" cy="185166"/>
            </a:xfrm>
            <a:custGeom>
              <a:avLst/>
              <a:gdLst>
                <a:gd name="connsiteX0" fmla="*/ 190214 w 192595"/>
                <a:gd name="connsiteY0" fmla="*/ 160782 h 185166"/>
                <a:gd name="connsiteX1" fmla="*/ 182689 w 192595"/>
                <a:gd name="connsiteY1" fmla="*/ 153353 h 185166"/>
                <a:gd name="connsiteX2" fmla="*/ 182689 w 192595"/>
                <a:gd name="connsiteY2" fmla="*/ 143256 h 185166"/>
                <a:gd name="connsiteX3" fmla="*/ 176022 w 192595"/>
                <a:gd name="connsiteY3" fmla="*/ 143256 h 185166"/>
                <a:gd name="connsiteX4" fmla="*/ 176022 w 192595"/>
                <a:gd name="connsiteY4" fmla="*/ 134303 h 185166"/>
                <a:gd name="connsiteX5" fmla="*/ 179356 w 192595"/>
                <a:gd name="connsiteY5" fmla="*/ 125349 h 185166"/>
                <a:gd name="connsiteX6" fmla="*/ 172402 w 192595"/>
                <a:gd name="connsiteY6" fmla="*/ 117538 h 185166"/>
                <a:gd name="connsiteX7" fmla="*/ 170688 w 192595"/>
                <a:gd name="connsiteY7" fmla="*/ 109442 h 185166"/>
                <a:gd name="connsiteX8" fmla="*/ 164687 w 192595"/>
                <a:gd name="connsiteY8" fmla="*/ 110300 h 185166"/>
                <a:gd name="connsiteX9" fmla="*/ 150590 w 192595"/>
                <a:gd name="connsiteY9" fmla="*/ 99917 h 185166"/>
                <a:gd name="connsiteX10" fmla="*/ 143351 w 192595"/>
                <a:gd name="connsiteY10" fmla="*/ 98965 h 185166"/>
                <a:gd name="connsiteX11" fmla="*/ 146018 w 192595"/>
                <a:gd name="connsiteY11" fmla="*/ 93059 h 185166"/>
                <a:gd name="connsiteX12" fmla="*/ 142208 w 192595"/>
                <a:gd name="connsiteY12" fmla="*/ 86296 h 185166"/>
                <a:gd name="connsiteX13" fmla="*/ 136112 w 192595"/>
                <a:gd name="connsiteY13" fmla="*/ 83153 h 185166"/>
                <a:gd name="connsiteX14" fmla="*/ 130492 w 192595"/>
                <a:gd name="connsiteY14" fmla="*/ 76771 h 185166"/>
                <a:gd name="connsiteX15" fmla="*/ 133445 w 192595"/>
                <a:gd name="connsiteY15" fmla="*/ 70104 h 185166"/>
                <a:gd name="connsiteX16" fmla="*/ 130016 w 192595"/>
                <a:gd name="connsiteY16" fmla="*/ 63722 h 185166"/>
                <a:gd name="connsiteX17" fmla="*/ 137541 w 192595"/>
                <a:gd name="connsiteY17" fmla="*/ 63722 h 185166"/>
                <a:gd name="connsiteX18" fmla="*/ 136684 w 192595"/>
                <a:gd name="connsiteY18" fmla="*/ 56769 h 185166"/>
                <a:gd name="connsiteX19" fmla="*/ 140017 w 192595"/>
                <a:gd name="connsiteY19" fmla="*/ 52483 h 185166"/>
                <a:gd name="connsiteX20" fmla="*/ 144685 w 192595"/>
                <a:gd name="connsiteY20" fmla="*/ 52483 h 185166"/>
                <a:gd name="connsiteX21" fmla="*/ 146304 w 192595"/>
                <a:gd name="connsiteY21" fmla="*/ 48768 h 185166"/>
                <a:gd name="connsiteX22" fmla="*/ 142684 w 192595"/>
                <a:gd name="connsiteY22" fmla="*/ 39434 h 185166"/>
                <a:gd name="connsiteX23" fmla="*/ 150114 w 192595"/>
                <a:gd name="connsiteY23" fmla="*/ 36767 h 185166"/>
                <a:gd name="connsiteX24" fmla="*/ 148018 w 192595"/>
                <a:gd name="connsiteY24" fmla="*/ 33719 h 185166"/>
                <a:gd name="connsiteX25" fmla="*/ 130111 w 192595"/>
                <a:gd name="connsiteY25" fmla="*/ 31528 h 185166"/>
                <a:gd name="connsiteX26" fmla="*/ 127540 w 192595"/>
                <a:gd name="connsiteY26" fmla="*/ 21812 h 185166"/>
                <a:gd name="connsiteX27" fmla="*/ 122968 w 192595"/>
                <a:gd name="connsiteY27" fmla="*/ 21622 h 185166"/>
                <a:gd name="connsiteX28" fmla="*/ 124587 w 192595"/>
                <a:gd name="connsiteY28" fmla="*/ 15526 h 185166"/>
                <a:gd name="connsiteX29" fmla="*/ 119920 w 192595"/>
                <a:gd name="connsiteY29" fmla="*/ 13621 h 185166"/>
                <a:gd name="connsiteX30" fmla="*/ 120872 w 192595"/>
                <a:gd name="connsiteY30" fmla="*/ 8382 h 185166"/>
                <a:gd name="connsiteX31" fmla="*/ 117634 w 192595"/>
                <a:gd name="connsiteY31" fmla="*/ 7429 h 185166"/>
                <a:gd name="connsiteX32" fmla="*/ 113347 w 192595"/>
                <a:gd name="connsiteY32" fmla="*/ 6191 h 185166"/>
                <a:gd name="connsiteX33" fmla="*/ 107728 w 192595"/>
                <a:gd name="connsiteY33" fmla="*/ 9144 h 185166"/>
                <a:gd name="connsiteX34" fmla="*/ 103251 w 192595"/>
                <a:gd name="connsiteY34" fmla="*/ 0 h 185166"/>
                <a:gd name="connsiteX35" fmla="*/ 98869 w 192595"/>
                <a:gd name="connsiteY35" fmla="*/ 5048 h 185166"/>
                <a:gd name="connsiteX36" fmla="*/ 88011 w 192595"/>
                <a:gd name="connsiteY36" fmla="*/ 191 h 185166"/>
                <a:gd name="connsiteX37" fmla="*/ 78676 w 192595"/>
                <a:gd name="connsiteY37" fmla="*/ 191 h 185166"/>
                <a:gd name="connsiteX38" fmla="*/ 74962 w 192595"/>
                <a:gd name="connsiteY38" fmla="*/ 4667 h 185166"/>
                <a:gd name="connsiteX39" fmla="*/ 70104 w 192595"/>
                <a:gd name="connsiteY39" fmla="*/ 6477 h 185166"/>
                <a:gd name="connsiteX40" fmla="*/ 59817 w 192595"/>
                <a:gd name="connsiteY40" fmla="*/ 17717 h 185166"/>
                <a:gd name="connsiteX41" fmla="*/ 50292 w 192595"/>
                <a:gd name="connsiteY41" fmla="*/ 19241 h 185166"/>
                <a:gd name="connsiteX42" fmla="*/ 48292 w 192595"/>
                <a:gd name="connsiteY42" fmla="*/ 30099 h 185166"/>
                <a:gd name="connsiteX43" fmla="*/ 52102 w 192595"/>
                <a:gd name="connsiteY43" fmla="*/ 36195 h 185166"/>
                <a:gd name="connsiteX44" fmla="*/ 48482 w 192595"/>
                <a:gd name="connsiteY44" fmla="*/ 44482 h 185166"/>
                <a:gd name="connsiteX45" fmla="*/ 48482 w 192595"/>
                <a:gd name="connsiteY45" fmla="*/ 57817 h 185166"/>
                <a:gd name="connsiteX46" fmla="*/ 43339 w 192595"/>
                <a:gd name="connsiteY46" fmla="*/ 66675 h 185166"/>
                <a:gd name="connsiteX47" fmla="*/ 0 w 192595"/>
                <a:gd name="connsiteY47" fmla="*/ 91345 h 185166"/>
                <a:gd name="connsiteX48" fmla="*/ 5048 w 192595"/>
                <a:gd name="connsiteY48" fmla="*/ 108585 h 185166"/>
                <a:gd name="connsiteX49" fmla="*/ 2286 w 192595"/>
                <a:gd name="connsiteY49" fmla="*/ 111919 h 185166"/>
                <a:gd name="connsiteX50" fmla="*/ 10954 w 192595"/>
                <a:gd name="connsiteY50" fmla="*/ 113824 h 185166"/>
                <a:gd name="connsiteX51" fmla="*/ 7048 w 192595"/>
                <a:gd name="connsiteY51" fmla="*/ 117634 h 185166"/>
                <a:gd name="connsiteX52" fmla="*/ 31718 w 192595"/>
                <a:gd name="connsiteY52" fmla="*/ 122015 h 185166"/>
                <a:gd name="connsiteX53" fmla="*/ 64770 w 192595"/>
                <a:gd name="connsiteY53" fmla="*/ 140684 h 185166"/>
                <a:gd name="connsiteX54" fmla="*/ 116967 w 192595"/>
                <a:gd name="connsiteY54" fmla="*/ 182499 h 185166"/>
                <a:gd name="connsiteX55" fmla="*/ 150590 w 192595"/>
                <a:gd name="connsiteY55" fmla="*/ 185166 h 185166"/>
                <a:gd name="connsiteX56" fmla="*/ 150590 w 192595"/>
                <a:gd name="connsiteY56" fmla="*/ 185166 h 185166"/>
                <a:gd name="connsiteX57" fmla="*/ 164782 w 192595"/>
                <a:gd name="connsiteY57" fmla="*/ 165545 h 185166"/>
                <a:gd name="connsiteX58" fmla="*/ 182499 w 192595"/>
                <a:gd name="connsiteY58" fmla="*/ 166402 h 185166"/>
                <a:gd name="connsiteX59" fmla="*/ 188976 w 192595"/>
                <a:gd name="connsiteY59" fmla="*/ 170783 h 185166"/>
                <a:gd name="connsiteX60" fmla="*/ 192596 w 192595"/>
                <a:gd name="connsiteY60" fmla="*/ 166402 h 185166"/>
                <a:gd name="connsiteX61" fmla="*/ 190214 w 192595"/>
                <a:gd name="connsiteY61" fmla="*/ 160782 h 18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92595" h="185166">
                  <a:moveTo>
                    <a:pt x="190214" y="160782"/>
                  </a:moveTo>
                  <a:lnTo>
                    <a:pt x="182689" y="153353"/>
                  </a:lnTo>
                  <a:lnTo>
                    <a:pt x="182689" y="143256"/>
                  </a:lnTo>
                  <a:lnTo>
                    <a:pt x="176022" y="143256"/>
                  </a:lnTo>
                  <a:lnTo>
                    <a:pt x="176022" y="134303"/>
                  </a:lnTo>
                  <a:lnTo>
                    <a:pt x="179356" y="125349"/>
                  </a:lnTo>
                  <a:lnTo>
                    <a:pt x="172402" y="117538"/>
                  </a:lnTo>
                  <a:lnTo>
                    <a:pt x="170688" y="109442"/>
                  </a:lnTo>
                  <a:lnTo>
                    <a:pt x="164687" y="110300"/>
                  </a:lnTo>
                  <a:lnTo>
                    <a:pt x="150590" y="99917"/>
                  </a:lnTo>
                  <a:lnTo>
                    <a:pt x="143351" y="98965"/>
                  </a:lnTo>
                  <a:lnTo>
                    <a:pt x="146018" y="93059"/>
                  </a:lnTo>
                  <a:lnTo>
                    <a:pt x="142208" y="86296"/>
                  </a:lnTo>
                  <a:lnTo>
                    <a:pt x="136112" y="83153"/>
                  </a:lnTo>
                  <a:lnTo>
                    <a:pt x="130492" y="76771"/>
                  </a:lnTo>
                  <a:lnTo>
                    <a:pt x="133445" y="70104"/>
                  </a:lnTo>
                  <a:lnTo>
                    <a:pt x="130016" y="63722"/>
                  </a:lnTo>
                  <a:lnTo>
                    <a:pt x="137541" y="63722"/>
                  </a:lnTo>
                  <a:lnTo>
                    <a:pt x="136684" y="56769"/>
                  </a:lnTo>
                  <a:lnTo>
                    <a:pt x="140017" y="52483"/>
                  </a:lnTo>
                  <a:lnTo>
                    <a:pt x="144685" y="52483"/>
                  </a:lnTo>
                  <a:lnTo>
                    <a:pt x="146304" y="48768"/>
                  </a:lnTo>
                  <a:lnTo>
                    <a:pt x="142684" y="39434"/>
                  </a:lnTo>
                  <a:lnTo>
                    <a:pt x="150114" y="36767"/>
                  </a:lnTo>
                  <a:lnTo>
                    <a:pt x="148018" y="33719"/>
                  </a:lnTo>
                  <a:lnTo>
                    <a:pt x="130111" y="31528"/>
                  </a:lnTo>
                  <a:lnTo>
                    <a:pt x="127540" y="21812"/>
                  </a:lnTo>
                  <a:lnTo>
                    <a:pt x="122968" y="21622"/>
                  </a:lnTo>
                  <a:lnTo>
                    <a:pt x="124587" y="15526"/>
                  </a:lnTo>
                  <a:lnTo>
                    <a:pt x="119920" y="13621"/>
                  </a:lnTo>
                  <a:lnTo>
                    <a:pt x="120872" y="8382"/>
                  </a:lnTo>
                  <a:lnTo>
                    <a:pt x="117634" y="7429"/>
                  </a:lnTo>
                  <a:lnTo>
                    <a:pt x="113347" y="6191"/>
                  </a:lnTo>
                  <a:lnTo>
                    <a:pt x="107728" y="9144"/>
                  </a:lnTo>
                  <a:lnTo>
                    <a:pt x="103251" y="0"/>
                  </a:lnTo>
                  <a:lnTo>
                    <a:pt x="98869" y="5048"/>
                  </a:lnTo>
                  <a:lnTo>
                    <a:pt x="88011" y="191"/>
                  </a:lnTo>
                  <a:lnTo>
                    <a:pt x="78676" y="191"/>
                  </a:lnTo>
                  <a:lnTo>
                    <a:pt x="74962" y="4667"/>
                  </a:lnTo>
                  <a:lnTo>
                    <a:pt x="70104" y="6477"/>
                  </a:lnTo>
                  <a:lnTo>
                    <a:pt x="59817" y="17717"/>
                  </a:lnTo>
                  <a:lnTo>
                    <a:pt x="50292" y="19241"/>
                  </a:lnTo>
                  <a:lnTo>
                    <a:pt x="48292" y="30099"/>
                  </a:lnTo>
                  <a:lnTo>
                    <a:pt x="52102" y="36195"/>
                  </a:lnTo>
                  <a:lnTo>
                    <a:pt x="48482" y="44482"/>
                  </a:lnTo>
                  <a:lnTo>
                    <a:pt x="48482" y="57817"/>
                  </a:lnTo>
                  <a:lnTo>
                    <a:pt x="43339" y="66675"/>
                  </a:lnTo>
                  <a:lnTo>
                    <a:pt x="0" y="91345"/>
                  </a:lnTo>
                  <a:lnTo>
                    <a:pt x="5048" y="108585"/>
                  </a:lnTo>
                  <a:lnTo>
                    <a:pt x="2286" y="111919"/>
                  </a:lnTo>
                  <a:lnTo>
                    <a:pt x="10954" y="113824"/>
                  </a:lnTo>
                  <a:lnTo>
                    <a:pt x="7048" y="117634"/>
                  </a:lnTo>
                  <a:lnTo>
                    <a:pt x="31718" y="122015"/>
                  </a:lnTo>
                  <a:lnTo>
                    <a:pt x="64770" y="140684"/>
                  </a:lnTo>
                  <a:lnTo>
                    <a:pt x="116967" y="182499"/>
                  </a:lnTo>
                  <a:lnTo>
                    <a:pt x="150590" y="185166"/>
                  </a:lnTo>
                  <a:lnTo>
                    <a:pt x="150590" y="185166"/>
                  </a:lnTo>
                  <a:lnTo>
                    <a:pt x="164782" y="165545"/>
                  </a:lnTo>
                  <a:lnTo>
                    <a:pt x="182499" y="166402"/>
                  </a:lnTo>
                  <a:lnTo>
                    <a:pt x="188976" y="170783"/>
                  </a:lnTo>
                  <a:lnTo>
                    <a:pt x="192596" y="166402"/>
                  </a:lnTo>
                  <a:lnTo>
                    <a:pt x="190214" y="16078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8" name="Freeform: Shape 2708">
              <a:extLst>
                <a:ext uri="{FF2B5EF4-FFF2-40B4-BE49-F238E27FC236}">
                  <a16:creationId xmlns:a16="http://schemas.microsoft.com/office/drawing/2014/main" id="{B31D293C-63B2-AE26-F543-31E9CE9C9D81}"/>
                </a:ext>
              </a:extLst>
            </p:cNvPr>
            <p:cNvSpPr/>
            <p:nvPr/>
          </p:nvSpPr>
          <p:spPr>
            <a:xfrm>
              <a:off x="2616612" y="3780980"/>
              <a:ext cx="382047" cy="318706"/>
            </a:xfrm>
            <a:custGeom>
              <a:avLst/>
              <a:gdLst>
                <a:gd name="connsiteX0" fmla="*/ 371094 w 382047"/>
                <a:gd name="connsiteY0" fmla="*/ 275177 h 318706"/>
                <a:gd name="connsiteX1" fmla="*/ 371475 w 382047"/>
                <a:gd name="connsiteY1" fmla="*/ 254222 h 318706"/>
                <a:gd name="connsiteX2" fmla="*/ 366331 w 382047"/>
                <a:gd name="connsiteY2" fmla="*/ 254889 h 318706"/>
                <a:gd name="connsiteX3" fmla="*/ 363855 w 382047"/>
                <a:gd name="connsiteY3" fmla="*/ 251079 h 318706"/>
                <a:gd name="connsiteX4" fmla="*/ 348996 w 382047"/>
                <a:gd name="connsiteY4" fmla="*/ 243364 h 318706"/>
                <a:gd name="connsiteX5" fmla="*/ 333470 w 382047"/>
                <a:gd name="connsiteY5" fmla="*/ 220504 h 318706"/>
                <a:gd name="connsiteX6" fmla="*/ 352330 w 382047"/>
                <a:gd name="connsiteY6" fmla="*/ 198691 h 318706"/>
                <a:gd name="connsiteX7" fmla="*/ 350330 w 382047"/>
                <a:gd name="connsiteY7" fmla="*/ 186690 h 318706"/>
                <a:gd name="connsiteX8" fmla="*/ 333184 w 382047"/>
                <a:gd name="connsiteY8" fmla="*/ 184118 h 318706"/>
                <a:gd name="connsiteX9" fmla="*/ 333184 w 382047"/>
                <a:gd name="connsiteY9" fmla="*/ 167640 h 318706"/>
                <a:gd name="connsiteX10" fmla="*/ 327850 w 382047"/>
                <a:gd name="connsiteY10" fmla="*/ 148971 h 318706"/>
                <a:gd name="connsiteX11" fmla="*/ 334804 w 382047"/>
                <a:gd name="connsiteY11" fmla="*/ 139255 h 318706"/>
                <a:gd name="connsiteX12" fmla="*/ 326517 w 382047"/>
                <a:gd name="connsiteY12" fmla="*/ 135922 h 318706"/>
                <a:gd name="connsiteX13" fmla="*/ 326517 w 382047"/>
                <a:gd name="connsiteY13" fmla="*/ 124682 h 318706"/>
                <a:gd name="connsiteX14" fmla="*/ 334423 w 382047"/>
                <a:gd name="connsiteY14" fmla="*/ 120968 h 318706"/>
                <a:gd name="connsiteX15" fmla="*/ 330803 w 382047"/>
                <a:gd name="connsiteY15" fmla="*/ 116110 h 318706"/>
                <a:gd name="connsiteX16" fmla="*/ 337471 w 382047"/>
                <a:gd name="connsiteY16" fmla="*/ 109728 h 318706"/>
                <a:gd name="connsiteX17" fmla="*/ 336518 w 382047"/>
                <a:gd name="connsiteY17" fmla="*/ 102298 h 318706"/>
                <a:gd name="connsiteX18" fmla="*/ 340709 w 382047"/>
                <a:gd name="connsiteY18" fmla="*/ 90678 h 318706"/>
                <a:gd name="connsiteX19" fmla="*/ 339757 w 382047"/>
                <a:gd name="connsiteY19" fmla="*/ 70485 h 318706"/>
                <a:gd name="connsiteX20" fmla="*/ 323564 w 382047"/>
                <a:gd name="connsiteY20" fmla="*/ 68675 h 318706"/>
                <a:gd name="connsiteX21" fmla="*/ 316992 w 382047"/>
                <a:gd name="connsiteY21" fmla="*/ 60007 h 318706"/>
                <a:gd name="connsiteX22" fmla="*/ 308705 w 382047"/>
                <a:gd name="connsiteY22" fmla="*/ 57817 h 318706"/>
                <a:gd name="connsiteX23" fmla="*/ 303752 w 382047"/>
                <a:gd name="connsiteY23" fmla="*/ 49530 h 318706"/>
                <a:gd name="connsiteX24" fmla="*/ 292227 w 382047"/>
                <a:gd name="connsiteY24" fmla="*/ 45815 h 318706"/>
                <a:gd name="connsiteX25" fmla="*/ 283750 w 382047"/>
                <a:gd name="connsiteY25" fmla="*/ 48196 h 318706"/>
                <a:gd name="connsiteX26" fmla="*/ 278987 w 382047"/>
                <a:gd name="connsiteY26" fmla="*/ 42863 h 318706"/>
                <a:gd name="connsiteX27" fmla="*/ 264890 w 382047"/>
                <a:gd name="connsiteY27" fmla="*/ 38957 h 318706"/>
                <a:gd name="connsiteX28" fmla="*/ 261842 w 382047"/>
                <a:gd name="connsiteY28" fmla="*/ 29432 h 318706"/>
                <a:gd name="connsiteX29" fmla="*/ 255651 w 382047"/>
                <a:gd name="connsiteY29" fmla="*/ 33147 h 318706"/>
                <a:gd name="connsiteX30" fmla="*/ 244602 w 382047"/>
                <a:gd name="connsiteY30" fmla="*/ 30956 h 318706"/>
                <a:gd name="connsiteX31" fmla="*/ 243649 w 382047"/>
                <a:gd name="connsiteY31" fmla="*/ 36481 h 318706"/>
                <a:gd name="connsiteX32" fmla="*/ 227457 w 382047"/>
                <a:gd name="connsiteY32" fmla="*/ 34957 h 318706"/>
                <a:gd name="connsiteX33" fmla="*/ 213931 w 382047"/>
                <a:gd name="connsiteY33" fmla="*/ 44005 h 318706"/>
                <a:gd name="connsiteX34" fmla="*/ 211264 w 382047"/>
                <a:gd name="connsiteY34" fmla="*/ 50292 h 318706"/>
                <a:gd name="connsiteX35" fmla="*/ 202025 w 382047"/>
                <a:gd name="connsiteY35" fmla="*/ 53340 h 318706"/>
                <a:gd name="connsiteX36" fmla="*/ 195072 w 382047"/>
                <a:gd name="connsiteY36" fmla="*/ 52959 h 318706"/>
                <a:gd name="connsiteX37" fmla="*/ 194977 w 382047"/>
                <a:gd name="connsiteY37" fmla="*/ 52864 h 318706"/>
                <a:gd name="connsiteX38" fmla="*/ 197263 w 382047"/>
                <a:gd name="connsiteY38" fmla="*/ 67246 h 318706"/>
                <a:gd name="connsiteX39" fmla="*/ 184118 w 382047"/>
                <a:gd name="connsiteY39" fmla="*/ 62008 h 318706"/>
                <a:gd name="connsiteX40" fmla="*/ 151638 w 382047"/>
                <a:gd name="connsiteY40" fmla="*/ 68104 h 318706"/>
                <a:gd name="connsiteX41" fmla="*/ 122968 w 382047"/>
                <a:gd name="connsiteY41" fmla="*/ 55816 h 318706"/>
                <a:gd name="connsiteX42" fmla="*/ 117538 w 382047"/>
                <a:gd name="connsiteY42" fmla="*/ 48006 h 318706"/>
                <a:gd name="connsiteX43" fmla="*/ 101251 w 382047"/>
                <a:gd name="connsiteY43" fmla="*/ 46196 h 318706"/>
                <a:gd name="connsiteX44" fmla="*/ 95059 w 382047"/>
                <a:gd name="connsiteY44" fmla="*/ 37433 h 318706"/>
                <a:gd name="connsiteX45" fmla="*/ 95345 w 382047"/>
                <a:gd name="connsiteY45" fmla="*/ 28289 h 318706"/>
                <a:gd name="connsiteX46" fmla="*/ 90773 w 382047"/>
                <a:gd name="connsiteY46" fmla="*/ 29432 h 318706"/>
                <a:gd name="connsiteX47" fmla="*/ 86963 w 382047"/>
                <a:gd name="connsiteY47" fmla="*/ 21527 h 318706"/>
                <a:gd name="connsiteX48" fmla="*/ 84392 w 382047"/>
                <a:gd name="connsiteY48" fmla="*/ 24384 h 318706"/>
                <a:gd name="connsiteX49" fmla="*/ 78200 w 382047"/>
                <a:gd name="connsiteY49" fmla="*/ 18574 h 318706"/>
                <a:gd name="connsiteX50" fmla="*/ 84868 w 382047"/>
                <a:gd name="connsiteY50" fmla="*/ 15240 h 318706"/>
                <a:gd name="connsiteX51" fmla="*/ 80200 w 382047"/>
                <a:gd name="connsiteY51" fmla="*/ 10001 h 318706"/>
                <a:gd name="connsiteX52" fmla="*/ 86773 w 382047"/>
                <a:gd name="connsiteY52" fmla="*/ 7334 h 318706"/>
                <a:gd name="connsiteX53" fmla="*/ 77533 w 382047"/>
                <a:gd name="connsiteY53" fmla="*/ 0 h 318706"/>
                <a:gd name="connsiteX54" fmla="*/ 62484 w 382047"/>
                <a:gd name="connsiteY54" fmla="*/ 8191 h 318706"/>
                <a:gd name="connsiteX55" fmla="*/ 60293 w 382047"/>
                <a:gd name="connsiteY55" fmla="*/ 12763 h 318706"/>
                <a:gd name="connsiteX56" fmla="*/ 56007 w 382047"/>
                <a:gd name="connsiteY56" fmla="*/ 12478 h 318706"/>
                <a:gd name="connsiteX57" fmla="*/ 49435 w 382047"/>
                <a:gd name="connsiteY57" fmla="*/ 19336 h 318706"/>
                <a:gd name="connsiteX58" fmla="*/ 45148 w 382047"/>
                <a:gd name="connsiteY58" fmla="*/ 18193 h 318706"/>
                <a:gd name="connsiteX59" fmla="*/ 42577 w 382047"/>
                <a:gd name="connsiteY59" fmla="*/ 19907 h 318706"/>
                <a:gd name="connsiteX60" fmla="*/ 41148 w 382047"/>
                <a:gd name="connsiteY60" fmla="*/ 20860 h 318706"/>
                <a:gd name="connsiteX61" fmla="*/ 27146 w 382047"/>
                <a:gd name="connsiteY61" fmla="*/ 16669 h 318706"/>
                <a:gd name="connsiteX62" fmla="*/ 25717 w 382047"/>
                <a:gd name="connsiteY62" fmla="*/ 12192 h 318706"/>
                <a:gd name="connsiteX63" fmla="*/ 18478 w 382047"/>
                <a:gd name="connsiteY63" fmla="*/ 8001 h 318706"/>
                <a:gd name="connsiteX64" fmla="*/ 16954 w 382047"/>
                <a:gd name="connsiteY64" fmla="*/ 2857 h 318706"/>
                <a:gd name="connsiteX65" fmla="*/ 13525 w 382047"/>
                <a:gd name="connsiteY65" fmla="*/ 571 h 318706"/>
                <a:gd name="connsiteX66" fmla="*/ 8572 w 382047"/>
                <a:gd name="connsiteY66" fmla="*/ 190 h 318706"/>
                <a:gd name="connsiteX67" fmla="*/ 6667 w 382047"/>
                <a:gd name="connsiteY67" fmla="*/ 7239 h 318706"/>
                <a:gd name="connsiteX68" fmla="*/ 0 w 382047"/>
                <a:gd name="connsiteY68" fmla="*/ 7334 h 318706"/>
                <a:gd name="connsiteX69" fmla="*/ 4953 w 382047"/>
                <a:gd name="connsiteY69" fmla="*/ 18955 h 318706"/>
                <a:gd name="connsiteX70" fmla="*/ 3619 w 382047"/>
                <a:gd name="connsiteY70" fmla="*/ 28004 h 318706"/>
                <a:gd name="connsiteX71" fmla="*/ 9049 w 382047"/>
                <a:gd name="connsiteY71" fmla="*/ 29432 h 318706"/>
                <a:gd name="connsiteX72" fmla="*/ 3619 w 382047"/>
                <a:gd name="connsiteY72" fmla="*/ 40577 h 318706"/>
                <a:gd name="connsiteX73" fmla="*/ 11525 w 382047"/>
                <a:gd name="connsiteY73" fmla="*/ 44672 h 318706"/>
                <a:gd name="connsiteX74" fmla="*/ 11144 w 382047"/>
                <a:gd name="connsiteY74" fmla="*/ 51054 h 318706"/>
                <a:gd name="connsiteX75" fmla="*/ 16288 w 382047"/>
                <a:gd name="connsiteY75" fmla="*/ 53626 h 318706"/>
                <a:gd name="connsiteX76" fmla="*/ 14192 w 382047"/>
                <a:gd name="connsiteY76" fmla="*/ 59436 h 318706"/>
                <a:gd name="connsiteX77" fmla="*/ 17431 w 382047"/>
                <a:gd name="connsiteY77" fmla="*/ 60388 h 318706"/>
                <a:gd name="connsiteX78" fmla="*/ 16478 w 382047"/>
                <a:gd name="connsiteY78" fmla="*/ 65627 h 318706"/>
                <a:gd name="connsiteX79" fmla="*/ 21145 w 382047"/>
                <a:gd name="connsiteY79" fmla="*/ 67532 h 318706"/>
                <a:gd name="connsiteX80" fmla="*/ 19526 w 382047"/>
                <a:gd name="connsiteY80" fmla="*/ 73628 h 318706"/>
                <a:gd name="connsiteX81" fmla="*/ 24098 w 382047"/>
                <a:gd name="connsiteY81" fmla="*/ 73819 h 318706"/>
                <a:gd name="connsiteX82" fmla="*/ 26670 w 382047"/>
                <a:gd name="connsiteY82" fmla="*/ 83534 h 318706"/>
                <a:gd name="connsiteX83" fmla="*/ 44577 w 382047"/>
                <a:gd name="connsiteY83" fmla="*/ 85725 h 318706"/>
                <a:gd name="connsiteX84" fmla="*/ 46672 w 382047"/>
                <a:gd name="connsiteY84" fmla="*/ 88773 h 318706"/>
                <a:gd name="connsiteX85" fmla="*/ 39243 w 382047"/>
                <a:gd name="connsiteY85" fmla="*/ 91440 h 318706"/>
                <a:gd name="connsiteX86" fmla="*/ 42863 w 382047"/>
                <a:gd name="connsiteY86" fmla="*/ 100774 h 318706"/>
                <a:gd name="connsiteX87" fmla="*/ 41243 w 382047"/>
                <a:gd name="connsiteY87" fmla="*/ 104489 h 318706"/>
                <a:gd name="connsiteX88" fmla="*/ 36576 w 382047"/>
                <a:gd name="connsiteY88" fmla="*/ 104489 h 318706"/>
                <a:gd name="connsiteX89" fmla="*/ 33242 w 382047"/>
                <a:gd name="connsiteY89" fmla="*/ 108775 h 318706"/>
                <a:gd name="connsiteX90" fmla="*/ 34099 w 382047"/>
                <a:gd name="connsiteY90" fmla="*/ 115729 h 318706"/>
                <a:gd name="connsiteX91" fmla="*/ 26575 w 382047"/>
                <a:gd name="connsiteY91" fmla="*/ 115729 h 318706"/>
                <a:gd name="connsiteX92" fmla="*/ 30004 w 382047"/>
                <a:gd name="connsiteY92" fmla="*/ 122111 h 318706"/>
                <a:gd name="connsiteX93" fmla="*/ 27051 w 382047"/>
                <a:gd name="connsiteY93" fmla="*/ 128778 h 318706"/>
                <a:gd name="connsiteX94" fmla="*/ 32671 w 382047"/>
                <a:gd name="connsiteY94" fmla="*/ 135160 h 318706"/>
                <a:gd name="connsiteX95" fmla="*/ 38767 w 382047"/>
                <a:gd name="connsiteY95" fmla="*/ 138303 h 318706"/>
                <a:gd name="connsiteX96" fmla="*/ 42577 w 382047"/>
                <a:gd name="connsiteY96" fmla="*/ 145066 h 318706"/>
                <a:gd name="connsiteX97" fmla="*/ 39910 w 382047"/>
                <a:gd name="connsiteY97" fmla="*/ 150971 h 318706"/>
                <a:gd name="connsiteX98" fmla="*/ 47149 w 382047"/>
                <a:gd name="connsiteY98" fmla="*/ 151924 h 318706"/>
                <a:gd name="connsiteX99" fmla="*/ 61246 w 382047"/>
                <a:gd name="connsiteY99" fmla="*/ 162306 h 318706"/>
                <a:gd name="connsiteX100" fmla="*/ 67246 w 382047"/>
                <a:gd name="connsiteY100" fmla="*/ 161449 h 318706"/>
                <a:gd name="connsiteX101" fmla="*/ 68961 w 382047"/>
                <a:gd name="connsiteY101" fmla="*/ 169545 h 318706"/>
                <a:gd name="connsiteX102" fmla="*/ 75914 w 382047"/>
                <a:gd name="connsiteY102" fmla="*/ 177355 h 318706"/>
                <a:gd name="connsiteX103" fmla="*/ 72580 w 382047"/>
                <a:gd name="connsiteY103" fmla="*/ 186309 h 318706"/>
                <a:gd name="connsiteX104" fmla="*/ 72580 w 382047"/>
                <a:gd name="connsiteY104" fmla="*/ 195263 h 318706"/>
                <a:gd name="connsiteX105" fmla="*/ 79248 w 382047"/>
                <a:gd name="connsiteY105" fmla="*/ 195263 h 318706"/>
                <a:gd name="connsiteX106" fmla="*/ 79248 w 382047"/>
                <a:gd name="connsiteY106" fmla="*/ 205359 h 318706"/>
                <a:gd name="connsiteX107" fmla="*/ 86773 w 382047"/>
                <a:gd name="connsiteY107" fmla="*/ 212788 h 318706"/>
                <a:gd name="connsiteX108" fmla="*/ 89154 w 382047"/>
                <a:gd name="connsiteY108" fmla="*/ 218408 h 318706"/>
                <a:gd name="connsiteX109" fmla="*/ 120110 w 382047"/>
                <a:gd name="connsiteY109" fmla="*/ 214598 h 318706"/>
                <a:gd name="connsiteX110" fmla="*/ 136684 w 382047"/>
                <a:gd name="connsiteY110" fmla="*/ 237363 h 318706"/>
                <a:gd name="connsiteX111" fmla="*/ 144209 w 382047"/>
                <a:gd name="connsiteY111" fmla="*/ 258413 h 318706"/>
                <a:gd name="connsiteX112" fmla="*/ 167735 w 382047"/>
                <a:gd name="connsiteY112" fmla="*/ 267843 h 318706"/>
                <a:gd name="connsiteX113" fmla="*/ 186214 w 382047"/>
                <a:gd name="connsiteY113" fmla="*/ 281559 h 318706"/>
                <a:gd name="connsiteX114" fmla="*/ 191834 w 382047"/>
                <a:gd name="connsiteY114" fmla="*/ 287083 h 318706"/>
                <a:gd name="connsiteX115" fmla="*/ 209931 w 382047"/>
                <a:gd name="connsiteY115" fmla="*/ 291370 h 318706"/>
                <a:gd name="connsiteX116" fmla="*/ 222218 w 382047"/>
                <a:gd name="connsiteY116" fmla="*/ 285369 h 318706"/>
                <a:gd name="connsiteX117" fmla="*/ 226790 w 382047"/>
                <a:gd name="connsiteY117" fmla="*/ 285750 h 318706"/>
                <a:gd name="connsiteX118" fmla="*/ 243935 w 382047"/>
                <a:gd name="connsiteY118" fmla="*/ 276606 h 318706"/>
                <a:gd name="connsiteX119" fmla="*/ 253270 w 382047"/>
                <a:gd name="connsiteY119" fmla="*/ 278035 h 318706"/>
                <a:gd name="connsiteX120" fmla="*/ 258509 w 382047"/>
                <a:gd name="connsiteY120" fmla="*/ 287846 h 318706"/>
                <a:gd name="connsiteX121" fmla="*/ 263176 w 382047"/>
                <a:gd name="connsiteY121" fmla="*/ 306419 h 318706"/>
                <a:gd name="connsiteX122" fmla="*/ 297466 w 382047"/>
                <a:gd name="connsiteY122" fmla="*/ 314420 h 318706"/>
                <a:gd name="connsiteX123" fmla="*/ 327184 w 382047"/>
                <a:gd name="connsiteY123" fmla="*/ 313754 h 318706"/>
                <a:gd name="connsiteX124" fmla="*/ 348329 w 382047"/>
                <a:gd name="connsiteY124" fmla="*/ 318706 h 318706"/>
                <a:gd name="connsiteX125" fmla="*/ 352901 w 382047"/>
                <a:gd name="connsiteY125" fmla="*/ 296894 h 318706"/>
                <a:gd name="connsiteX126" fmla="*/ 363664 w 382047"/>
                <a:gd name="connsiteY126" fmla="*/ 288512 h 318706"/>
                <a:gd name="connsiteX127" fmla="*/ 379476 w 382047"/>
                <a:gd name="connsiteY127" fmla="*/ 287464 h 318706"/>
                <a:gd name="connsiteX128" fmla="*/ 382048 w 382047"/>
                <a:gd name="connsiteY128" fmla="*/ 275177 h 318706"/>
                <a:gd name="connsiteX129" fmla="*/ 371094 w 382047"/>
                <a:gd name="connsiteY129" fmla="*/ 275177 h 31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382047" h="318706">
                  <a:moveTo>
                    <a:pt x="371094" y="275177"/>
                  </a:moveTo>
                  <a:lnTo>
                    <a:pt x="371475" y="254222"/>
                  </a:lnTo>
                  <a:lnTo>
                    <a:pt x="366331" y="254889"/>
                  </a:lnTo>
                  <a:lnTo>
                    <a:pt x="363855" y="251079"/>
                  </a:lnTo>
                  <a:lnTo>
                    <a:pt x="348996" y="243364"/>
                  </a:lnTo>
                  <a:lnTo>
                    <a:pt x="333470" y="220504"/>
                  </a:lnTo>
                  <a:lnTo>
                    <a:pt x="352330" y="198691"/>
                  </a:lnTo>
                  <a:lnTo>
                    <a:pt x="350330" y="186690"/>
                  </a:lnTo>
                  <a:lnTo>
                    <a:pt x="333184" y="184118"/>
                  </a:lnTo>
                  <a:lnTo>
                    <a:pt x="333184" y="167640"/>
                  </a:lnTo>
                  <a:lnTo>
                    <a:pt x="327850" y="148971"/>
                  </a:lnTo>
                  <a:lnTo>
                    <a:pt x="334804" y="139255"/>
                  </a:lnTo>
                  <a:lnTo>
                    <a:pt x="326517" y="135922"/>
                  </a:lnTo>
                  <a:lnTo>
                    <a:pt x="326517" y="124682"/>
                  </a:lnTo>
                  <a:lnTo>
                    <a:pt x="334423" y="120968"/>
                  </a:lnTo>
                  <a:lnTo>
                    <a:pt x="330803" y="116110"/>
                  </a:lnTo>
                  <a:lnTo>
                    <a:pt x="337471" y="109728"/>
                  </a:lnTo>
                  <a:lnTo>
                    <a:pt x="336518" y="102298"/>
                  </a:lnTo>
                  <a:lnTo>
                    <a:pt x="340709" y="90678"/>
                  </a:lnTo>
                  <a:lnTo>
                    <a:pt x="339757" y="70485"/>
                  </a:lnTo>
                  <a:lnTo>
                    <a:pt x="323564" y="68675"/>
                  </a:lnTo>
                  <a:lnTo>
                    <a:pt x="316992" y="60007"/>
                  </a:lnTo>
                  <a:lnTo>
                    <a:pt x="308705" y="57817"/>
                  </a:lnTo>
                  <a:lnTo>
                    <a:pt x="303752" y="49530"/>
                  </a:lnTo>
                  <a:lnTo>
                    <a:pt x="292227" y="45815"/>
                  </a:lnTo>
                  <a:lnTo>
                    <a:pt x="283750" y="48196"/>
                  </a:lnTo>
                  <a:lnTo>
                    <a:pt x="278987" y="42863"/>
                  </a:lnTo>
                  <a:lnTo>
                    <a:pt x="264890" y="38957"/>
                  </a:lnTo>
                  <a:lnTo>
                    <a:pt x="261842" y="29432"/>
                  </a:lnTo>
                  <a:lnTo>
                    <a:pt x="255651" y="33147"/>
                  </a:lnTo>
                  <a:lnTo>
                    <a:pt x="244602" y="30956"/>
                  </a:lnTo>
                  <a:lnTo>
                    <a:pt x="243649" y="36481"/>
                  </a:lnTo>
                  <a:lnTo>
                    <a:pt x="227457" y="34957"/>
                  </a:lnTo>
                  <a:lnTo>
                    <a:pt x="213931" y="44005"/>
                  </a:lnTo>
                  <a:lnTo>
                    <a:pt x="211264" y="50292"/>
                  </a:lnTo>
                  <a:lnTo>
                    <a:pt x="202025" y="53340"/>
                  </a:lnTo>
                  <a:lnTo>
                    <a:pt x="195072" y="52959"/>
                  </a:lnTo>
                  <a:lnTo>
                    <a:pt x="194977" y="52864"/>
                  </a:lnTo>
                  <a:lnTo>
                    <a:pt x="197263" y="67246"/>
                  </a:lnTo>
                  <a:lnTo>
                    <a:pt x="184118" y="62008"/>
                  </a:lnTo>
                  <a:lnTo>
                    <a:pt x="151638" y="68104"/>
                  </a:lnTo>
                  <a:lnTo>
                    <a:pt x="122968" y="55816"/>
                  </a:lnTo>
                  <a:lnTo>
                    <a:pt x="117538" y="48006"/>
                  </a:lnTo>
                  <a:lnTo>
                    <a:pt x="101251" y="46196"/>
                  </a:lnTo>
                  <a:lnTo>
                    <a:pt x="95059" y="37433"/>
                  </a:lnTo>
                  <a:lnTo>
                    <a:pt x="95345" y="28289"/>
                  </a:lnTo>
                  <a:lnTo>
                    <a:pt x="90773" y="29432"/>
                  </a:lnTo>
                  <a:lnTo>
                    <a:pt x="86963" y="21527"/>
                  </a:lnTo>
                  <a:lnTo>
                    <a:pt x="84392" y="24384"/>
                  </a:lnTo>
                  <a:lnTo>
                    <a:pt x="78200" y="18574"/>
                  </a:lnTo>
                  <a:lnTo>
                    <a:pt x="84868" y="15240"/>
                  </a:lnTo>
                  <a:lnTo>
                    <a:pt x="80200" y="10001"/>
                  </a:lnTo>
                  <a:lnTo>
                    <a:pt x="86773" y="7334"/>
                  </a:lnTo>
                  <a:lnTo>
                    <a:pt x="77533" y="0"/>
                  </a:lnTo>
                  <a:lnTo>
                    <a:pt x="62484" y="8191"/>
                  </a:lnTo>
                  <a:lnTo>
                    <a:pt x="60293" y="12763"/>
                  </a:lnTo>
                  <a:lnTo>
                    <a:pt x="56007" y="12478"/>
                  </a:lnTo>
                  <a:lnTo>
                    <a:pt x="49435" y="19336"/>
                  </a:lnTo>
                  <a:lnTo>
                    <a:pt x="45148" y="18193"/>
                  </a:lnTo>
                  <a:lnTo>
                    <a:pt x="42577" y="19907"/>
                  </a:lnTo>
                  <a:lnTo>
                    <a:pt x="41148" y="20860"/>
                  </a:lnTo>
                  <a:lnTo>
                    <a:pt x="27146" y="16669"/>
                  </a:lnTo>
                  <a:lnTo>
                    <a:pt x="25717" y="12192"/>
                  </a:lnTo>
                  <a:lnTo>
                    <a:pt x="18478" y="8001"/>
                  </a:lnTo>
                  <a:lnTo>
                    <a:pt x="16954" y="2857"/>
                  </a:lnTo>
                  <a:lnTo>
                    <a:pt x="13525" y="571"/>
                  </a:lnTo>
                  <a:lnTo>
                    <a:pt x="8572" y="190"/>
                  </a:lnTo>
                  <a:lnTo>
                    <a:pt x="6667" y="7239"/>
                  </a:lnTo>
                  <a:lnTo>
                    <a:pt x="0" y="7334"/>
                  </a:lnTo>
                  <a:lnTo>
                    <a:pt x="4953" y="18955"/>
                  </a:lnTo>
                  <a:lnTo>
                    <a:pt x="3619" y="28004"/>
                  </a:lnTo>
                  <a:lnTo>
                    <a:pt x="9049" y="29432"/>
                  </a:lnTo>
                  <a:lnTo>
                    <a:pt x="3619" y="40577"/>
                  </a:lnTo>
                  <a:lnTo>
                    <a:pt x="11525" y="44672"/>
                  </a:lnTo>
                  <a:lnTo>
                    <a:pt x="11144" y="51054"/>
                  </a:lnTo>
                  <a:lnTo>
                    <a:pt x="16288" y="53626"/>
                  </a:lnTo>
                  <a:lnTo>
                    <a:pt x="14192" y="59436"/>
                  </a:lnTo>
                  <a:lnTo>
                    <a:pt x="17431" y="60388"/>
                  </a:lnTo>
                  <a:lnTo>
                    <a:pt x="16478" y="65627"/>
                  </a:lnTo>
                  <a:lnTo>
                    <a:pt x="21145" y="67532"/>
                  </a:lnTo>
                  <a:lnTo>
                    <a:pt x="19526" y="73628"/>
                  </a:lnTo>
                  <a:lnTo>
                    <a:pt x="24098" y="73819"/>
                  </a:lnTo>
                  <a:lnTo>
                    <a:pt x="26670" y="83534"/>
                  </a:lnTo>
                  <a:lnTo>
                    <a:pt x="44577" y="85725"/>
                  </a:lnTo>
                  <a:lnTo>
                    <a:pt x="46672" y="88773"/>
                  </a:lnTo>
                  <a:lnTo>
                    <a:pt x="39243" y="91440"/>
                  </a:lnTo>
                  <a:lnTo>
                    <a:pt x="42863" y="100774"/>
                  </a:lnTo>
                  <a:lnTo>
                    <a:pt x="41243" y="104489"/>
                  </a:lnTo>
                  <a:lnTo>
                    <a:pt x="36576" y="104489"/>
                  </a:lnTo>
                  <a:lnTo>
                    <a:pt x="33242" y="108775"/>
                  </a:lnTo>
                  <a:lnTo>
                    <a:pt x="34099" y="115729"/>
                  </a:lnTo>
                  <a:lnTo>
                    <a:pt x="26575" y="115729"/>
                  </a:lnTo>
                  <a:lnTo>
                    <a:pt x="30004" y="122111"/>
                  </a:lnTo>
                  <a:lnTo>
                    <a:pt x="27051" y="128778"/>
                  </a:lnTo>
                  <a:lnTo>
                    <a:pt x="32671" y="135160"/>
                  </a:lnTo>
                  <a:lnTo>
                    <a:pt x="38767" y="138303"/>
                  </a:lnTo>
                  <a:lnTo>
                    <a:pt x="42577" y="145066"/>
                  </a:lnTo>
                  <a:lnTo>
                    <a:pt x="39910" y="150971"/>
                  </a:lnTo>
                  <a:lnTo>
                    <a:pt x="47149" y="151924"/>
                  </a:lnTo>
                  <a:lnTo>
                    <a:pt x="61246" y="162306"/>
                  </a:lnTo>
                  <a:lnTo>
                    <a:pt x="67246" y="161449"/>
                  </a:lnTo>
                  <a:lnTo>
                    <a:pt x="68961" y="169545"/>
                  </a:lnTo>
                  <a:lnTo>
                    <a:pt x="75914" y="177355"/>
                  </a:lnTo>
                  <a:lnTo>
                    <a:pt x="72580" y="186309"/>
                  </a:lnTo>
                  <a:lnTo>
                    <a:pt x="72580" y="195263"/>
                  </a:lnTo>
                  <a:lnTo>
                    <a:pt x="79248" y="195263"/>
                  </a:lnTo>
                  <a:lnTo>
                    <a:pt x="79248" y="205359"/>
                  </a:lnTo>
                  <a:lnTo>
                    <a:pt x="86773" y="212788"/>
                  </a:lnTo>
                  <a:lnTo>
                    <a:pt x="89154" y="218408"/>
                  </a:lnTo>
                  <a:lnTo>
                    <a:pt x="120110" y="214598"/>
                  </a:lnTo>
                  <a:lnTo>
                    <a:pt x="136684" y="237363"/>
                  </a:lnTo>
                  <a:lnTo>
                    <a:pt x="144209" y="258413"/>
                  </a:lnTo>
                  <a:lnTo>
                    <a:pt x="167735" y="267843"/>
                  </a:lnTo>
                  <a:lnTo>
                    <a:pt x="186214" y="281559"/>
                  </a:lnTo>
                  <a:lnTo>
                    <a:pt x="191834" y="287083"/>
                  </a:lnTo>
                  <a:lnTo>
                    <a:pt x="209931" y="291370"/>
                  </a:lnTo>
                  <a:lnTo>
                    <a:pt x="222218" y="285369"/>
                  </a:lnTo>
                  <a:lnTo>
                    <a:pt x="226790" y="285750"/>
                  </a:lnTo>
                  <a:lnTo>
                    <a:pt x="243935" y="276606"/>
                  </a:lnTo>
                  <a:lnTo>
                    <a:pt x="253270" y="278035"/>
                  </a:lnTo>
                  <a:lnTo>
                    <a:pt x="258509" y="287846"/>
                  </a:lnTo>
                  <a:lnTo>
                    <a:pt x="263176" y="306419"/>
                  </a:lnTo>
                  <a:lnTo>
                    <a:pt x="297466" y="314420"/>
                  </a:lnTo>
                  <a:lnTo>
                    <a:pt x="327184" y="313754"/>
                  </a:lnTo>
                  <a:lnTo>
                    <a:pt x="348329" y="318706"/>
                  </a:lnTo>
                  <a:lnTo>
                    <a:pt x="352901" y="296894"/>
                  </a:lnTo>
                  <a:lnTo>
                    <a:pt x="363664" y="288512"/>
                  </a:lnTo>
                  <a:lnTo>
                    <a:pt x="379476" y="287464"/>
                  </a:lnTo>
                  <a:lnTo>
                    <a:pt x="382048" y="275177"/>
                  </a:lnTo>
                  <a:lnTo>
                    <a:pt x="371094" y="27517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19" name="Freeform: Shape 2709">
              <a:extLst>
                <a:ext uri="{FF2B5EF4-FFF2-40B4-BE49-F238E27FC236}">
                  <a16:creationId xmlns:a16="http://schemas.microsoft.com/office/drawing/2014/main" id="{E884DE8E-D12A-AC4C-536A-7D184C950744}"/>
                </a:ext>
              </a:extLst>
            </p:cNvPr>
            <p:cNvSpPr/>
            <p:nvPr/>
          </p:nvSpPr>
          <p:spPr>
            <a:xfrm>
              <a:off x="3900677" y="4522692"/>
              <a:ext cx="200025" cy="169735"/>
            </a:xfrm>
            <a:custGeom>
              <a:avLst/>
              <a:gdLst>
                <a:gd name="connsiteX0" fmla="*/ 1334 w 200025"/>
                <a:gd name="connsiteY0" fmla="*/ 80581 h 169735"/>
                <a:gd name="connsiteX1" fmla="*/ 8954 w 200025"/>
                <a:gd name="connsiteY1" fmla="*/ 86868 h 169735"/>
                <a:gd name="connsiteX2" fmla="*/ 5334 w 200025"/>
                <a:gd name="connsiteY2" fmla="*/ 96774 h 169735"/>
                <a:gd name="connsiteX3" fmla="*/ 23813 w 200025"/>
                <a:gd name="connsiteY3" fmla="*/ 113347 h 169735"/>
                <a:gd name="connsiteX4" fmla="*/ 20860 w 200025"/>
                <a:gd name="connsiteY4" fmla="*/ 123254 h 169735"/>
                <a:gd name="connsiteX5" fmla="*/ 28480 w 200025"/>
                <a:gd name="connsiteY5" fmla="*/ 137065 h 169735"/>
                <a:gd name="connsiteX6" fmla="*/ 27432 w 200025"/>
                <a:gd name="connsiteY6" fmla="*/ 146018 h 169735"/>
                <a:gd name="connsiteX7" fmla="*/ 52007 w 200025"/>
                <a:gd name="connsiteY7" fmla="*/ 147352 h 169735"/>
                <a:gd name="connsiteX8" fmla="*/ 57531 w 200025"/>
                <a:gd name="connsiteY8" fmla="*/ 141351 h 169735"/>
                <a:gd name="connsiteX9" fmla="*/ 59817 w 200025"/>
                <a:gd name="connsiteY9" fmla="*/ 157544 h 169735"/>
                <a:gd name="connsiteX10" fmla="*/ 82963 w 200025"/>
                <a:gd name="connsiteY10" fmla="*/ 144971 h 169735"/>
                <a:gd name="connsiteX11" fmla="*/ 87059 w 200025"/>
                <a:gd name="connsiteY11" fmla="*/ 151447 h 169735"/>
                <a:gd name="connsiteX12" fmla="*/ 94488 w 200025"/>
                <a:gd name="connsiteY12" fmla="*/ 149638 h 169735"/>
                <a:gd name="connsiteX13" fmla="*/ 95441 w 200025"/>
                <a:gd name="connsiteY13" fmla="*/ 155924 h 169735"/>
                <a:gd name="connsiteX14" fmla="*/ 104394 w 200025"/>
                <a:gd name="connsiteY14" fmla="*/ 150304 h 169735"/>
                <a:gd name="connsiteX15" fmla="*/ 107156 w 200025"/>
                <a:gd name="connsiteY15" fmla="*/ 157163 h 169735"/>
                <a:gd name="connsiteX16" fmla="*/ 112967 w 200025"/>
                <a:gd name="connsiteY16" fmla="*/ 153257 h 169735"/>
                <a:gd name="connsiteX17" fmla="*/ 114586 w 200025"/>
                <a:gd name="connsiteY17" fmla="*/ 169736 h 169735"/>
                <a:gd name="connsiteX18" fmla="*/ 136112 w 200025"/>
                <a:gd name="connsiteY18" fmla="*/ 157639 h 169735"/>
                <a:gd name="connsiteX19" fmla="*/ 141732 w 200025"/>
                <a:gd name="connsiteY19" fmla="*/ 163830 h 169735"/>
                <a:gd name="connsiteX20" fmla="*/ 147352 w 200025"/>
                <a:gd name="connsiteY20" fmla="*/ 129826 h 169735"/>
                <a:gd name="connsiteX21" fmla="*/ 150590 w 200025"/>
                <a:gd name="connsiteY21" fmla="*/ 122206 h 169735"/>
                <a:gd name="connsiteX22" fmla="*/ 145828 w 200025"/>
                <a:gd name="connsiteY22" fmla="*/ 119920 h 169735"/>
                <a:gd name="connsiteX23" fmla="*/ 157925 w 200025"/>
                <a:gd name="connsiteY23" fmla="*/ 112300 h 169735"/>
                <a:gd name="connsiteX24" fmla="*/ 173736 w 200025"/>
                <a:gd name="connsiteY24" fmla="*/ 102108 h 169735"/>
                <a:gd name="connsiteX25" fmla="*/ 174022 w 200025"/>
                <a:gd name="connsiteY25" fmla="*/ 95155 h 169735"/>
                <a:gd name="connsiteX26" fmla="*/ 170783 w 200025"/>
                <a:gd name="connsiteY26" fmla="*/ 84582 h 169735"/>
                <a:gd name="connsiteX27" fmla="*/ 176403 w 200025"/>
                <a:gd name="connsiteY27" fmla="*/ 72390 h 169735"/>
                <a:gd name="connsiteX28" fmla="*/ 182023 w 200025"/>
                <a:gd name="connsiteY28" fmla="*/ 71056 h 169735"/>
                <a:gd name="connsiteX29" fmla="*/ 179356 w 200025"/>
                <a:gd name="connsiteY29" fmla="*/ 64770 h 169735"/>
                <a:gd name="connsiteX30" fmla="*/ 200025 w 200025"/>
                <a:gd name="connsiteY30" fmla="*/ 65246 h 169735"/>
                <a:gd name="connsiteX31" fmla="*/ 195453 w 200025"/>
                <a:gd name="connsiteY31" fmla="*/ 59627 h 169735"/>
                <a:gd name="connsiteX32" fmla="*/ 176403 w 200025"/>
                <a:gd name="connsiteY32" fmla="*/ 46577 h 169735"/>
                <a:gd name="connsiteX33" fmla="*/ 183261 w 200025"/>
                <a:gd name="connsiteY33" fmla="*/ 40957 h 169735"/>
                <a:gd name="connsiteX34" fmla="*/ 173736 w 200025"/>
                <a:gd name="connsiteY34" fmla="*/ 25813 h 169735"/>
                <a:gd name="connsiteX35" fmla="*/ 166783 w 200025"/>
                <a:gd name="connsiteY35" fmla="*/ 23146 h 169735"/>
                <a:gd name="connsiteX36" fmla="*/ 170402 w 200025"/>
                <a:gd name="connsiteY36" fmla="*/ 18860 h 169735"/>
                <a:gd name="connsiteX37" fmla="*/ 162211 w 200025"/>
                <a:gd name="connsiteY37" fmla="*/ 15526 h 169735"/>
                <a:gd name="connsiteX38" fmla="*/ 172212 w 200025"/>
                <a:gd name="connsiteY38" fmla="*/ 4381 h 169735"/>
                <a:gd name="connsiteX39" fmla="*/ 172212 w 200025"/>
                <a:gd name="connsiteY39" fmla="*/ 4381 h 169735"/>
                <a:gd name="connsiteX40" fmla="*/ 166116 w 200025"/>
                <a:gd name="connsiteY40" fmla="*/ 381 h 169735"/>
                <a:gd name="connsiteX41" fmla="*/ 156591 w 200025"/>
                <a:gd name="connsiteY41" fmla="*/ 381 h 169735"/>
                <a:gd name="connsiteX42" fmla="*/ 151829 w 200025"/>
                <a:gd name="connsiteY42" fmla="*/ 2953 h 169735"/>
                <a:gd name="connsiteX43" fmla="*/ 148209 w 200025"/>
                <a:gd name="connsiteY43" fmla="*/ 0 h 169735"/>
                <a:gd name="connsiteX44" fmla="*/ 143446 w 200025"/>
                <a:gd name="connsiteY44" fmla="*/ 1905 h 169735"/>
                <a:gd name="connsiteX45" fmla="*/ 139351 w 200025"/>
                <a:gd name="connsiteY45" fmla="*/ 381 h 169735"/>
                <a:gd name="connsiteX46" fmla="*/ 134112 w 200025"/>
                <a:gd name="connsiteY46" fmla="*/ 10573 h 169735"/>
                <a:gd name="connsiteX47" fmla="*/ 135541 w 200025"/>
                <a:gd name="connsiteY47" fmla="*/ 17812 h 169735"/>
                <a:gd name="connsiteX48" fmla="*/ 132874 w 200025"/>
                <a:gd name="connsiteY48" fmla="*/ 20479 h 169735"/>
                <a:gd name="connsiteX49" fmla="*/ 130874 w 200025"/>
                <a:gd name="connsiteY49" fmla="*/ 28099 h 169735"/>
                <a:gd name="connsiteX50" fmla="*/ 125825 w 200025"/>
                <a:gd name="connsiteY50" fmla="*/ 26479 h 169735"/>
                <a:gd name="connsiteX51" fmla="*/ 123825 w 200025"/>
                <a:gd name="connsiteY51" fmla="*/ 34100 h 169735"/>
                <a:gd name="connsiteX52" fmla="*/ 126778 w 200025"/>
                <a:gd name="connsiteY52" fmla="*/ 37719 h 169735"/>
                <a:gd name="connsiteX53" fmla="*/ 116967 w 200025"/>
                <a:gd name="connsiteY53" fmla="*/ 42577 h 169735"/>
                <a:gd name="connsiteX54" fmla="*/ 118872 w 200025"/>
                <a:gd name="connsiteY54" fmla="*/ 48578 h 169735"/>
                <a:gd name="connsiteX55" fmla="*/ 113633 w 200025"/>
                <a:gd name="connsiteY55" fmla="*/ 58198 h 169735"/>
                <a:gd name="connsiteX56" fmla="*/ 110204 w 200025"/>
                <a:gd name="connsiteY56" fmla="*/ 56674 h 169735"/>
                <a:gd name="connsiteX57" fmla="*/ 106204 w 200025"/>
                <a:gd name="connsiteY57" fmla="*/ 58960 h 169735"/>
                <a:gd name="connsiteX58" fmla="*/ 100394 w 200025"/>
                <a:gd name="connsiteY58" fmla="*/ 57150 h 169735"/>
                <a:gd name="connsiteX59" fmla="*/ 95155 w 200025"/>
                <a:gd name="connsiteY59" fmla="*/ 62484 h 169735"/>
                <a:gd name="connsiteX60" fmla="*/ 83249 w 200025"/>
                <a:gd name="connsiteY60" fmla="*/ 58674 h 169735"/>
                <a:gd name="connsiteX61" fmla="*/ 83915 w 200025"/>
                <a:gd name="connsiteY61" fmla="*/ 55531 h 169735"/>
                <a:gd name="connsiteX62" fmla="*/ 72009 w 200025"/>
                <a:gd name="connsiteY62" fmla="*/ 55817 h 169735"/>
                <a:gd name="connsiteX63" fmla="*/ 66104 w 200025"/>
                <a:gd name="connsiteY63" fmla="*/ 58484 h 169735"/>
                <a:gd name="connsiteX64" fmla="*/ 65056 w 200025"/>
                <a:gd name="connsiteY64" fmla="*/ 64103 h 169735"/>
                <a:gd name="connsiteX65" fmla="*/ 60103 w 200025"/>
                <a:gd name="connsiteY65" fmla="*/ 66770 h 169735"/>
                <a:gd name="connsiteX66" fmla="*/ 56007 w 200025"/>
                <a:gd name="connsiteY66" fmla="*/ 65913 h 169735"/>
                <a:gd name="connsiteX67" fmla="*/ 52959 w 200025"/>
                <a:gd name="connsiteY67" fmla="*/ 69056 h 169735"/>
                <a:gd name="connsiteX68" fmla="*/ 47244 w 200025"/>
                <a:gd name="connsiteY68" fmla="*/ 65437 h 169735"/>
                <a:gd name="connsiteX69" fmla="*/ 33433 w 200025"/>
                <a:gd name="connsiteY69" fmla="*/ 70009 h 169735"/>
                <a:gd name="connsiteX70" fmla="*/ 16859 w 200025"/>
                <a:gd name="connsiteY70" fmla="*/ 55531 h 169735"/>
                <a:gd name="connsiteX71" fmla="*/ 15526 w 200025"/>
                <a:gd name="connsiteY71" fmla="*/ 46577 h 169735"/>
                <a:gd name="connsiteX72" fmla="*/ 16002 w 200025"/>
                <a:gd name="connsiteY72" fmla="*/ 46101 h 169735"/>
                <a:gd name="connsiteX73" fmla="*/ 15907 w 200025"/>
                <a:gd name="connsiteY73" fmla="*/ 45911 h 169735"/>
                <a:gd name="connsiteX74" fmla="*/ 0 w 200025"/>
                <a:gd name="connsiteY74" fmla="*/ 70676 h 169735"/>
                <a:gd name="connsiteX75" fmla="*/ 1334 w 200025"/>
                <a:gd name="connsiteY75" fmla="*/ 80581 h 1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00025" h="169735">
                  <a:moveTo>
                    <a:pt x="1334" y="80581"/>
                  </a:moveTo>
                  <a:lnTo>
                    <a:pt x="8954" y="86868"/>
                  </a:lnTo>
                  <a:lnTo>
                    <a:pt x="5334" y="96774"/>
                  </a:lnTo>
                  <a:lnTo>
                    <a:pt x="23813" y="113347"/>
                  </a:lnTo>
                  <a:lnTo>
                    <a:pt x="20860" y="123254"/>
                  </a:lnTo>
                  <a:lnTo>
                    <a:pt x="28480" y="137065"/>
                  </a:lnTo>
                  <a:lnTo>
                    <a:pt x="27432" y="146018"/>
                  </a:lnTo>
                  <a:lnTo>
                    <a:pt x="52007" y="147352"/>
                  </a:lnTo>
                  <a:lnTo>
                    <a:pt x="57531" y="141351"/>
                  </a:lnTo>
                  <a:lnTo>
                    <a:pt x="59817" y="157544"/>
                  </a:lnTo>
                  <a:lnTo>
                    <a:pt x="82963" y="144971"/>
                  </a:lnTo>
                  <a:lnTo>
                    <a:pt x="87059" y="151447"/>
                  </a:lnTo>
                  <a:lnTo>
                    <a:pt x="94488" y="149638"/>
                  </a:lnTo>
                  <a:lnTo>
                    <a:pt x="95441" y="155924"/>
                  </a:lnTo>
                  <a:lnTo>
                    <a:pt x="104394" y="150304"/>
                  </a:lnTo>
                  <a:lnTo>
                    <a:pt x="107156" y="157163"/>
                  </a:lnTo>
                  <a:lnTo>
                    <a:pt x="112967" y="153257"/>
                  </a:lnTo>
                  <a:lnTo>
                    <a:pt x="114586" y="169736"/>
                  </a:lnTo>
                  <a:lnTo>
                    <a:pt x="136112" y="157639"/>
                  </a:lnTo>
                  <a:lnTo>
                    <a:pt x="141732" y="163830"/>
                  </a:lnTo>
                  <a:lnTo>
                    <a:pt x="147352" y="129826"/>
                  </a:lnTo>
                  <a:lnTo>
                    <a:pt x="150590" y="122206"/>
                  </a:lnTo>
                  <a:lnTo>
                    <a:pt x="145828" y="119920"/>
                  </a:lnTo>
                  <a:lnTo>
                    <a:pt x="157925" y="112300"/>
                  </a:lnTo>
                  <a:lnTo>
                    <a:pt x="173736" y="102108"/>
                  </a:lnTo>
                  <a:lnTo>
                    <a:pt x="174022" y="95155"/>
                  </a:lnTo>
                  <a:lnTo>
                    <a:pt x="170783" y="84582"/>
                  </a:lnTo>
                  <a:lnTo>
                    <a:pt x="176403" y="72390"/>
                  </a:lnTo>
                  <a:lnTo>
                    <a:pt x="182023" y="71056"/>
                  </a:lnTo>
                  <a:lnTo>
                    <a:pt x="179356" y="64770"/>
                  </a:lnTo>
                  <a:lnTo>
                    <a:pt x="200025" y="65246"/>
                  </a:lnTo>
                  <a:lnTo>
                    <a:pt x="195453" y="59627"/>
                  </a:lnTo>
                  <a:lnTo>
                    <a:pt x="176403" y="46577"/>
                  </a:lnTo>
                  <a:lnTo>
                    <a:pt x="183261" y="40957"/>
                  </a:lnTo>
                  <a:lnTo>
                    <a:pt x="173736" y="25813"/>
                  </a:lnTo>
                  <a:lnTo>
                    <a:pt x="166783" y="23146"/>
                  </a:lnTo>
                  <a:lnTo>
                    <a:pt x="170402" y="18860"/>
                  </a:lnTo>
                  <a:lnTo>
                    <a:pt x="162211" y="15526"/>
                  </a:lnTo>
                  <a:lnTo>
                    <a:pt x="172212" y="4381"/>
                  </a:lnTo>
                  <a:lnTo>
                    <a:pt x="172212" y="4381"/>
                  </a:lnTo>
                  <a:lnTo>
                    <a:pt x="166116" y="381"/>
                  </a:lnTo>
                  <a:lnTo>
                    <a:pt x="156591" y="381"/>
                  </a:lnTo>
                  <a:lnTo>
                    <a:pt x="151829" y="2953"/>
                  </a:lnTo>
                  <a:lnTo>
                    <a:pt x="148209" y="0"/>
                  </a:lnTo>
                  <a:lnTo>
                    <a:pt x="143446" y="1905"/>
                  </a:lnTo>
                  <a:lnTo>
                    <a:pt x="139351" y="381"/>
                  </a:lnTo>
                  <a:lnTo>
                    <a:pt x="134112" y="10573"/>
                  </a:lnTo>
                  <a:lnTo>
                    <a:pt x="135541" y="17812"/>
                  </a:lnTo>
                  <a:lnTo>
                    <a:pt x="132874" y="20479"/>
                  </a:lnTo>
                  <a:lnTo>
                    <a:pt x="130874" y="28099"/>
                  </a:lnTo>
                  <a:lnTo>
                    <a:pt x="125825" y="26479"/>
                  </a:lnTo>
                  <a:lnTo>
                    <a:pt x="123825" y="34100"/>
                  </a:lnTo>
                  <a:lnTo>
                    <a:pt x="126778" y="37719"/>
                  </a:lnTo>
                  <a:lnTo>
                    <a:pt x="116967" y="42577"/>
                  </a:lnTo>
                  <a:lnTo>
                    <a:pt x="118872" y="48578"/>
                  </a:lnTo>
                  <a:lnTo>
                    <a:pt x="113633" y="58198"/>
                  </a:lnTo>
                  <a:lnTo>
                    <a:pt x="110204" y="56674"/>
                  </a:lnTo>
                  <a:lnTo>
                    <a:pt x="106204" y="58960"/>
                  </a:lnTo>
                  <a:lnTo>
                    <a:pt x="100394" y="57150"/>
                  </a:lnTo>
                  <a:lnTo>
                    <a:pt x="95155" y="62484"/>
                  </a:lnTo>
                  <a:lnTo>
                    <a:pt x="83249" y="58674"/>
                  </a:lnTo>
                  <a:lnTo>
                    <a:pt x="83915" y="55531"/>
                  </a:lnTo>
                  <a:lnTo>
                    <a:pt x="72009" y="55817"/>
                  </a:lnTo>
                  <a:lnTo>
                    <a:pt x="66104" y="58484"/>
                  </a:lnTo>
                  <a:lnTo>
                    <a:pt x="65056" y="64103"/>
                  </a:lnTo>
                  <a:lnTo>
                    <a:pt x="60103" y="66770"/>
                  </a:lnTo>
                  <a:lnTo>
                    <a:pt x="56007" y="65913"/>
                  </a:lnTo>
                  <a:lnTo>
                    <a:pt x="52959" y="69056"/>
                  </a:lnTo>
                  <a:lnTo>
                    <a:pt x="47244" y="65437"/>
                  </a:lnTo>
                  <a:lnTo>
                    <a:pt x="33433" y="70009"/>
                  </a:lnTo>
                  <a:lnTo>
                    <a:pt x="16859" y="55531"/>
                  </a:lnTo>
                  <a:lnTo>
                    <a:pt x="15526" y="46577"/>
                  </a:lnTo>
                  <a:lnTo>
                    <a:pt x="16002" y="46101"/>
                  </a:lnTo>
                  <a:lnTo>
                    <a:pt x="15907" y="45911"/>
                  </a:lnTo>
                  <a:lnTo>
                    <a:pt x="0" y="70676"/>
                  </a:lnTo>
                  <a:lnTo>
                    <a:pt x="1334" y="8058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0" name="Freeform: Shape 2710">
              <a:extLst>
                <a:ext uri="{FF2B5EF4-FFF2-40B4-BE49-F238E27FC236}">
                  <a16:creationId xmlns:a16="http://schemas.microsoft.com/office/drawing/2014/main" id="{62493CF3-5F61-F082-2A64-571A5C3272AD}"/>
                </a:ext>
              </a:extLst>
            </p:cNvPr>
            <p:cNvSpPr/>
            <p:nvPr/>
          </p:nvSpPr>
          <p:spPr>
            <a:xfrm>
              <a:off x="4268247" y="4566030"/>
              <a:ext cx="29718" cy="61722"/>
            </a:xfrm>
            <a:custGeom>
              <a:avLst/>
              <a:gdLst>
                <a:gd name="connsiteX0" fmla="*/ 0 w 29718"/>
                <a:gd name="connsiteY0" fmla="*/ 19431 h 61722"/>
                <a:gd name="connsiteX1" fmla="*/ 5906 w 29718"/>
                <a:gd name="connsiteY1" fmla="*/ 48863 h 61722"/>
                <a:gd name="connsiteX2" fmla="*/ 20479 w 29718"/>
                <a:gd name="connsiteY2" fmla="*/ 61722 h 61722"/>
                <a:gd name="connsiteX3" fmla="*/ 10192 w 29718"/>
                <a:gd name="connsiteY3" fmla="*/ 39529 h 61722"/>
                <a:gd name="connsiteX4" fmla="*/ 29718 w 29718"/>
                <a:gd name="connsiteY4" fmla="*/ 39529 h 61722"/>
                <a:gd name="connsiteX5" fmla="*/ 14097 w 29718"/>
                <a:gd name="connsiteY5" fmla="*/ 28099 h 61722"/>
                <a:gd name="connsiteX6" fmla="*/ 26480 w 29718"/>
                <a:gd name="connsiteY6" fmla="*/ 20384 h 61722"/>
                <a:gd name="connsiteX7" fmla="*/ 18764 w 29718"/>
                <a:gd name="connsiteY7" fmla="*/ 13716 h 61722"/>
                <a:gd name="connsiteX8" fmla="*/ 10478 w 29718"/>
                <a:gd name="connsiteY8" fmla="*/ 21908 h 61722"/>
                <a:gd name="connsiteX9" fmla="*/ 12859 w 29718"/>
                <a:gd name="connsiteY9" fmla="*/ 0 h 61722"/>
                <a:gd name="connsiteX10" fmla="*/ 0 w 29718"/>
                <a:gd name="connsiteY10" fmla="*/ 19431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18" h="61722">
                  <a:moveTo>
                    <a:pt x="0" y="19431"/>
                  </a:moveTo>
                  <a:lnTo>
                    <a:pt x="5906" y="48863"/>
                  </a:lnTo>
                  <a:lnTo>
                    <a:pt x="20479" y="61722"/>
                  </a:lnTo>
                  <a:lnTo>
                    <a:pt x="10192" y="39529"/>
                  </a:lnTo>
                  <a:lnTo>
                    <a:pt x="29718" y="39529"/>
                  </a:lnTo>
                  <a:lnTo>
                    <a:pt x="14097" y="28099"/>
                  </a:lnTo>
                  <a:lnTo>
                    <a:pt x="26480" y="20384"/>
                  </a:lnTo>
                  <a:lnTo>
                    <a:pt x="18764" y="13716"/>
                  </a:lnTo>
                  <a:lnTo>
                    <a:pt x="10478" y="21908"/>
                  </a:lnTo>
                  <a:lnTo>
                    <a:pt x="12859" y="0"/>
                  </a:lnTo>
                  <a:lnTo>
                    <a:pt x="0" y="1943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1" name="Freeform: Shape 2711">
              <a:extLst>
                <a:ext uri="{FF2B5EF4-FFF2-40B4-BE49-F238E27FC236}">
                  <a16:creationId xmlns:a16="http://schemas.microsoft.com/office/drawing/2014/main" id="{9B2D0DE1-D3BA-3A17-EF8A-A1BD30655F38}"/>
                </a:ext>
              </a:extLst>
            </p:cNvPr>
            <p:cNvSpPr/>
            <p:nvPr/>
          </p:nvSpPr>
          <p:spPr>
            <a:xfrm>
              <a:off x="3630930" y="4499260"/>
              <a:ext cx="214979" cy="227837"/>
            </a:xfrm>
            <a:custGeom>
              <a:avLst/>
              <a:gdLst>
                <a:gd name="connsiteX0" fmla="*/ 211646 w 214979"/>
                <a:gd name="connsiteY0" fmla="*/ 208026 h 227837"/>
                <a:gd name="connsiteX1" fmla="*/ 209740 w 214979"/>
                <a:gd name="connsiteY1" fmla="*/ 194500 h 227837"/>
                <a:gd name="connsiteX2" fmla="*/ 212312 w 214979"/>
                <a:gd name="connsiteY2" fmla="*/ 186595 h 227837"/>
                <a:gd name="connsiteX3" fmla="*/ 209740 w 214979"/>
                <a:gd name="connsiteY3" fmla="*/ 183261 h 227837"/>
                <a:gd name="connsiteX4" fmla="*/ 214979 w 214979"/>
                <a:gd name="connsiteY4" fmla="*/ 174403 h 227837"/>
                <a:gd name="connsiteX5" fmla="*/ 205740 w 214979"/>
                <a:gd name="connsiteY5" fmla="*/ 157829 h 227837"/>
                <a:gd name="connsiteX6" fmla="*/ 190881 w 214979"/>
                <a:gd name="connsiteY6" fmla="*/ 155543 h 227837"/>
                <a:gd name="connsiteX7" fmla="*/ 184309 w 214979"/>
                <a:gd name="connsiteY7" fmla="*/ 165163 h 227837"/>
                <a:gd name="connsiteX8" fmla="*/ 181261 w 214979"/>
                <a:gd name="connsiteY8" fmla="*/ 130778 h 227837"/>
                <a:gd name="connsiteX9" fmla="*/ 168402 w 214979"/>
                <a:gd name="connsiteY9" fmla="*/ 104680 h 227837"/>
                <a:gd name="connsiteX10" fmla="*/ 142684 w 214979"/>
                <a:gd name="connsiteY10" fmla="*/ 105346 h 227837"/>
                <a:gd name="connsiteX11" fmla="*/ 152590 w 214979"/>
                <a:gd name="connsiteY11" fmla="*/ 96488 h 227837"/>
                <a:gd name="connsiteX12" fmla="*/ 115633 w 214979"/>
                <a:gd name="connsiteY12" fmla="*/ 65056 h 227837"/>
                <a:gd name="connsiteX13" fmla="*/ 110966 w 214979"/>
                <a:gd name="connsiteY13" fmla="*/ 65056 h 227837"/>
                <a:gd name="connsiteX14" fmla="*/ 112966 w 214979"/>
                <a:gd name="connsiteY14" fmla="*/ 74009 h 227837"/>
                <a:gd name="connsiteX15" fmla="*/ 100393 w 214979"/>
                <a:gd name="connsiteY15" fmla="*/ 59436 h 227837"/>
                <a:gd name="connsiteX16" fmla="*/ 94488 w 214979"/>
                <a:gd name="connsiteY16" fmla="*/ 58769 h 227837"/>
                <a:gd name="connsiteX17" fmla="*/ 89154 w 214979"/>
                <a:gd name="connsiteY17" fmla="*/ 47244 h 227837"/>
                <a:gd name="connsiteX18" fmla="*/ 64103 w 214979"/>
                <a:gd name="connsiteY18" fmla="*/ 30099 h 227837"/>
                <a:gd name="connsiteX19" fmla="*/ 56483 w 214979"/>
                <a:gd name="connsiteY19" fmla="*/ 30385 h 227837"/>
                <a:gd name="connsiteX20" fmla="*/ 60484 w 214979"/>
                <a:gd name="connsiteY20" fmla="*/ 22860 h 227837"/>
                <a:gd name="connsiteX21" fmla="*/ 45244 w 214979"/>
                <a:gd name="connsiteY21" fmla="*/ 6287 h 227837"/>
                <a:gd name="connsiteX22" fmla="*/ 23146 w 214979"/>
                <a:gd name="connsiteY22" fmla="*/ 6953 h 227837"/>
                <a:gd name="connsiteX23" fmla="*/ 0 w 214979"/>
                <a:gd name="connsiteY23" fmla="*/ 0 h 227837"/>
                <a:gd name="connsiteX24" fmla="*/ 3619 w 214979"/>
                <a:gd name="connsiteY24" fmla="*/ 14859 h 227837"/>
                <a:gd name="connsiteX25" fmla="*/ 24765 w 214979"/>
                <a:gd name="connsiteY25" fmla="*/ 35719 h 227837"/>
                <a:gd name="connsiteX26" fmla="*/ 32671 w 214979"/>
                <a:gd name="connsiteY26" fmla="*/ 37338 h 227837"/>
                <a:gd name="connsiteX27" fmla="*/ 46958 w 214979"/>
                <a:gd name="connsiteY27" fmla="*/ 53530 h 227837"/>
                <a:gd name="connsiteX28" fmla="*/ 49911 w 214979"/>
                <a:gd name="connsiteY28" fmla="*/ 65437 h 227837"/>
                <a:gd name="connsiteX29" fmla="*/ 70009 w 214979"/>
                <a:gd name="connsiteY29" fmla="*/ 75629 h 227837"/>
                <a:gd name="connsiteX30" fmla="*/ 68675 w 214979"/>
                <a:gd name="connsiteY30" fmla="*/ 79248 h 227837"/>
                <a:gd name="connsiteX31" fmla="*/ 77248 w 214979"/>
                <a:gd name="connsiteY31" fmla="*/ 105061 h 227837"/>
                <a:gd name="connsiteX32" fmla="*/ 87154 w 214979"/>
                <a:gd name="connsiteY32" fmla="*/ 108680 h 227837"/>
                <a:gd name="connsiteX33" fmla="*/ 111633 w 214979"/>
                <a:gd name="connsiteY33" fmla="*/ 148590 h 227837"/>
                <a:gd name="connsiteX34" fmla="*/ 112300 w 214979"/>
                <a:gd name="connsiteY34" fmla="*/ 156210 h 227837"/>
                <a:gd name="connsiteX35" fmla="*/ 140684 w 214979"/>
                <a:gd name="connsiteY35" fmla="*/ 189547 h 227837"/>
                <a:gd name="connsiteX36" fmla="*/ 162115 w 214979"/>
                <a:gd name="connsiteY36" fmla="*/ 206692 h 227837"/>
                <a:gd name="connsiteX37" fmla="*/ 168116 w 214979"/>
                <a:gd name="connsiteY37" fmla="*/ 208693 h 227837"/>
                <a:gd name="connsiteX38" fmla="*/ 186880 w 214979"/>
                <a:gd name="connsiteY38" fmla="*/ 227838 h 227837"/>
                <a:gd name="connsiteX39" fmla="*/ 209074 w 214979"/>
                <a:gd name="connsiteY39" fmla="*/ 225838 h 227837"/>
                <a:gd name="connsiteX40" fmla="*/ 211646 w 214979"/>
                <a:gd name="connsiteY40" fmla="*/ 208026 h 22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4979" h="227837">
                  <a:moveTo>
                    <a:pt x="211646" y="208026"/>
                  </a:moveTo>
                  <a:lnTo>
                    <a:pt x="209740" y="194500"/>
                  </a:lnTo>
                  <a:lnTo>
                    <a:pt x="212312" y="186595"/>
                  </a:lnTo>
                  <a:lnTo>
                    <a:pt x="209740" y="183261"/>
                  </a:lnTo>
                  <a:lnTo>
                    <a:pt x="214979" y="174403"/>
                  </a:lnTo>
                  <a:lnTo>
                    <a:pt x="205740" y="157829"/>
                  </a:lnTo>
                  <a:lnTo>
                    <a:pt x="190881" y="155543"/>
                  </a:lnTo>
                  <a:lnTo>
                    <a:pt x="184309" y="165163"/>
                  </a:lnTo>
                  <a:lnTo>
                    <a:pt x="181261" y="130778"/>
                  </a:lnTo>
                  <a:lnTo>
                    <a:pt x="168402" y="104680"/>
                  </a:lnTo>
                  <a:lnTo>
                    <a:pt x="142684" y="105346"/>
                  </a:lnTo>
                  <a:lnTo>
                    <a:pt x="152590" y="96488"/>
                  </a:lnTo>
                  <a:lnTo>
                    <a:pt x="115633" y="65056"/>
                  </a:lnTo>
                  <a:lnTo>
                    <a:pt x="110966" y="65056"/>
                  </a:lnTo>
                  <a:lnTo>
                    <a:pt x="112966" y="74009"/>
                  </a:lnTo>
                  <a:lnTo>
                    <a:pt x="100393" y="59436"/>
                  </a:lnTo>
                  <a:lnTo>
                    <a:pt x="94488" y="58769"/>
                  </a:lnTo>
                  <a:lnTo>
                    <a:pt x="89154" y="47244"/>
                  </a:lnTo>
                  <a:lnTo>
                    <a:pt x="64103" y="30099"/>
                  </a:lnTo>
                  <a:lnTo>
                    <a:pt x="56483" y="30385"/>
                  </a:lnTo>
                  <a:lnTo>
                    <a:pt x="60484" y="22860"/>
                  </a:lnTo>
                  <a:lnTo>
                    <a:pt x="45244" y="6287"/>
                  </a:lnTo>
                  <a:lnTo>
                    <a:pt x="23146" y="6953"/>
                  </a:lnTo>
                  <a:lnTo>
                    <a:pt x="0" y="0"/>
                  </a:lnTo>
                  <a:lnTo>
                    <a:pt x="3619" y="14859"/>
                  </a:lnTo>
                  <a:lnTo>
                    <a:pt x="24765" y="35719"/>
                  </a:lnTo>
                  <a:lnTo>
                    <a:pt x="32671" y="37338"/>
                  </a:lnTo>
                  <a:lnTo>
                    <a:pt x="46958" y="53530"/>
                  </a:lnTo>
                  <a:lnTo>
                    <a:pt x="49911" y="65437"/>
                  </a:lnTo>
                  <a:lnTo>
                    <a:pt x="70009" y="75629"/>
                  </a:lnTo>
                  <a:lnTo>
                    <a:pt x="68675" y="79248"/>
                  </a:lnTo>
                  <a:lnTo>
                    <a:pt x="77248" y="105061"/>
                  </a:lnTo>
                  <a:lnTo>
                    <a:pt x="87154" y="108680"/>
                  </a:lnTo>
                  <a:lnTo>
                    <a:pt x="111633" y="148590"/>
                  </a:lnTo>
                  <a:lnTo>
                    <a:pt x="112300" y="156210"/>
                  </a:lnTo>
                  <a:lnTo>
                    <a:pt x="140684" y="189547"/>
                  </a:lnTo>
                  <a:lnTo>
                    <a:pt x="162115" y="206692"/>
                  </a:lnTo>
                  <a:lnTo>
                    <a:pt x="168116" y="208693"/>
                  </a:lnTo>
                  <a:lnTo>
                    <a:pt x="186880" y="227838"/>
                  </a:lnTo>
                  <a:lnTo>
                    <a:pt x="209074" y="225838"/>
                  </a:lnTo>
                  <a:lnTo>
                    <a:pt x="211646" y="20802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2" name="Freeform: Shape 2712">
              <a:extLst>
                <a:ext uri="{FF2B5EF4-FFF2-40B4-BE49-F238E27FC236}">
                  <a16:creationId xmlns:a16="http://schemas.microsoft.com/office/drawing/2014/main" id="{82D3E8C7-19C1-1A61-3EBD-A6B82E6621BF}"/>
                </a:ext>
              </a:extLst>
            </p:cNvPr>
            <p:cNvSpPr/>
            <p:nvPr/>
          </p:nvSpPr>
          <p:spPr>
            <a:xfrm>
              <a:off x="4097178" y="4579842"/>
              <a:ext cx="128492" cy="141065"/>
            </a:xfrm>
            <a:custGeom>
              <a:avLst/>
              <a:gdLst>
                <a:gd name="connsiteX0" fmla="*/ 71628 w 128492"/>
                <a:gd name="connsiteY0" fmla="*/ 59150 h 141065"/>
                <a:gd name="connsiteX1" fmla="*/ 79438 w 128492"/>
                <a:gd name="connsiteY1" fmla="*/ 50482 h 141065"/>
                <a:gd name="connsiteX2" fmla="*/ 90488 w 128492"/>
                <a:gd name="connsiteY2" fmla="*/ 50578 h 141065"/>
                <a:gd name="connsiteX3" fmla="*/ 93821 w 128492"/>
                <a:gd name="connsiteY3" fmla="*/ 42196 h 141065"/>
                <a:gd name="connsiteX4" fmla="*/ 56483 w 128492"/>
                <a:gd name="connsiteY4" fmla="*/ 45625 h 141065"/>
                <a:gd name="connsiteX5" fmla="*/ 46577 w 128492"/>
                <a:gd name="connsiteY5" fmla="*/ 57436 h 141065"/>
                <a:gd name="connsiteX6" fmla="*/ 37624 w 128492"/>
                <a:gd name="connsiteY6" fmla="*/ 57436 h 141065"/>
                <a:gd name="connsiteX7" fmla="*/ 27337 w 128492"/>
                <a:gd name="connsiteY7" fmla="*/ 42958 h 141065"/>
                <a:gd name="connsiteX8" fmla="*/ 30956 w 128492"/>
                <a:gd name="connsiteY8" fmla="*/ 23813 h 141065"/>
                <a:gd name="connsiteX9" fmla="*/ 56197 w 128492"/>
                <a:gd name="connsiteY9" fmla="*/ 18860 h 141065"/>
                <a:gd name="connsiteX10" fmla="*/ 60103 w 128492"/>
                <a:gd name="connsiteY10" fmla="*/ 21431 h 141065"/>
                <a:gd name="connsiteX11" fmla="*/ 85249 w 128492"/>
                <a:gd name="connsiteY11" fmla="*/ 19526 h 141065"/>
                <a:gd name="connsiteX12" fmla="*/ 96393 w 128492"/>
                <a:gd name="connsiteY12" fmla="*/ 24479 h 141065"/>
                <a:gd name="connsiteX13" fmla="*/ 112967 w 128492"/>
                <a:gd name="connsiteY13" fmla="*/ 20860 h 141065"/>
                <a:gd name="connsiteX14" fmla="*/ 128492 w 128492"/>
                <a:gd name="connsiteY14" fmla="*/ 0 h 141065"/>
                <a:gd name="connsiteX15" fmla="*/ 102679 w 128492"/>
                <a:gd name="connsiteY15" fmla="*/ 13240 h 141065"/>
                <a:gd name="connsiteX16" fmla="*/ 80867 w 128492"/>
                <a:gd name="connsiteY16" fmla="*/ 13526 h 141065"/>
                <a:gd name="connsiteX17" fmla="*/ 53150 w 128492"/>
                <a:gd name="connsiteY17" fmla="*/ 4286 h 141065"/>
                <a:gd name="connsiteX18" fmla="*/ 42291 w 128492"/>
                <a:gd name="connsiteY18" fmla="*/ 2953 h 141065"/>
                <a:gd name="connsiteX19" fmla="*/ 35719 w 128492"/>
                <a:gd name="connsiteY19" fmla="*/ 14573 h 141065"/>
                <a:gd name="connsiteX20" fmla="*/ 30385 w 128492"/>
                <a:gd name="connsiteY20" fmla="*/ 10287 h 141065"/>
                <a:gd name="connsiteX21" fmla="*/ 25146 w 128492"/>
                <a:gd name="connsiteY21" fmla="*/ 15526 h 141065"/>
                <a:gd name="connsiteX22" fmla="*/ 19145 w 128492"/>
                <a:gd name="connsiteY22" fmla="*/ 42291 h 141065"/>
                <a:gd name="connsiteX23" fmla="*/ 10954 w 128492"/>
                <a:gd name="connsiteY23" fmla="*/ 54197 h 141065"/>
                <a:gd name="connsiteX24" fmla="*/ 11621 w 128492"/>
                <a:gd name="connsiteY24" fmla="*/ 68009 h 141065"/>
                <a:gd name="connsiteX25" fmla="*/ 381 w 128492"/>
                <a:gd name="connsiteY25" fmla="*/ 82201 h 141065"/>
                <a:gd name="connsiteX26" fmla="*/ 0 w 128492"/>
                <a:gd name="connsiteY26" fmla="*/ 91154 h 141065"/>
                <a:gd name="connsiteX27" fmla="*/ 17526 w 128492"/>
                <a:gd name="connsiteY27" fmla="*/ 108680 h 141065"/>
                <a:gd name="connsiteX28" fmla="*/ 11621 w 128492"/>
                <a:gd name="connsiteY28" fmla="*/ 135446 h 141065"/>
                <a:gd name="connsiteX29" fmla="*/ 12859 w 128492"/>
                <a:gd name="connsiteY29" fmla="*/ 140398 h 141065"/>
                <a:gd name="connsiteX30" fmla="*/ 16859 w 128492"/>
                <a:gd name="connsiteY30" fmla="*/ 141065 h 141065"/>
                <a:gd name="connsiteX31" fmla="*/ 25813 w 128492"/>
                <a:gd name="connsiteY31" fmla="*/ 140398 h 141065"/>
                <a:gd name="connsiteX32" fmla="*/ 31337 w 128492"/>
                <a:gd name="connsiteY32" fmla="*/ 116586 h 141065"/>
                <a:gd name="connsiteX33" fmla="*/ 28385 w 128492"/>
                <a:gd name="connsiteY33" fmla="*/ 88487 h 141065"/>
                <a:gd name="connsiteX34" fmla="*/ 39624 w 128492"/>
                <a:gd name="connsiteY34" fmla="*/ 81629 h 141065"/>
                <a:gd name="connsiteX35" fmla="*/ 41910 w 128492"/>
                <a:gd name="connsiteY35" fmla="*/ 99727 h 141065"/>
                <a:gd name="connsiteX36" fmla="*/ 56197 w 128492"/>
                <a:gd name="connsiteY36" fmla="*/ 110014 h 141065"/>
                <a:gd name="connsiteX37" fmla="*/ 54864 w 128492"/>
                <a:gd name="connsiteY37" fmla="*/ 116872 h 141065"/>
                <a:gd name="connsiteX38" fmla="*/ 81915 w 128492"/>
                <a:gd name="connsiteY38" fmla="*/ 116872 h 141065"/>
                <a:gd name="connsiteX39" fmla="*/ 73628 w 128492"/>
                <a:gd name="connsiteY39" fmla="*/ 92107 h 141065"/>
                <a:gd name="connsiteX40" fmla="*/ 58484 w 128492"/>
                <a:gd name="connsiteY40" fmla="*/ 72962 h 141065"/>
                <a:gd name="connsiteX41" fmla="*/ 50863 w 128492"/>
                <a:gd name="connsiteY41" fmla="*/ 69342 h 141065"/>
                <a:gd name="connsiteX42" fmla="*/ 50197 w 128492"/>
                <a:gd name="connsiteY42" fmla="*/ 65437 h 141065"/>
                <a:gd name="connsiteX43" fmla="*/ 57436 w 128492"/>
                <a:gd name="connsiteY43" fmla="*/ 67723 h 141065"/>
                <a:gd name="connsiteX44" fmla="*/ 71628 w 128492"/>
                <a:gd name="connsiteY44" fmla="*/ 59150 h 14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8492" h="141065">
                  <a:moveTo>
                    <a:pt x="71628" y="59150"/>
                  </a:moveTo>
                  <a:lnTo>
                    <a:pt x="79438" y="50482"/>
                  </a:lnTo>
                  <a:lnTo>
                    <a:pt x="90488" y="50578"/>
                  </a:lnTo>
                  <a:lnTo>
                    <a:pt x="93821" y="42196"/>
                  </a:lnTo>
                  <a:lnTo>
                    <a:pt x="56483" y="45625"/>
                  </a:lnTo>
                  <a:lnTo>
                    <a:pt x="46577" y="57436"/>
                  </a:lnTo>
                  <a:lnTo>
                    <a:pt x="37624" y="57436"/>
                  </a:lnTo>
                  <a:lnTo>
                    <a:pt x="27337" y="42958"/>
                  </a:lnTo>
                  <a:lnTo>
                    <a:pt x="30956" y="23813"/>
                  </a:lnTo>
                  <a:lnTo>
                    <a:pt x="56197" y="18860"/>
                  </a:lnTo>
                  <a:lnTo>
                    <a:pt x="60103" y="21431"/>
                  </a:lnTo>
                  <a:lnTo>
                    <a:pt x="85249" y="19526"/>
                  </a:lnTo>
                  <a:lnTo>
                    <a:pt x="96393" y="24479"/>
                  </a:lnTo>
                  <a:lnTo>
                    <a:pt x="112967" y="20860"/>
                  </a:lnTo>
                  <a:lnTo>
                    <a:pt x="128492" y="0"/>
                  </a:lnTo>
                  <a:lnTo>
                    <a:pt x="102679" y="13240"/>
                  </a:lnTo>
                  <a:lnTo>
                    <a:pt x="80867" y="13526"/>
                  </a:lnTo>
                  <a:lnTo>
                    <a:pt x="53150" y="4286"/>
                  </a:lnTo>
                  <a:lnTo>
                    <a:pt x="42291" y="2953"/>
                  </a:lnTo>
                  <a:lnTo>
                    <a:pt x="35719" y="14573"/>
                  </a:lnTo>
                  <a:lnTo>
                    <a:pt x="30385" y="10287"/>
                  </a:lnTo>
                  <a:lnTo>
                    <a:pt x="25146" y="15526"/>
                  </a:lnTo>
                  <a:lnTo>
                    <a:pt x="19145" y="42291"/>
                  </a:lnTo>
                  <a:lnTo>
                    <a:pt x="10954" y="54197"/>
                  </a:lnTo>
                  <a:lnTo>
                    <a:pt x="11621" y="68009"/>
                  </a:lnTo>
                  <a:lnTo>
                    <a:pt x="381" y="82201"/>
                  </a:lnTo>
                  <a:lnTo>
                    <a:pt x="0" y="91154"/>
                  </a:lnTo>
                  <a:lnTo>
                    <a:pt x="17526" y="108680"/>
                  </a:lnTo>
                  <a:lnTo>
                    <a:pt x="11621" y="135446"/>
                  </a:lnTo>
                  <a:lnTo>
                    <a:pt x="12859" y="140398"/>
                  </a:lnTo>
                  <a:lnTo>
                    <a:pt x="16859" y="141065"/>
                  </a:lnTo>
                  <a:lnTo>
                    <a:pt x="25813" y="140398"/>
                  </a:lnTo>
                  <a:lnTo>
                    <a:pt x="31337" y="116586"/>
                  </a:lnTo>
                  <a:lnTo>
                    <a:pt x="28385" y="88487"/>
                  </a:lnTo>
                  <a:lnTo>
                    <a:pt x="39624" y="81629"/>
                  </a:lnTo>
                  <a:lnTo>
                    <a:pt x="41910" y="99727"/>
                  </a:lnTo>
                  <a:lnTo>
                    <a:pt x="56197" y="110014"/>
                  </a:lnTo>
                  <a:lnTo>
                    <a:pt x="54864" y="116872"/>
                  </a:lnTo>
                  <a:lnTo>
                    <a:pt x="81915" y="116872"/>
                  </a:lnTo>
                  <a:lnTo>
                    <a:pt x="73628" y="92107"/>
                  </a:lnTo>
                  <a:lnTo>
                    <a:pt x="58484" y="72962"/>
                  </a:lnTo>
                  <a:lnTo>
                    <a:pt x="50863" y="69342"/>
                  </a:lnTo>
                  <a:lnTo>
                    <a:pt x="50197" y="65437"/>
                  </a:lnTo>
                  <a:lnTo>
                    <a:pt x="57436" y="67723"/>
                  </a:lnTo>
                  <a:lnTo>
                    <a:pt x="71628" y="5915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3" name="Freeform: Shape 2713">
              <a:extLst>
                <a:ext uri="{FF2B5EF4-FFF2-40B4-BE49-F238E27FC236}">
                  <a16:creationId xmlns:a16="http://schemas.microsoft.com/office/drawing/2014/main" id="{2E413F7F-DD4C-A3BA-ACB1-441EF9F15410}"/>
                </a:ext>
              </a:extLst>
            </p:cNvPr>
            <p:cNvSpPr/>
            <p:nvPr/>
          </p:nvSpPr>
          <p:spPr>
            <a:xfrm>
              <a:off x="3827240" y="4637944"/>
              <a:ext cx="37147" cy="32099"/>
            </a:xfrm>
            <a:custGeom>
              <a:avLst/>
              <a:gdLst>
                <a:gd name="connsiteX0" fmla="*/ 28385 w 37147"/>
                <a:gd name="connsiteY0" fmla="*/ 32099 h 32099"/>
                <a:gd name="connsiteX1" fmla="*/ 37147 w 37147"/>
                <a:gd name="connsiteY1" fmla="*/ 17050 h 32099"/>
                <a:gd name="connsiteX2" fmla="*/ 25813 w 37147"/>
                <a:gd name="connsiteY2" fmla="*/ 15049 h 32099"/>
                <a:gd name="connsiteX3" fmla="*/ 14859 w 37147"/>
                <a:gd name="connsiteY3" fmla="*/ 0 h 32099"/>
                <a:gd name="connsiteX4" fmla="*/ 0 w 37147"/>
                <a:gd name="connsiteY4" fmla="*/ 11525 h 32099"/>
                <a:gd name="connsiteX5" fmla="*/ 14764 w 37147"/>
                <a:gd name="connsiteY5" fmla="*/ 12478 h 32099"/>
                <a:gd name="connsiteX6" fmla="*/ 28385 w 37147"/>
                <a:gd name="connsiteY6" fmla="*/ 32099 h 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47" h="32099">
                  <a:moveTo>
                    <a:pt x="28385" y="32099"/>
                  </a:moveTo>
                  <a:lnTo>
                    <a:pt x="37147" y="17050"/>
                  </a:lnTo>
                  <a:lnTo>
                    <a:pt x="25813" y="15049"/>
                  </a:lnTo>
                  <a:lnTo>
                    <a:pt x="14859" y="0"/>
                  </a:lnTo>
                  <a:lnTo>
                    <a:pt x="0" y="11525"/>
                  </a:lnTo>
                  <a:lnTo>
                    <a:pt x="14764" y="12478"/>
                  </a:lnTo>
                  <a:lnTo>
                    <a:pt x="28385" y="3209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4" name="Freeform: Shape 2714">
              <a:extLst>
                <a:ext uri="{FF2B5EF4-FFF2-40B4-BE49-F238E27FC236}">
                  <a16:creationId xmlns:a16="http://schemas.microsoft.com/office/drawing/2014/main" id="{4EBFFC77-62C6-2C42-5252-7826AC982B49}"/>
                </a:ext>
              </a:extLst>
            </p:cNvPr>
            <p:cNvSpPr/>
            <p:nvPr/>
          </p:nvSpPr>
          <p:spPr>
            <a:xfrm>
              <a:off x="4278439" y="4666329"/>
              <a:ext cx="57816" cy="19907"/>
            </a:xfrm>
            <a:custGeom>
              <a:avLst/>
              <a:gdLst>
                <a:gd name="connsiteX0" fmla="*/ 0 w 57816"/>
                <a:gd name="connsiteY0" fmla="*/ 13906 h 19907"/>
                <a:gd name="connsiteX1" fmla="*/ 38957 w 57816"/>
                <a:gd name="connsiteY1" fmla="*/ 9334 h 19907"/>
                <a:gd name="connsiteX2" fmla="*/ 57817 w 57816"/>
                <a:gd name="connsiteY2" fmla="*/ 19907 h 19907"/>
                <a:gd name="connsiteX3" fmla="*/ 52864 w 57816"/>
                <a:gd name="connsiteY3" fmla="*/ 5334 h 19907"/>
                <a:gd name="connsiteX4" fmla="*/ 36004 w 57816"/>
                <a:gd name="connsiteY4" fmla="*/ 0 h 19907"/>
                <a:gd name="connsiteX5" fmla="*/ 5334 w 57816"/>
                <a:gd name="connsiteY5" fmla="*/ 0 h 19907"/>
                <a:gd name="connsiteX6" fmla="*/ 0 w 57816"/>
                <a:gd name="connsiteY6" fmla="*/ 13906 h 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16" h="19907">
                  <a:moveTo>
                    <a:pt x="0" y="13906"/>
                  </a:moveTo>
                  <a:lnTo>
                    <a:pt x="38957" y="9334"/>
                  </a:lnTo>
                  <a:lnTo>
                    <a:pt x="57817" y="19907"/>
                  </a:lnTo>
                  <a:lnTo>
                    <a:pt x="52864" y="5334"/>
                  </a:lnTo>
                  <a:lnTo>
                    <a:pt x="36004" y="0"/>
                  </a:lnTo>
                  <a:lnTo>
                    <a:pt x="5334" y="0"/>
                  </a:lnTo>
                  <a:lnTo>
                    <a:pt x="0" y="1390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5" name="Freeform: Shape 2715">
              <a:extLst>
                <a:ext uri="{FF2B5EF4-FFF2-40B4-BE49-F238E27FC236}">
                  <a16:creationId xmlns:a16="http://schemas.microsoft.com/office/drawing/2014/main" id="{2F635D01-1DBC-41E5-15BD-1CE5F814D388}"/>
                </a:ext>
              </a:extLst>
            </p:cNvPr>
            <p:cNvSpPr/>
            <p:nvPr/>
          </p:nvSpPr>
          <p:spPr>
            <a:xfrm>
              <a:off x="4338542" y="4616513"/>
              <a:ext cx="199834" cy="174021"/>
            </a:xfrm>
            <a:custGeom>
              <a:avLst/>
              <a:gdLst>
                <a:gd name="connsiteX0" fmla="*/ 199454 w 199834"/>
                <a:gd name="connsiteY0" fmla="*/ 129730 h 174021"/>
                <a:gd name="connsiteX1" fmla="*/ 194786 w 199834"/>
                <a:gd name="connsiteY1" fmla="*/ 125444 h 174021"/>
                <a:gd name="connsiteX2" fmla="*/ 199454 w 199834"/>
                <a:gd name="connsiteY2" fmla="*/ 118586 h 174021"/>
                <a:gd name="connsiteX3" fmla="*/ 199454 w 199834"/>
                <a:gd name="connsiteY3" fmla="*/ 44863 h 174021"/>
                <a:gd name="connsiteX4" fmla="*/ 199835 w 199834"/>
                <a:gd name="connsiteY4" fmla="*/ 44863 h 174021"/>
                <a:gd name="connsiteX5" fmla="*/ 199168 w 199834"/>
                <a:gd name="connsiteY5" fmla="*/ 44577 h 174021"/>
                <a:gd name="connsiteX6" fmla="*/ 174688 w 199834"/>
                <a:gd name="connsiteY6" fmla="*/ 39624 h 174021"/>
                <a:gd name="connsiteX7" fmla="*/ 134207 w 199834"/>
                <a:gd name="connsiteY7" fmla="*/ 22288 h 174021"/>
                <a:gd name="connsiteX8" fmla="*/ 123539 w 199834"/>
                <a:gd name="connsiteY8" fmla="*/ 34671 h 174021"/>
                <a:gd name="connsiteX9" fmla="*/ 108013 w 199834"/>
                <a:gd name="connsiteY9" fmla="*/ 36957 h 174021"/>
                <a:gd name="connsiteX10" fmla="*/ 90869 w 199834"/>
                <a:gd name="connsiteY10" fmla="*/ 59150 h 174021"/>
                <a:gd name="connsiteX11" fmla="*/ 82582 w 199834"/>
                <a:gd name="connsiteY11" fmla="*/ 59817 h 174021"/>
                <a:gd name="connsiteX12" fmla="*/ 63722 w 199834"/>
                <a:gd name="connsiteY12" fmla="*/ 38957 h 174021"/>
                <a:gd name="connsiteX13" fmla="*/ 65056 w 199834"/>
                <a:gd name="connsiteY13" fmla="*/ 21431 h 174021"/>
                <a:gd name="connsiteX14" fmla="*/ 60484 w 199834"/>
                <a:gd name="connsiteY14" fmla="*/ 7620 h 174021"/>
                <a:gd name="connsiteX15" fmla="*/ 29432 w 199834"/>
                <a:gd name="connsiteY15" fmla="*/ 0 h 174021"/>
                <a:gd name="connsiteX16" fmla="*/ 5620 w 199834"/>
                <a:gd name="connsiteY16" fmla="*/ 9239 h 174021"/>
                <a:gd name="connsiteX17" fmla="*/ 0 w 199834"/>
                <a:gd name="connsiteY17" fmla="*/ 21431 h 174021"/>
                <a:gd name="connsiteX18" fmla="*/ 34385 w 199834"/>
                <a:gd name="connsiteY18" fmla="*/ 38957 h 174021"/>
                <a:gd name="connsiteX19" fmla="*/ 59150 w 199834"/>
                <a:gd name="connsiteY19" fmla="*/ 34671 h 174021"/>
                <a:gd name="connsiteX20" fmla="*/ 36004 w 199834"/>
                <a:gd name="connsiteY20" fmla="*/ 48196 h 174021"/>
                <a:gd name="connsiteX21" fmla="*/ 19812 w 199834"/>
                <a:gd name="connsiteY21" fmla="*/ 48196 h 174021"/>
                <a:gd name="connsiteX22" fmla="*/ 39338 w 199834"/>
                <a:gd name="connsiteY22" fmla="*/ 63341 h 174021"/>
                <a:gd name="connsiteX23" fmla="*/ 38671 w 199834"/>
                <a:gd name="connsiteY23" fmla="*/ 74009 h 174021"/>
                <a:gd name="connsiteX24" fmla="*/ 49530 w 199834"/>
                <a:gd name="connsiteY24" fmla="*/ 69723 h 174021"/>
                <a:gd name="connsiteX25" fmla="*/ 57817 w 199834"/>
                <a:gd name="connsiteY25" fmla="*/ 51149 h 174021"/>
                <a:gd name="connsiteX26" fmla="*/ 59817 w 199834"/>
                <a:gd name="connsiteY26" fmla="*/ 69342 h 174021"/>
                <a:gd name="connsiteX27" fmla="*/ 83915 w 199834"/>
                <a:gd name="connsiteY27" fmla="*/ 81248 h 174021"/>
                <a:gd name="connsiteX28" fmla="*/ 98774 w 199834"/>
                <a:gd name="connsiteY28" fmla="*/ 82201 h 174021"/>
                <a:gd name="connsiteX29" fmla="*/ 116300 w 199834"/>
                <a:gd name="connsiteY29" fmla="*/ 90773 h 174021"/>
                <a:gd name="connsiteX30" fmla="*/ 121920 w 199834"/>
                <a:gd name="connsiteY30" fmla="*/ 90106 h 174021"/>
                <a:gd name="connsiteX31" fmla="*/ 125159 w 199834"/>
                <a:gd name="connsiteY31" fmla="*/ 90773 h 174021"/>
                <a:gd name="connsiteX32" fmla="*/ 141065 w 199834"/>
                <a:gd name="connsiteY32" fmla="*/ 100013 h 174021"/>
                <a:gd name="connsiteX33" fmla="*/ 151543 w 199834"/>
                <a:gd name="connsiteY33" fmla="*/ 122872 h 174021"/>
                <a:gd name="connsiteX34" fmla="*/ 160115 w 199834"/>
                <a:gd name="connsiteY34" fmla="*/ 125254 h 174021"/>
                <a:gd name="connsiteX35" fmla="*/ 153543 w 199834"/>
                <a:gd name="connsiteY35" fmla="*/ 129826 h 174021"/>
                <a:gd name="connsiteX36" fmla="*/ 164116 w 199834"/>
                <a:gd name="connsiteY36" fmla="*/ 134683 h 174021"/>
                <a:gd name="connsiteX37" fmla="*/ 153924 w 199834"/>
                <a:gd name="connsiteY37" fmla="*/ 138017 h 174021"/>
                <a:gd name="connsiteX38" fmla="*/ 161449 w 199834"/>
                <a:gd name="connsiteY38" fmla="*/ 142970 h 174021"/>
                <a:gd name="connsiteX39" fmla="*/ 157829 w 199834"/>
                <a:gd name="connsiteY39" fmla="*/ 157448 h 174021"/>
                <a:gd name="connsiteX40" fmla="*/ 182309 w 199834"/>
                <a:gd name="connsiteY40" fmla="*/ 149257 h 174021"/>
                <a:gd name="connsiteX41" fmla="*/ 178975 w 199834"/>
                <a:gd name="connsiteY41" fmla="*/ 155543 h 174021"/>
                <a:gd name="connsiteX42" fmla="*/ 199168 w 199834"/>
                <a:gd name="connsiteY42" fmla="*/ 174022 h 174021"/>
                <a:gd name="connsiteX43" fmla="*/ 199454 w 199834"/>
                <a:gd name="connsiteY43" fmla="*/ 174022 h 174021"/>
                <a:gd name="connsiteX44" fmla="*/ 199454 w 199834"/>
                <a:gd name="connsiteY44" fmla="*/ 174022 h 174021"/>
                <a:gd name="connsiteX45" fmla="*/ 199454 w 199834"/>
                <a:gd name="connsiteY45" fmla="*/ 129730 h 17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9834" h="174021">
                  <a:moveTo>
                    <a:pt x="199454" y="129730"/>
                  </a:moveTo>
                  <a:lnTo>
                    <a:pt x="194786" y="125444"/>
                  </a:lnTo>
                  <a:lnTo>
                    <a:pt x="199454" y="118586"/>
                  </a:lnTo>
                  <a:lnTo>
                    <a:pt x="199454" y="44863"/>
                  </a:lnTo>
                  <a:lnTo>
                    <a:pt x="199835" y="44863"/>
                  </a:lnTo>
                  <a:lnTo>
                    <a:pt x="199168" y="44577"/>
                  </a:lnTo>
                  <a:lnTo>
                    <a:pt x="174688" y="39624"/>
                  </a:lnTo>
                  <a:lnTo>
                    <a:pt x="134207" y="22288"/>
                  </a:lnTo>
                  <a:lnTo>
                    <a:pt x="123539" y="34671"/>
                  </a:lnTo>
                  <a:lnTo>
                    <a:pt x="108013" y="36957"/>
                  </a:lnTo>
                  <a:lnTo>
                    <a:pt x="90869" y="59150"/>
                  </a:lnTo>
                  <a:lnTo>
                    <a:pt x="82582" y="59817"/>
                  </a:lnTo>
                  <a:lnTo>
                    <a:pt x="63722" y="38957"/>
                  </a:lnTo>
                  <a:lnTo>
                    <a:pt x="65056" y="21431"/>
                  </a:lnTo>
                  <a:lnTo>
                    <a:pt x="60484" y="7620"/>
                  </a:lnTo>
                  <a:lnTo>
                    <a:pt x="29432" y="0"/>
                  </a:lnTo>
                  <a:lnTo>
                    <a:pt x="5620" y="9239"/>
                  </a:lnTo>
                  <a:lnTo>
                    <a:pt x="0" y="21431"/>
                  </a:lnTo>
                  <a:lnTo>
                    <a:pt x="34385" y="38957"/>
                  </a:lnTo>
                  <a:lnTo>
                    <a:pt x="59150" y="34671"/>
                  </a:lnTo>
                  <a:lnTo>
                    <a:pt x="36004" y="48196"/>
                  </a:lnTo>
                  <a:lnTo>
                    <a:pt x="19812" y="48196"/>
                  </a:lnTo>
                  <a:lnTo>
                    <a:pt x="39338" y="63341"/>
                  </a:lnTo>
                  <a:lnTo>
                    <a:pt x="38671" y="74009"/>
                  </a:lnTo>
                  <a:lnTo>
                    <a:pt x="49530" y="69723"/>
                  </a:lnTo>
                  <a:lnTo>
                    <a:pt x="57817" y="51149"/>
                  </a:lnTo>
                  <a:lnTo>
                    <a:pt x="59817" y="69342"/>
                  </a:lnTo>
                  <a:lnTo>
                    <a:pt x="83915" y="81248"/>
                  </a:lnTo>
                  <a:lnTo>
                    <a:pt x="98774" y="82201"/>
                  </a:lnTo>
                  <a:lnTo>
                    <a:pt x="116300" y="90773"/>
                  </a:lnTo>
                  <a:lnTo>
                    <a:pt x="121920" y="90106"/>
                  </a:lnTo>
                  <a:lnTo>
                    <a:pt x="125159" y="90773"/>
                  </a:lnTo>
                  <a:lnTo>
                    <a:pt x="141065" y="100013"/>
                  </a:lnTo>
                  <a:lnTo>
                    <a:pt x="151543" y="122872"/>
                  </a:lnTo>
                  <a:lnTo>
                    <a:pt x="160115" y="125254"/>
                  </a:lnTo>
                  <a:lnTo>
                    <a:pt x="153543" y="129826"/>
                  </a:lnTo>
                  <a:lnTo>
                    <a:pt x="164116" y="134683"/>
                  </a:lnTo>
                  <a:lnTo>
                    <a:pt x="153924" y="138017"/>
                  </a:lnTo>
                  <a:lnTo>
                    <a:pt x="161449" y="142970"/>
                  </a:lnTo>
                  <a:lnTo>
                    <a:pt x="157829" y="157448"/>
                  </a:lnTo>
                  <a:lnTo>
                    <a:pt x="182309" y="149257"/>
                  </a:lnTo>
                  <a:lnTo>
                    <a:pt x="178975" y="155543"/>
                  </a:lnTo>
                  <a:lnTo>
                    <a:pt x="199168" y="174022"/>
                  </a:lnTo>
                  <a:lnTo>
                    <a:pt x="199454" y="174022"/>
                  </a:lnTo>
                  <a:lnTo>
                    <a:pt x="199454" y="174022"/>
                  </a:lnTo>
                  <a:lnTo>
                    <a:pt x="199454" y="12973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6" name="Freeform: Shape 2716">
              <a:extLst>
                <a:ext uri="{FF2B5EF4-FFF2-40B4-BE49-F238E27FC236}">
                  <a16:creationId xmlns:a16="http://schemas.microsoft.com/office/drawing/2014/main" id="{D76603B1-3A7A-F609-A4BB-7A4DDBEC8A37}"/>
                </a:ext>
              </a:extLst>
            </p:cNvPr>
            <p:cNvSpPr/>
            <p:nvPr/>
          </p:nvSpPr>
          <p:spPr>
            <a:xfrm>
              <a:off x="3828764" y="4726812"/>
              <a:ext cx="185261" cy="56769"/>
            </a:xfrm>
            <a:custGeom>
              <a:avLst/>
              <a:gdLst>
                <a:gd name="connsiteX0" fmla="*/ 185261 w 185261"/>
                <a:gd name="connsiteY0" fmla="*/ 56769 h 56769"/>
                <a:gd name="connsiteX1" fmla="*/ 182594 w 185261"/>
                <a:gd name="connsiteY1" fmla="*/ 37338 h 56769"/>
                <a:gd name="connsiteX2" fmla="*/ 157829 w 185261"/>
                <a:gd name="connsiteY2" fmla="*/ 36290 h 56769"/>
                <a:gd name="connsiteX3" fmla="*/ 149257 w 185261"/>
                <a:gd name="connsiteY3" fmla="*/ 32004 h 56769"/>
                <a:gd name="connsiteX4" fmla="*/ 145542 w 185261"/>
                <a:gd name="connsiteY4" fmla="*/ 18764 h 56769"/>
                <a:gd name="connsiteX5" fmla="*/ 117538 w 185261"/>
                <a:gd name="connsiteY5" fmla="*/ 15526 h 56769"/>
                <a:gd name="connsiteX6" fmla="*/ 114871 w 185261"/>
                <a:gd name="connsiteY6" fmla="*/ 10192 h 56769"/>
                <a:gd name="connsiteX7" fmla="*/ 102298 w 185261"/>
                <a:gd name="connsiteY7" fmla="*/ 21146 h 56769"/>
                <a:gd name="connsiteX8" fmla="*/ 94488 w 185261"/>
                <a:gd name="connsiteY8" fmla="*/ 17240 h 56769"/>
                <a:gd name="connsiteX9" fmla="*/ 69342 w 185261"/>
                <a:gd name="connsiteY9" fmla="*/ 17812 h 56769"/>
                <a:gd name="connsiteX10" fmla="*/ 61436 w 185261"/>
                <a:gd name="connsiteY10" fmla="*/ 6953 h 56769"/>
                <a:gd name="connsiteX11" fmla="*/ 36004 w 185261"/>
                <a:gd name="connsiteY11" fmla="*/ 0 h 56769"/>
                <a:gd name="connsiteX12" fmla="*/ 15526 w 185261"/>
                <a:gd name="connsiteY12" fmla="*/ 0 h 56769"/>
                <a:gd name="connsiteX13" fmla="*/ 9715 w 185261"/>
                <a:gd name="connsiteY13" fmla="*/ 13716 h 56769"/>
                <a:gd name="connsiteX14" fmla="*/ 0 w 185261"/>
                <a:gd name="connsiteY14" fmla="*/ 16859 h 56769"/>
                <a:gd name="connsiteX15" fmla="*/ 25241 w 185261"/>
                <a:gd name="connsiteY15" fmla="*/ 24955 h 56769"/>
                <a:gd name="connsiteX16" fmla="*/ 22860 w 185261"/>
                <a:gd name="connsiteY16" fmla="*/ 29623 h 56769"/>
                <a:gd name="connsiteX17" fmla="*/ 52483 w 185261"/>
                <a:gd name="connsiteY17" fmla="*/ 36004 h 56769"/>
                <a:gd name="connsiteX18" fmla="*/ 86392 w 185261"/>
                <a:gd name="connsiteY18" fmla="*/ 35052 h 56769"/>
                <a:gd name="connsiteX19" fmla="*/ 108966 w 185261"/>
                <a:gd name="connsiteY19" fmla="*/ 45244 h 56769"/>
                <a:gd name="connsiteX20" fmla="*/ 147542 w 185261"/>
                <a:gd name="connsiteY20" fmla="*/ 50197 h 56769"/>
                <a:gd name="connsiteX21" fmla="*/ 158782 w 185261"/>
                <a:gd name="connsiteY21" fmla="*/ 46863 h 56769"/>
                <a:gd name="connsiteX22" fmla="*/ 185261 w 185261"/>
                <a:gd name="connsiteY22" fmla="*/ 56769 h 5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5261" h="56769">
                  <a:moveTo>
                    <a:pt x="185261" y="56769"/>
                  </a:moveTo>
                  <a:lnTo>
                    <a:pt x="182594" y="37338"/>
                  </a:lnTo>
                  <a:lnTo>
                    <a:pt x="157829" y="36290"/>
                  </a:lnTo>
                  <a:lnTo>
                    <a:pt x="149257" y="32004"/>
                  </a:lnTo>
                  <a:lnTo>
                    <a:pt x="145542" y="18764"/>
                  </a:lnTo>
                  <a:lnTo>
                    <a:pt x="117538" y="15526"/>
                  </a:lnTo>
                  <a:lnTo>
                    <a:pt x="114871" y="10192"/>
                  </a:lnTo>
                  <a:lnTo>
                    <a:pt x="102298" y="21146"/>
                  </a:lnTo>
                  <a:lnTo>
                    <a:pt x="94488" y="17240"/>
                  </a:lnTo>
                  <a:lnTo>
                    <a:pt x="69342" y="17812"/>
                  </a:lnTo>
                  <a:lnTo>
                    <a:pt x="61436" y="6953"/>
                  </a:lnTo>
                  <a:lnTo>
                    <a:pt x="36004" y="0"/>
                  </a:lnTo>
                  <a:lnTo>
                    <a:pt x="15526" y="0"/>
                  </a:lnTo>
                  <a:lnTo>
                    <a:pt x="9715" y="13716"/>
                  </a:lnTo>
                  <a:lnTo>
                    <a:pt x="0" y="16859"/>
                  </a:lnTo>
                  <a:lnTo>
                    <a:pt x="25241" y="24955"/>
                  </a:lnTo>
                  <a:lnTo>
                    <a:pt x="22860" y="29623"/>
                  </a:lnTo>
                  <a:lnTo>
                    <a:pt x="52483" y="36004"/>
                  </a:lnTo>
                  <a:lnTo>
                    <a:pt x="86392" y="35052"/>
                  </a:lnTo>
                  <a:lnTo>
                    <a:pt x="108966" y="45244"/>
                  </a:lnTo>
                  <a:lnTo>
                    <a:pt x="147542" y="50197"/>
                  </a:lnTo>
                  <a:lnTo>
                    <a:pt x="158782" y="46863"/>
                  </a:lnTo>
                  <a:lnTo>
                    <a:pt x="185261" y="5676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7" name="Freeform: Shape 2717">
              <a:extLst>
                <a:ext uri="{FF2B5EF4-FFF2-40B4-BE49-F238E27FC236}">
                  <a16:creationId xmlns:a16="http://schemas.microsoft.com/office/drawing/2014/main" id="{D9986252-9A6E-946D-B8A9-EB2DA4FFE825}"/>
                </a:ext>
              </a:extLst>
            </p:cNvPr>
            <p:cNvSpPr/>
            <p:nvPr/>
          </p:nvSpPr>
          <p:spPr>
            <a:xfrm>
              <a:off x="4470939" y="4759864"/>
              <a:ext cx="22669" cy="16764"/>
            </a:xfrm>
            <a:custGeom>
              <a:avLst/>
              <a:gdLst>
                <a:gd name="connsiteX0" fmla="*/ 22669 w 22669"/>
                <a:gd name="connsiteY0" fmla="*/ 1238 h 16764"/>
                <a:gd name="connsiteX1" fmla="*/ 12668 w 22669"/>
                <a:gd name="connsiteY1" fmla="*/ 0 h 16764"/>
                <a:gd name="connsiteX2" fmla="*/ 0 w 22669"/>
                <a:gd name="connsiteY2" fmla="*/ 16764 h 16764"/>
                <a:gd name="connsiteX3" fmla="*/ 21336 w 22669"/>
                <a:gd name="connsiteY3" fmla="*/ 12573 h 16764"/>
                <a:gd name="connsiteX4" fmla="*/ 22669 w 22669"/>
                <a:gd name="connsiteY4" fmla="*/ 1238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69" h="16764">
                  <a:moveTo>
                    <a:pt x="22669" y="1238"/>
                  </a:moveTo>
                  <a:lnTo>
                    <a:pt x="12668" y="0"/>
                  </a:lnTo>
                  <a:lnTo>
                    <a:pt x="0" y="16764"/>
                  </a:lnTo>
                  <a:lnTo>
                    <a:pt x="21336" y="12573"/>
                  </a:lnTo>
                  <a:lnTo>
                    <a:pt x="22669" y="123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8" name="Freeform: Shape 2718">
              <a:extLst>
                <a:ext uri="{FF2B5EF4-FFF2-40B4-BE49-F238E27FC236}">
                  <a16:creationId xmlns:a16="http://schemas.microsoft.com/office/drawing/2014/main" id="{FEB130F9-F8BC-60DF-8A3B-3C63B1E504EC}"/>
                </a:ext>
              </a:extLst>
            </p:cNvPr>
            <p:cNvSpPr/>
            <p:nvPr/>
          </p:nvSpPr>
          <p:spPr>
            <a:xfrm>
              <a:off x="4119657" y="4773009"/>
              <a:ext cx="61436" cy="15430"/>
            </a:xfrm>
            <a:custGeom>
              <a:avLst/>
              <a:gdLst>
                <a:gd name="connsiteX0" fmla="*/ 50578 w 61436"/>
                <a:gd name="connsiteY0" fmla="*/ 12573 h 15430"/>
                <a:gd name="connsiteX1" fmla="*/ 61436 w 61436"/>
                <a:gd name="connsiteY1" fmla="*/ 0 h 15430"/>
                <a:gd name="connsiteX2" fmla="*/ 45339 w 61436"/>
                <a:gd name="connsiteY2" fmla="*/ 7715 h 15430"/>
                <a:gd name="connsiteX3" fmla="*/ 32004 w 61436"/>
                <a:gd name="connsiteY3" fmla="*/ 6953 h 15430"/>
                <a:gd name="connsiteX4" fmla="*/ 7239 w 61436"/>
                <a:gd name="connsiteY4" fmla="*/ 381 h 15430"/>
                <a:gd name="connsiteX5" fmla="*/ 0 w 61436"/>
                <a:gd name="connsiteY5" fmla="*/ 12287 h 15430"/>
                <a:gd name="connsiteX6" fmla="*/ 24003 w 61436"/>
                <a:gd name="connsiteY6" fmla="*/ 15430 h 15430"/>
                <a:gd name="connsiteX7" fmla="*/ 50578 w 61436"/>
                <a:gd name="connsiteY7" fmla="*/ 12573 h 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436" h="15430">
                  <a:moveTo>
                    <a:pt x="50578" y="12573"/>
                  </a:moveTo>
                  <a:lnTo>
                    <a:pt x="61436" y="0"/>
                  </a:lnTo>
                  <a:lnTo>
                    <a:pt x="45339" y="7715"/>
                  </a:lnTo>
                  <a:lnTo>
                    <a:pt x="32004" y="6953"/>
                  </a:lnTo>
                  <a:lnTo>
                    <a:pt x="7239" y="381"/>
                  </a:lnTo>
                  <a:lnTo>
                    <a:pt x="0" y="12287"/>
                  </a:lnTo>
                  <a:lnTo>
                    <a:pt x="24003" y="15430"/>
                  </a:lnTo>
                  <a:lnTo>
                    <a:pt x="50578" y="1257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29" name="Freeform: Shape 2719">
              <a:extLst>
                <a:ext uri="{FF2B5EF4-FFF2-40B4-BE49-F238E27FC236}">
                  <a16:creationId xmlns:a16="http://schemas.microsoft.com/office/drawing/2014/main" id="{284230D8-8347-7F1C-D7A2-F66FD677490F}"/>
                </a:ext>
              </a:extLst>
            </p:cNvPr>
            <p:cNvSpPr/>
            <p:nvPr/>
          </p:nvSpPr>
          <p:spPr>
            <a:xfrm>
              <a:off x="4064603" y="4775676"/>
              <a:ext cx="42957" cy="17145"/>
            </a:xfrm>
            <a:custGeom>
              <a:avLst/>
              <a:gdLst>
                <a:gd name="connsiteX0" fmla="*/ 16764 w 42957"/>
                <a:gd name="connsiteY0" fmla="*/ 7239 h 17145"/>
                <a:gd name="connsiteX1" fmla="*/ 1905 w 42957"/>
                <a:gd name="connsiteY1" fmla="*/ 0 h 17145"/>
                <a:gd name="connsiteX2" fmla="*/ 0 w 42957"/>
                <a:gd name="connsiteY2" fmla="*/ 17145 h 17145"/>
                <a:gd name="connsiteX3" fmla="*/ 42958 w 42957"/>
                <a:gd name="connsiteY3" fmla="*/ 8763 h 17145"/>
                <a:gd name="connsiteX4" fmla="*/ 37243 w 42957"/>
                <a:gd name="connsiteY4" fmla="*/ 0 h 17145"/>
                <a:gd name="connsiteX5" fmla="*/ 16764 w 42957"/>
                <a:gd name="connsiteY5" fmla="*/ 7239 h 1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57" h="17145">
                  <a:moveTo>
                    <a:pt x="16764" y="7239"/>
                  </a:moveTo>
                  <a:lnTo>
                    <a:pt x="1905" y="0"/>
                  </a:lnTo>
                  <a:lnTo>
                    <a:pt x="0" y="17145"/>
                  </a:lnTo>
                  <a:lnTo>
                    <a:pt x="42958" y="8763"/>
                  </a:lnTo>
                  <a:lnTo>
                    <a:pt x="37243" y="0"/>
                  </a:lnTo>
                  <a:lnTo>
                    <a:pt x="16764" y="7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0" name="Freeform: Shape 2720">
              <a:extLst>
                <a:ext uri="{FF2B5EF4-FFF2-40B4-BE49-F238E27FC236}">
                  <a16:creationId xmlns:a16="http://schemas.microsoft.com/office/drawing/2014/main" id="{FB954297-F649-2B32-C79C-A8A01AD07665}"/>
                </a:ext>
              </a:extLst>
            </p:cNvPr>
            <p:cNvSpPr/>
            <p:nvPr/>
          </p:nvSpPr>
          <p:spPr>
            <a:xfrm>
              <a:off x="4102512" y="4796440"/>
              <a:ext cx="35337" cy="17240"/>
            </a:xfrm>
            <a:custGeom>
              <a:avLst/>
              <a:gdLst>
                <a:gd name="connsiteX0" fmla="*/ 35338 w 35337"/>
                <a:gd name="connsiteY0" fmla="*/ 10954 h 17240"/>
                <a:gd name="connsiteX1" fmla="*/ 22765 w 35337"/>
                <a:gd name="connsiteY1" fmla="*/ 667 h 17240"/>
                <a:gd name="connsiteX2" fmla="*/ 0 w 35337"/>
                <a:gd name="connsiteY2" fmla="*/ 0 h 17240"/>
                <a:gd name="connsiteX3" fmla="*/ 28385 w 35337"/>
                <a:gd name="connsiteY3" fmla="*/ 17240 h 17240"/>
                <a:gd name="connsiteX4" fmla="*/ 35338 w 35337"/>
                <a:gd name="connsiteY4" fmla="*/ 10954 h 1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37" h="17240">
                  <a:moveTo>
                    <a:pt x="35338" y="10954"/>
                  </a:moveTo>
                  <a:lnTo>
                    <a:pt x="22765" y="667"/>
                  </a:lnTo>
                  <a:lnTo>
                    <a:pt x="0" y="0"/>
                  </a:lnTo>
                  <a:lnTo>
                    <a:pt x="28385" y="17240"/>
                  </a:lnTo>
                  <a:lnTo>
                    <a:pt x="35338" y="109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1" name="Freeform: Shape 2721">
              <a:extLst>
                <a:ext uri="{FF2B5EF4-FFF2-40B4-BE49-F238E27FC236}">
                  <a16:creationId xmlns:a16="http://schemas.microsoft.com/office/drawing/2014/main" id="{38D2BB49-7E9B-EE27-46ED-AE14150ABE85}"/>
                </a:ext>
              </a:extLst>
            </p:cNvPr>
            <p:cNvSpPr/>
            <p:nvPr/>
          </p:nvSpPr>
          <p:spPr>
            <a:xfrm>
              <a:off x="4042124" y="4774914"/>
              <a:ext cx="17335" cy="18668"/>
            </a:xfrm>
            <a:custGeom>
              <a:avLst/>
              <a:gdLst>
                <a:gd name="connsiteX0" fmla="*/ 11049 w 17335"/>
                <a:gd name="connsiteY0" fmla="*/ 18669 h 18668"/>
                <a:gd name="connsiteX1" fmla="*/ 17336 w 17335"/>
                <a:gd name="connsiteY1" fmla="*/ 953 h 18668"/>
                <a:gd name="connsiteX2" fmla="*/ 10763 w 17335"/>
                <a:gd name="connsiteY2" fmla="*/ 0 h 18668"/>
                <a:gd name="connsiteX3" fmla="*/ 2667 w 17335"/>
                <a:gd name="connsiteY3" fmla="*/ 3715 h 18668"/>
                <a:gd name="connsiteX4" fmla="*/ 4572 w 17335"/>
                <a:gd name="connsiteY4" fmla="*/ 8191 h 18668"/>
                <a:gd name="connsiteX5" fmla="*/ 0 w 17335"/>
                <a:gd name="connsiteY5" fmla="*/ 12668 h 18668"/>
                <a:gd name="connsiteX6" fmla="*/ 11049 w 17335"/>
                <a:gd name="connsiteY6" fmla="*/ 18669 h 1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35" h="18668">
                  <a:moveTo>
                    <a:pt x="11049" y="18669"/>
                  </a:moveTo>
                  <a:lnTo>
                    <a:pt x="17336" y="953"/>
                  </a:lnTo>
                  <a:lnTo>
                    <a:pt x="10763" y="0"/>
                  </a:lnTo>
                  <a:lnTo>
                    <a:pt x="2667" y="3715"/>
                  </a:lnTo>
                  <a:lnTo>
                    <a:pt x="4572" y="8191"/>
                  </a:lnTo>
                  <a:lnTo>
                    <a:pt x="0" y="12668"/>
                  </a:lnTo>
                  <a:lnTo>
                    <a:pt x="11049" y="1866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2" name="Freeform: Shape 2722">
              <a:extLst>
                <a:ext uri="{FF2B5EF4-FFF2-40B4-BE49-F238E27FC236}">
                  <a16:creationId xmlns:a16="http://schemas.microsoft.com/office/drawing/2014/main" id="{A4EC5B4B-2525-AE03-BB5C-A9F06C710BC6}"/>
                </a:ext>
              </a:extLst>
            </p:cNvPr>
            <p:cNvSpPr/>
            <p:nvPr/>
          </p:nvSpPr>
          <p:spPr>
            <a:xfrm>
              <a:off x="4020407" y="4773104"/>
              <a:ext cx="19335" cy="13144"/>
            </a:xfrm>
            <a:custGeom>
              <a:avLst/>
              <a:gdLst>
                <a:gd name="connsiteX0" fmla="*/ 0 w 19335"/>
                <a:gd name="connsiteY0" fmla="*/ 0 h 13144"/>
                <a:gd name="connsiteX1" fmla="*/ 2286 w 19335"/>
                <a:gd name="connsiteY1" fmla="*/ 6572 h 13144"/>
                <a:gd name="connsiteX2" fmla="*/ 13145 w 19335"/>
                <a:gd name="connsiteY2" fmla="*/ 13145 h 13144"/>
                <a:gd name="connsiteX3" fmla="*/ 19336 w 19335"/>
                <a:gd name="connsiteY3" fmla="*/ 762 h 13144"/>
                <a:gd name="connsiteX4" fmla="*/ 10001 w 19335"/>
                <a:gd name="connsiteY4" fmla="*/ 2286 h 13144"/>
                <a:gd name="connsiteX5" fmla="*/ 0 w 19335"/>
                <a:gd name="connsiteY5" fmla="*/ 0 h 1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35" h="13144">
                  <a:moveTo>
                    <a:pt x="0" y="0"/>
                  </a:moveTo>
                  <a:lnTo>
                    <a:pt x="2286" y="6572"/>
                  </a:lnTo>
                  <a:lnTo>
                    <a:pt x="13145" y="13145"/>
                  </a:lnTo>
                  <a:lnTo>
                    <a:pt x="19336" y="762"/>
                  </a:lnTo>
                  <a:lnTo>
                    <a:pt x="10001" y="2286"/>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3" name="Freeform: Shape 2723">
              <a:extLst>
                <a:ext uri="{FF2B5EF4-FFF2-40B4-BE49-F238E27FC236}">
                  <a16:creationId xmlns:a16="http://schemas.microsoft.com/office/drawing/2014/main" id="{5885DDB6-5143-A233-1495-3FCEACBDCBA4}"/>
                </a:ext>
              </a:extLst>
            </p:cNvPr>
            <p:cNvSpPr/>
            <p:nvPr/>
          </p:nvSpPr>
          <p:spPr>
            <a:xfrm>
              <a:off x="4190333" y="4782724"/>
              <a:ext cx="35528" cy="31908"/>
            </a:xfrm>
            <a:custGeom>
              <a:avLst/>
              <a:gdLst>
                <a:gd name="connsiteX0" fmla="*/ 30194 w 35528"/>
                <a:gd name="connsiteY0" fmla="*/ 0 h 31908"/>
                <a:gd name="connsiteX1" fmla="*/ 30194 w 35528"/>
                <a:gd name="connsiteY1" fmla="*/ 0 h 31908"/>
                <a:gd name="connsiteX2" fmla="*/ 19526 w 35528"/>
                <a:gd name="connsiteY2" fmla="*/ 7239 h 31908"/>
                <a:gd name="connsiteX3" fmla="*/ 19526 w 35528"/>
                <a:gd name="connsiteY3" fmla="*/ 17526 h 31908"/>
                <a:gd name="connsiteX4" fmla="*/ 3905 w 35528"/>
                <a:gd name="connsiteY4" fmla="*/ 17717 h 31908"/>
                <a:gd name="connsiteX5" fmla="*/ 2286 w 35528"/>
                <a:gd name="connsiteY5" fmla="*/ 25622 h 31908"/>
                <a:gd name="connsiteX6" fmla="*/ 5905 w 35528"/>
                <a:gd name="connsiteY6" fmla="*/ 26670 h 31908"/>
                <a:gd name="connsiteX7" fmla="*/ 0 w 35528"/>
                <a:gd name="connsiteY7" fmla="*/ 31909 h 31908"/>
                <a:gd name="connsiteX8" fmla="*/ 19145 w 35528"/>
                <a:gd name="connsiteY8" fmla="*/ 28289 h 31908"/>
                <a:gd name="connsiteX9" fmla="*/ 32290 w 35528"/>
                <a:gd name="connsiteY9" fmla="*/ 14383 h 31908"/>
                <a:gd name="connsiteX10" fmla="*/ 35528 w 35528"/>
                <a:gd name="connsiteY10" fmla="*/ 4953 h 31908"/>
                <a:gd name="connsiteX11" fmla="*/ 30194 w 35528"/>
                <a:gd name="connsiteY11" fmla="*/ 0 h 3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28" h="31908">
                  <a:moveTo>
                    <a:pt x="30194" y="0"/>
                  </a:moveTo>
                  <a:lnTo>
                    <a:pt x="30194" y="0"/>
                  </a:lnTo>
                  <a:lnTo>
                    <a:pt x="19526" y="7239"/>
                  </a:lnTo>
                  <a:lnTo>
                    <a:pt x="19526" y="17526"/>
                  </a:lnTo>
                  <a:lnTo>
                    <a:pt x="3905" y="17717"/>
                  </a:lnTo>
                  <a:lnTo>
                    <a:pt x="2286" y="25622"/>
                  </a:lnTo>
                  <a:lnTo>
                    <a:pt x="5905" y="26670"/>
                  </a:lnTo>
                  <a:lnTo>
                    <a:pt x="0" y="31909"/>
                  </a:lnTo>
                  <a:lnTo>
                    <a:pt x="19145" y="28289"/>
                  </a:lnTo>
                  <a:lnTo>
                    <a:pt x="32290" y="14383"/>
                  </a:lnTo>
                  <a:lnTo>
                    <a:pt x="35528" y="4953"/>
                  </a:lnTo>
                  <a:lnTo>
                    <a:pt x="3019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4" name="Freeform: Shape 2724">
              <a:extLst>
                <a:ext uri="{FF2B5EF4-FFF2-40B4-BE49-F238E27FC236}">
                  <a16:creationId xmlns:a16="http://schemas.microsoft.com/office/drawing/2014/main" id="{E082F2F5-54DE-0FB8-F979-63958A1BB998}"/>
                </a:ext>
              </a:extLst>
            </p:cNvPr>
            <p:cNvSpPr/>
            <p:nvPr/>
          </p:nvSpPr>
          <p:spPr>
            <a:xfrm>
              <a:off x="3186969" y="3842511"/>
              <a:ext cx="133159" cy="105060"/>
            </a:xfrm>
            <a:custGeom>
              <a:avLst/>
              <a:gdLst>
                <a:gd name="connsiteX0" fmla="*/ 68104 w 133159"/>
                <a:gd name="connsiteY0" fmla="*/ 91440 h 105060"/>
                <a:gd name="connsiteX1" fmla="*/ 78200 w 133159"/>
                <a:gd name="connsiteY1" fmla="*/ 85630 h 105060"/>
                <a:gd name="connsiteX2" fmla="*/ 88773 w 133159"/>
                <a:gd name="connsiteY2" fmla="*/ 92012 h 105060"/>
                <a:gd name="connsiteX3" fmla="*/ 101632 w 133159"/>
                <a:gd name="connsiteY3" fmla="*/ 91154 h 105060"/>
                <a:gd name="connsiteX4" fmla="*/ 110204 w 133159"/>
                <a:gd name="connsiteY4" fmla="*/ 97346 h 105060"/>
                <a:gd name="connsiteX5" fmla="*/ 117158 w 133159"/>
                <a:gd name="connsiteY5" fmla="*/ 95250 h 105060"/>
                <a:gd name="connsiteX6" fmla="*/ 118682 w 133159"/>
                <a:gd name="connsiteY6" fmla="*/ 101060 h 105060"/>
                <a:gd name="connsiteX7" fmla="*/ 123349 w 133159"/>
                <a:gd name="connsiteY7" fmla="*/ 102870 h 105060"/>
                <a:gd name="connsiteX8" fmla="*/ 133160 w 133159"/>
                <a:gd name="connsiteY8" fmla="*/ 95536 h 105060"/>
                <a:gd name="connsiteX9" fmla="*/ 130302 w 133159"/>
                <a:gd name="connsiteY9" fmla="*/ 90297 h 105060"/>
                <a:gd name="connsiteX10" fmla="*/ 130588 w 133159"/>
                <a:gd name="connsiteY10" fmla="*/ 85344 h 105060"/>
                <a:gd name="connsiteX11" fmla="*/ 124682 w 133159"/>
                <a:gd name="connsiteY11" fmla="*/ 83915 h 105060"/>
                <a:gd name="connsiteX12" fmla="*/ 119825 w 133159"/>
                <a:gd name="connsiteY12" fmla="*/ 79534 h 105060"/>
                <a:gd name="connsiteX13" fmla="*/ 117158 w 133159"/>
                <a:gd name="connsiteY13" fmla="*/ 77153 h 105060"/>
                <a:gd name="connsiteX14" fmla="*/ 115824 w 133159"/>
                <a:gd name="connsiteY14" fmla="*/ 64579 h 105060"/>
                <a:gd name="connsiteX15" fmla="*/ 121825 w 133159"/>
                <a:gd name="connsiteY15" fmla="*/ 60770 h 105060"/>
                <a:gd name="connsiteX16" fmla="*/ 119729 w 133159"/>
                <a:gd name="connsiteY16" fmla="*/ 56769 h 105060"/>
                <a:gd name="connsiteX17" fmla="*/ 108395 w 133159"/>
                <a:gd name="connsiteY17" fmla="*/ 51721 h 105060"/>
                <a:gd name="connsiteX18" fmla="*/ 103537 w 133159"/>
                <a:gd name="connsiteY18" fmla="*/ 39529 h 105060"/>
                <a:gd name="connsiteX19" fmla="*/ 104775 w 133159"/>
                <a:gd name="connsiteY19" fmla="*/ 35433 h 105060"/>
                <a:gd name="connsiteX20" fmla="*/ 101632 w 133159"/>
                <a:gd name="connsiteY20" fmla="*/ 31909 h 105060"/>
                <a:gd name="connsiteX21" fmla="*/ 101632 w 133159"/>
                <a:gd name="connsiteY21" fmla="*/ 31813 h 105060"/>
                <a:gd name="connsiteX22" fmla="*/ 92107 w 133159"/>
                <a:gd name="connsiteY22" fmla="*/ 33052 h 105060"/>
                <a:gd name="connsiteX23" fmla="*/ 75343 w 133159"/>
                <a:gd name="connsiteY23" fmla="*/ 27527 h 105060"/>
                <a:gd name="connsiteX24" fmla="*/ 74867 w 133159"/>
                <a:gd name="connsiteY24" fmla="*/ 23146 h 105060"/>
                <a:gd name="connsiteX25" fmla="*/ 66866 w 133159"/>
                <a:gd name="connsiteY25" fmla="*/ 26670 h 105060"/>
                <a:gd name="connsiteX26" fmla="*/ 65342 w 133159"/>
                <a:gd name="connsiteY26" fmla="*/ 21431 h 105060"/>
                <a:gd name="connsiteX27" fmla="*/ 60674 w 133159"/>
                <a:gd name="connsiteY27" fmla="*/ 19336 h 105060"/>
                <a:gd name="connsiteX28" fmla="*/ 63722 w 133159"/>
                <a:gd name="connsiteY28" fmla="*/ 14954 h 105060"/>
                <a:gd name="connsiteX29" fmla="*/ 58388 w 133159"/>
                <a:gd name="connsiteY29" fmla="*/ 5048 h 105060"/>
                <a:gd name="connsiteX30" fmla="*/ 51911 w 133159"/>
                <a:gd name="connsiteY30" fmla="*/ 5048 h 105060"/>
                <a:gd name="connsiteX31" fmla="*/ 50387 w 133159"/>
                <a:gd name="connsiteY31" fmla="*/ 953 h 105060"/>
                <a:gd name="connsiteX32" fmla="*/ 34195 w 133159"/>
                <a:gd name="connsiteY32" fmla="*/ 0 h 105060"/>
                <a:gd name="connsiteX33" fmla="*/ 23813 w 133159"/>
                <a:gd name="connsiteY33" fmla="*/ 4286 h 105060"/>
                <a:gd name="connsiteX34" fmla="*/ 22670 w 133159"/>
                <a:gd name="connsiteY34" fmla="*/ 4286 h 105060"/>
                <a:gd name="connsiteX35" fmla="*/ 13525 w 133159"/>
                <a:gd name="connsiteY35" fmla="*/ 4191 h 105060"/>
                <a:gd name="connsiteX36" fmla="*/ 13716 w 133159"/>
                <a:gd name="connsiteY36" fmla="*/ 4286 h 105060"/>
                <a:gd name="connsiteX37" fmla="*/ 1048 w 133159"/>
                <a:gd name="connsiteY37" fmla="*/ 14288 h 105060"/>
                <a:gd name="connsiteX38" fmla="*/ 0 w 133159"/>
                <a:gd name="connsiteY38" fmla="*/ 21241 h 105060"/>
                <a:gd name="connsiteX39" fmla="*/ 7334 w 133159"/>
                <a:gd name="connsiteY39" fmla="*/ 21431 h 105060"/>
                <a:gd name="connsiteX40" fmla="*/ 18764 w 133159"/>
                <a:gd name="connsiteY40" fmla="*/ 40100 h 105060"/>
                <a:gd name="connsiteX41" fmla="*/ 11144 w 133159"/>
                <a:gd name="connsiteY41" fmla="*/ 45625 h 105060"/>
                <a:gd name="connsiteX42" fmla="*/ 11144 w 133159"/>
                <a:gd name="connsiteY42" fmla="*/ 60198 h 105060"/>
                <a:gd name="connsiteX43" fmla="*/ 14954 w 133159"/>
                <a:gd name="connsiteY43" fmla="*/ 81629 h 105060"/>
                <a:gd name="connsiteX44" fmla="*/ 28956 w 133159"/>
                <a:gd name="connsiteY44" fmla="*/ 93154 h 105060"/>
                <a:gd name="connsiteX45" fmla="*/ 37529 w 133159"/>
                <a:gd name="connsiteY45" fmla="*/ 92678 h 105060"/>
                <a:gd name="connsiteX46" fmla="*/ 38195 w 133159"/>
                <a:gd name="connsiteY46" fmla="*/ 100870 h 105060"/>
                <a:gd name="connsiteX47" fmla="*/ 44101 w 133159"/>
                <a:gd name="connsiteY47" fmla="*/ 100203 h 105060"/>
                <a:gd name="connsiteX48" fmla="*/ 50673 w 133159"/>
                <a:gd name="connsiteY48" fmla="*/ 105061 h 105060"/>
                <a:gd name="connsiteX49" fmla="*/ 65532 w 133159"/>
                <a:gd name="connsiteY49" fmla="*/ 100203 h 105060"/>
                <a:gd name="connsiteX50" fmla="*/ 68104 w 133159"/>
                <a:gd name="connsiteY50" fmla="*/ 91440 h 105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3159" h="105060">
                  <a:moveTo>
                    <a:pt x="68104" y="91440"/>
                  </a:moveTo>
                  <a:lnTo>
                    <a:pt x="78200" y="85630"/>
                  </a:lnTo>
                  <a:lnTo>
                    <a:pt x="88773" y="92012"/>
                  </a:lnTo>
                  <a:lnTo>
                    <a:pt x="101632" y="91154"/>
                  </a:lnTo>
                  <a:lnTo>
                    <a:pt x="110204" y="97346"/>
                  </a:lnTo>
                  <a:lnTo>
                    <a:pt x="117158" y="95250"/>
                  </a:lnTo>
                  <a:lnTo>
                    <a:pt x="118682" y="101060"/>
                  </a:lnTo>
                  <a:lnTo>
                    <a:pt x="123349" y="102870"/>
                  </a:lnTo>
                  <a:lnTo>
                    <a:pt x="133160" y="95536"/>
                  </a:lnTo>
                  <a:lnTo>
                    <a:pt x="130302" y="90297"/>
                  </a:lnTo>
                  <a:lnTo>
                    <a:pt x="130588" y="85344"/>
                  </a:lnTo>
                  <a:lnTo>
                    <a:pt x="124682" y="83915"/>
                  </a:lnTo>
                  <a:lnTo>
                    <a:pt x="119825" y="79534"/>
                  </a:lnTo>
                  <a:lnTo>
                    <a:pt x="117158" y="77153"/>
                  </a:lnTo>
                  <a:lnTo>
                    <a:pt x="115824" y="64579"/>
                  </a:lnTo>
                  <a:lnTo>
                    <a:pt x="121825" y="60770"/>
                  </a:lnTo>
                  <a:lnTo>
                    <a:pt x="119729" y="56769"/>
                  </a:lnTo>
                  <a:lnTo>
                    <a:pt x="108395" y="51721"/>
                  </a:lnTo>
                  <a:lnTo>
                    <a:pt x="103537" y="39529"/>
                  </a:lnTo>
                  <a:lnTo>
                    <a:pt x="104775" y="35433"/>
                  </a:lnTo>
                  <a:lnTo>
                    <a:pt x="101632" y="31909"/>
                  </a:lnTo>
                  <a:lnTo>
                    <a:pt x="101632" y="31813"/>
                  </a:lnTo>
                  <a:lnTo>
                    <a:pt x="92107" y="33052"/>
                  </a:lnTo>
                  <a:lnTo>
                    <a:pt x="75343" y="27527"/>
                  </a:lnTo>
                  <a:lnTo>
                    <a:pt x="74867" y="23146"/>
                  </a:lnTo>
                  <a:lnTo>
                    <a:pt x="66866" y="26670"/>
                  </a:lnTo>
                  <a:lnTo>
                    <a:pt x="65342" y="21431"/>
                  </a:lnTo>
                  <a:lnTo>
                    <a:pt x="60674" y="19336"/>
                  </a:lnTo>
                  <a:lnTo>
                    <a:pt x="63722" y="14954"/>
                  </a:lnTo>
                  <a:lnTo>
                    <a:pt x="58388" y="5048"/>
                  </a:lnTo>
                  <a:lnTo>
                    <a:pt x="51911" y="5048"/>
                  </a:lnTo>
                  <a:lnTo>
                    <a:pt x="50387" y="953"/>
                  </a:lnTo>
                  <a:lnTo>
                    <a:pt x="34195" y="0"/>
                  </a:lnTo>
                  <a:lnTo>
                    <a:pt x="23813" y="4286"/>
                  </a:lnTo>
                  <a:lnTo>
                    <a:pt x="22670" y="4286"/>
                  </a:lnTo>
                  <a:lnTo>
                    <a:pt x="13525" y="4191"/>
                  </a:lnTo>
                  <a:lnTo>
                    <a:pt x="13716" y="4286"/>
                  </a:lnTo>
                  <a:lnTo>
                    <a:pt x="1048" y="14288"/>
                  </a:lnTo>
                  <a:lnTo>
                    <a:pt x="0" y="21241"/>
                  </a:lnTo>
                  <a:lnTo>
                    <a:pt x="7334" y="21431"/>
                  </a:lnTo>
                  <a:lnTo>
                    <a:pt x="18764" y="40100"/>
                  </a:lnTo>
                  <a:lnTo>
                    <a:pt x="11144" y="45625"/>
                  </a:lnTo>
                  <a:lnTo>
                    <a:pt x="11144" y="60198"/>
                  </a:lnTo>
                  <a:lnTo>
                    <a:pt x="14954" y="81629"/>
                  </a:lnTo>
                  <a:lnTo>
                    <a:pt x="28956" y="93154"/>
                  </a:lnTo>
                  <a:lnTo>
                    <a:pt x="37529" y="92678"/>
                  </a:lnTo>
                  <a:lnTo>
                    <a:pt x="38195" y="100870"/>
                  </a:lnTo>
                  <a:lnTo>
                    <a:pt x="44101" y="100203"/>
                  </a:lnTo>
                  <a:lnTo>
                    <a:pt x="50673" y="105061"/>
                  </a:lnTo>
                  <a:lnTo>
                    <a:pt x="65532" y="100203"/>
                  </a:lnTo>
                  <a:lnTo>
                    <a:pt x="68104" y="9144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5" name="Freeform: Shape 2725">
              <a:extLst>
                <a:ext uri="{FF2B5EF4-FFF2-40B4-BE49-F238E27FC236}">
                  <a16:creationId xmlns:a16="http://schemas.microsoft.com/office/drawing/2014/main" id="{941FA5BB-A2F6-7983-4FC1-1BDB975C389C}"/>
                </a:ext>
              </a:extLst>
            </p:cNvPr>
            <p:cNvSpPr/>
            <p:nvPr/>
          </p:nvSpPr>
          <p:spPr>
            <a:xfrm>
              <a:off x="3095339" y="3928141"/>
              <a:ext cx="574262" cy="515016"/>
            </a:xfrm>
            <a:custGeom>
              <a:avLst/>
              <a:gdLst>
                <a:gd name="connsiteX0" fmla="*/ 491204 w 574262"/>
                <a:gd name="connsiteY0" fmla="*/ 239173 h 515016"/>
                <a:gd name="connsiteX1" fmla="*/ 492633 w 574262"/>
                <a:gd name="connsiteY1" fmla="*/ 234410 h 515016"/>
                <a:gd name="connsiteX2" fmla="*/ 496253 w 574262"/>
                <a:gd name="connsiteY2" fmla="*/ 231743 h 515016"/>
                <a:gd name="connsiteX3" fmla="*/ 493014 w 574262"/>
                <a:gd name="connsiteY3" fmla="*/ 226409 h 515016"/>
                <a:gd name="connsiteX4" fmla="*/ 494347 w 574262"/>
                <a:gd name="connsiteY4" fmla="*/ 215932 h 515016"/>
                <a:gd name="connsiteX5" fmla="*/ 498253 w 574262"/>
                <a:gd name="connsiteY5" fmla="*/ 217170 h 515016"/>
                <a:gd name="connsiteX6" fmla="*/ 499205 w 574262"/>
                <a:gd name="connsiteY6" fmla="*/ 202216 h 515016"/>
                <a:gd name="connsiteX7" fmla="*/ 496634 w 574262"/>
                <a:gd name="connsiteY7" fmla="*/ 196405 h 515016"/>
                <a:gd name="connsiteX8" fmla="*/ 499015 w 574262"/>
                <a:gd name="connsiteY8" fmla="*/ 193834 h 515016"/>
                <a:gd name="connsiteX9" fmla="*/ 502634 w 574262"/>
                <a:gd name="connsiteY9" fmla="*/ 197072 h 515016"/>
                <a:gd name="connsiteX10" fmla="*/ 505206 w 574262"/>
                <a:gd name="connsiteY10" fmla="*/ 195834 h 515016"/>
                <a:gd name="connsiteX11" fmla="*/ 514636 w 574262"/>
                <a:gd name="connsiteY11" fmla="*/ 199549 h 515016"/>
                <a:gd name="connsiteX12" fmla="*/ 518541 w 574262"/>
                <a:gd name="connsiteY12" fmla="*/ 186023 h 515016"/>
                <a:gd name="connsiteX13" fmla="*/ 527018 w 574262"/>
                <a:gd name="connsiteY13" fmla="*/ 173450 h 515016"/>
                <a:gd name="connsiteX14" fmla="*/ 522065 w 574262"/>
                <a:gd name="connsiteY14" fmla="*/ 171355 h 515016"/>
                <a:gd name="connsiteX15" fmla="*/ 522637 w 574262"/>
                <a:gd name="connsiteY15" fmla="*/ 166878 h 515016"/>
                <a:gd name="connsiteX16" fmla="*/ 531495 w 574262"/>
                <a:gd name="connsiteY16" fmla="*/ 160687 h 515016"/>
                <a:gd name="connsiteX17" fmla="*/ 531305 w 574262"/>
                <a:gd name="connsiteY17" fmla="*/ 156400 h 515016"/>
                <a:gd name="connsiteX18" fmla="*/ 534829 w 574262"/>
                <a:gd name="connsiteY18" fmla="*/ 154114 h 515016"/>
                <a:gd name="connsiteX19" fmla="*/ 532257 w 574262"/>
                <a:gd name="connsiteY19" fmla="*/ 147542 h 515016"/>
                <a:gd name="connsiteX20" fmla="*/ 534257 w 574262"/>
                <a:gd name="connsiteY20" fmla="*/ 141160 h 515016"/>
                <a:gd name="connsiteX21" fmla="*/ 545592 w 574262"/>
                <a:gd name="connsiteY21" fmla="*/ 136112 h 515016"/>
                <a:gd name="connsiteX22" fmla="*/ 551402 w 574262"/>
                <a:gd name="connsiteY22" fmla="*/ 129064 h 515016"/>
                <a:gd name="connsiteX23" fmla="*/ 564356 w 574262"/>
                <a:gd name="connsiteY23" fmla="*/ 125444 h 515016"/>
                <a:gd name="connsiteX24" fmla="*/ 567499 w 574262"/>
                <a:gd name="connsiteY24" fmla="*/ 130302 h 515016"/>
                <a:gd name="connsiteX25" fmla="*/ 574262 w 574262"/>
                <a:gd name="connsiteY25" fmla="*/ 131159 h 515016"/>
                <a:gd name="connsiteX26" fmla="*/ 568833 w 574262"/>
                <a:gd name="connsiteY26" fmla="*/ 121729 h 515016"/>
                <a:gd name="connsiteX27" fmla="*/ 572072 w 574262"/>
                <a:gd name="connsiteY27" fmla="*/ 118015 h 515016"/>
                <a:gd name="connsiteX28" fmla="*/ 555117 w 574262"/>
                <a:gd name="connsiteY28" fmla="*/ 113633 h 515016"/>
                <a:gd name="connsiteX29" fmla="*/ 548640 w 574262"/>
                <a:gd name="connsiteY29" fmla="*/ 108680 h 515016"/>
                <a:gd name="connsiteX30" fmla="*/ 537591 w 574262"/>
                <a:gd name="connsiteY30" fmla="*/ 106204 h 515016"/>
                <a:gd name="connsiteX31" fmla="*/ 530638 w 574262"/>
                <a:gd name="connsiteY31" fmla="*/ 112490 h 515016"/>
                <a:gd name="connsiteX32" fmla="*/ 508445 w 574262"/>
                <a:gd name="connsiteY32" fmla="*/ 122396 h 515016"/>
                <a:gd name="connsiteX33" fmla="*/ 505587 w 574262"/>
                <a:gd name="connsiteY33" fmla="*/ 130016 h 515016"/>
                <a:gd name="connsiteX34" fmla="*/ 491680 w 574262"/>
                <a:gd name="connsiteY34" fmla="*/ 132778 h 515016"/>
                <a:gd name="connsiteX35" fmla="*/ 485966 w 574262"/>
                <a:gd name="connsiteY35" fmla="*/ 128968 h 515016"/>
                <a:gd name="connsiteX36" fmla="*/ 481584 w 574262"/>
                <a:gd name="connsiteY36" fmla="*/ 134207 h 515016"/>
                <a:gd name="connsiteX37" fmla="*/ 474631 w 574262"/>
                <a:gd name="connsiteY37" fmla="*/ 135636 h 515016"/>
                <a:gd name="connsiteX38" fmla="*/ 466154 w 574262"/>
                <a:gd name="connsiteY38" fmla="*/ 137446 h 515016"/>
                <a:gd name="connsiteX39" fmla="*/ 446056 w 574262"/>
                <a:gd name="connsiteY39" fmla="*/ 138589 h 515016"/>
                <a:gd name="connsiteX40" fmla="*/ 439007 w 574262"/>
                <a:gd name="connsiteY40" fmla="*/ 134398 h 515016"/>
                <a:gd name="connsiteX41" fmla="*/ 434150 w 574262"/>
                <a:gd name="connsiteY41" fmla="*/ 139065 h 515016"/>
                <a:gd name="connsiteX42" fmla="*/ 427958 w 574262"/>
                <a:gd name="connsiteY42" fmla="*/ 140494 h 515016"/>
                <a:gd name="connsiteX43" fmla="*/ 419195 w 574262"/>
                <a:gd name="connsiteY43" fmla="*/ 135826 h 515016"/>
                <a:gd name="connsiteX44" fmla="*/ 414528 w 574262"/>
                <a:gd name="connsiteY44" fmla="*/ 137731 h 515016"/>
                <a:gd name="connsiteX45" fmla="*/ 406527 w 574262"/>
                <a:gd name="connsiteY45" fmla="*/ 130016 h 515016"/>
                <a:gd name="connsiteX46" fmla="*/ 410146 w 574262"/>
                <a:gd name="connsiteY46" fmla="*/ 126778 h 515016"/>
                <a:gd name="connsiteX47" fmla="*/ 410146 w 574262"/>
                <a:gd name="connsiteY47" fmla="*/ 126492 h 515016"/>
                <a:gd name="connsiteX48" fmla="*/ 406908 w 574262"/>
                <a:gd name="connsiteY48" fmla="*/ 123730 h 515016"/>
                <a:gd name="connsiteX49" fmla="*/ 409004 w 574262"/>
                <a:gd name="connsiteY49" fmla="*/ 112490 h 515016"/>
                <a:gd name="connsiteX50" fmla="*/ 404527 w 574262"/>
                <a:gd name="connsiteY50" fmla="*/ 109823 h 515016"/>
                <a:gd name="connsiteX51" fmla="*/ 395002 w 574262"/>
                <a:gd name="connsiteY51" fmla="*/ 112776 h 515016"/>
                <a:gd name="connsiteX52" fmla="*/ 394240 w 574262"/>
                <a:gd name="connsiteY52" fmla="*/ 114681 h 515016"/>
                <a:gd name="connsiteX53" fmla="*/ 394145 w 574262"/>
                <a:gd name="connsiteY53" fmla="*/ 114776 h 515016"/>
                <a:gd name="connsiteX54" fmla="*/ 394145 w 574262"/>
                <a:gd name="connsiteY54" fmla="*/ 114871 h 515016"/>
                <a:gd name="connsiteX55" fmla="*/ 396812 w 574262"/>
                <a:gd name="connsiteY55" fmla="*/ 115538 h 515016"/>
                <a:gd name="connsiteX56" fmla="*/ 392239 w 574262"/>
                <a:gd name="connsiteY56" fmla="*/ 130588 h 515016"/>
                <a:gd name="connsiteX57" fmla="*/ 396335 w 574262"/>
                <a:gd name="connsiteY57" fmla="*/ 138589 h 515016"/>
                <a:gd name="connsiteX58" fmla="*/ 392430 w 574262"/>
                <a:gd name="connsiteY58" fmla="*/ 147542 h 515016"/>
                <a:gd name="connsiteX59" fmla="*/ 375666 w 574262"/>
                <a:gd name="connsiteY59" fmla="*/ 146494 h 515016"/>
                <a:gd name="connsiteX60" fmla="*/ 373380 w 574262"/>
                <a:gd name="connsiteY60" fmla="*/ 141541 h 515016"/>
                <a:gd name="connsiteX61" fmla="*/ 366903 w 574262"/>
                <a:gd name="connsiteY61" fmla="*/ 145351 h 515016"/>
                <a:gd name="connsiteX62" fmla="*/ 355854 w 574262"/>
                <a:gd name="connsiteY62" fmla="*/ 140494 h 515016"/>
                <a:gd name="connsiteX63" fmla="*/ 350139 w 574262"/>
                <a:gd name="connsiteY63" fmla="*/ 142875 h 515016"/>
                <a:gd name="connsiteX64" fmla="*/ 345472 w 574262"/>
                <a:gd name="connsiteY64" fmla="*/ 135541 h 515016"/>
                <a:gd name="connsiteX65" fmla="*/ 339280 w 574262"/>
                <a:gd name="connsiteY65" fmla="*/ 139351 h 515016"/>
                <a:gd name="connsiteX66" fmla="*/ 326136 w 574262"/>
                <a:gd name="connsiteY66" fmla="*/ 132778 h 515016"/>
                <a:gd name="connsiteX67" fmla="*/ 325660 w 574262"/>
                <a:gd name="connsiteY67" fmla="*/ 126206 h 515016"/>
                <a:gd name="connsiteX68" fmla="*/ 314801 w 574262"/>
                <a:gd name="connsiteY68" fmla="*/ 121825 h 515016"/>
                <a:gd name="connsiteX69" fmla="*/ 299561 w 574262"/>
                <a:gd name="connsiteY69" fmla="*/ 125634 h 515016"/>
                <a:gd name="connsiteX70" fmla="*/ 288703 w 574262"/>
                <a:gd name="connsiteY70" fmla="*/ 122396 h 515016"/>
                <a:gd name="connsiteX71" fmla="*/ 286703 w 574262"/>
                <a:gd name="connsiteY71" fmla="*/ 117729 h 515016"/>
                <a:gd name="connsiteX72" fmla="*/ 279749 w 574262"/>
                <a:gd name="connsiteY72" fmla="*/ 118015 h 515016"/>
                <a:gd name="connsiteX73" fmla="*/ 274796 w 574262"/>
                <a:gd name="connsiteY73" fmla="*/ 113062 h 515016"/>
                <a:gd name="connsiteX74" fmla="*/ 270224 w 574262"/>
                <a:gd name="connsiteY74" fmla="*/ 115252 h 515016"/>
                <a:gd name="connsiteX75" fmla="*/ 246412 w 574262"/>
                <a:gd name="connsiteY75" fmla="*/ 98012 h 515016"/>
                <a:gd name="connsiteX76" fmla="*/ 243554 w 574262"/>
                <a:gd name="connsiteY76" fmla="*/ 100774 h 515016"/>
                <a:gd name="connsiteX77" fmla="*/ 234029 w 574262"/>
                <a:gd name="connsiteY77" fmla="*/ 93345 h 515016"/>
                <a:gd name="connsiteX78" fmla="*/ 240030 w 574262"/>
                <a:gd name="connsiteY78" fmla="*/ 88201 h 515016"/>
                <a:gd name="connsiteX79" fmla="*/ 237172 w 574262"/>
                <a:gd name="connsiteY79" fmla="*/ 83248 h 515016"/>
                <a:gd name="connsiteX80" fmla="*/ 242030 w 574262"/>
                <a:gd name="connsiteY80" fmla="*/ 80772 h 515016"/>
                <a:gd name="connsiteX81" fmla="*/ 241268 w 574262"/>
                <a:gd name="connsiteY81" fmla="*/ 74962 h 515016"/>
                <a:gd name="connsiteX82" fmla="*/ 252889 w 574262"/>
                <a:gd name="connsiteY82" fmla="*/ 65151 h 515016"/>
                <a:gd name="connsiteX83" fmla="*/ 237458 w 574262"/>
                <a:gd name="connsiteY83" fmla="*/ 57817 h 515016"/>
                <a:gd name="connsiteX84" fmla="*/ 238411 w 574262"/>
                <a:gd name="connsiteY84" fmla="*/ 53149 h 515016"/>
                <a:gd name="connsiteX85" fmla="*/ 230981 w 574262"/>
                <a:gd name="connsiteY85" fmla="*/ 46958 h 515016"/>
                <a:gd name="connsiteX86" fmla="*/ 225266 w 574262"/>
                <a:gd name="connsiteY86" fmla="*/ 49911 h 515016"/>
                <a:gd name="connsiteX87" fmla="*/ 215265 w 574262"/>
                <a:gd name="connsiteY87" fmla="*/ 37052 h 515016"/>
                <a:gd name="connsiteX88" fmla="*/ 209264 w 574262"/>
                <a:gd name="connsiteY88" fmla="*/ 41148 h 515016"/>
                <a:gd name="connsiteX89" fmla="*/ 209074 w 574262"/>
                <a:gd name="connsiteY89" fmla="*/ 26575 h 515016"/>
                <a:gd name="connsiteX90" fmla="*/ 204121 w 574262"/>
                <a:gd name="connsiteY90" fmla="*/ 20098 h 515016"/>
                <a:gd name="connsiteX91" fmla="*/ 201835 w 574262"/>
                <a:gd name="connsiteY91" fmla="*/ 11716 h 515016"/>
                <a:gd name="connsiteX92" fmla="*/ 193262 w 574262"/>
                <a:gd name="connsiteY92" fmla="*/ 5524 h 515016"/>
                <a:gd name="connsiteX93" fmla="*/ 180404 w 574262"/>
                <a:gd name="connsiteY93" fmla="*/ 6382 h 515016"/>
                <a:gd name="connsiteX94" fmla="*/ 169831 w 574262"/>
                <a:gd name="connsiteY94" fmla="*/ 0 h 515016"/>
                <a:gd name="connsiteX95" fmla="*/ 159734 w 574262"/>
                <a:gd name="connsiteY95" fmla="*/ 5810 h 515016"/>
                <a:gd name="connsiteX96" fmla="*/ 157163 w 574262"/>
                <a:gd name="connsiteY96" fmla="*/ 14573 h 515016"/>
                <a:gd name="connsiteX97" fmla="*/ 142304 w 574262"/>
                <a:gd name="connsiteY97" fmla="*/ 19431 h 515016"/>
                <a:gd name="connsiteX98" fmla="*/ 138208 w 574262"/>
                <a:gd name="connsiteY98" fmla="*/ 25241 h 515016"/>
                <a:gd name="connsiteX99" fmla="*/ 132302 w 574262"/>
                <a:gd name="connsiteY99" fmla="*/ 25241 h 515016"/>
                <a:gd name="connsiteX100" fmla="*/ 125158 w 574262"/>
                <a:gd name="connsiteY100" fmla="*/ 31718 h 515016"/>
                <a:gd name="connsiteX101" fmla="*/ 128111 w 574262"/>
                <a:gd name="connsiteY101" fmla="*/ 46672 h 515016"/>
                <a:gd name="connsiteX102" fmla="*/ 111919 w 574262"/>
                <a:gd name="connsiteY102" fmla="*/ 62389 h 515016"/>
                <a:gd name="connsiteX103" fmla="*/ 113633 w 574262"/>
                <a:gd name="connsiteY103" fmla="*/ 67056 h 515016"/>
                <a:gd name="connsiteX104" fmla="*/ 102775 w 574262"/>
                <a:gd name="connsiteY104" fmla="*/ 70199 h 515016"/>
                <a:gd name="connsiteX105" fmla="*/ 94107 w 574262"/>
                <a:gd name="connsiteY105" fmla="*/ 90868 h 515016"/>
                <a:gd name="connsiteX106" fmla="*/ 81248 w 574262"/>
                <a:gd name="connsiteY106" fmla="*/ 98298 h 515016"/>
                <a:gd name="connsiteX107" fmla="*/ 73438 w 574262"/>
                <a:gd name="connsiteY107" fmla="*/ 112300 h 515016"/>
                <a:gd name="connsiteX108" fmla="*/ 51530 w 574262"/>
                <a:gd name="connsiteY108" fmla="*/ 118586 h 515016"/>
                <a:gd name="connsiteX109" fmla="*/ 45815 w 574262"/>
                <a:gd name="connsiteY109" fmla="*/ 111061 h 515016"/>
                <a:gd name="connsiteX110" fmla="*/ 37529 w 574262"/>
                <a:gd name="connsiteY110" fmla="*/ 115252 h 515016"/>
                <a:gd name="connsiteX111" fmla="*/ 36385 w 574262"/>
                <a:gd name="connsiteY111" fmla="*/ 122491 h 515016"/>
                <a:gd name="connsiteX112" fmla="*/ 26289 w 574262"/>
                <a:gd name="connsiteY112" fmla="*/ 131350 h 515016"/>
                <a:gd name="connsiteX113" fmla="*/ 25813 w 574262"/>
                <a:gd name="connsiteY113" fmla="*/ 138874 h 515016"/>
                <a:gd name="connsiteX114" fmla="*/ 31147 w 574262"/>
                <a:gd name="connsiteY114" fmla="*/ 141732 h 515016"/>
                <a:gd name="connsiteX115" fmla="*/ 40100 w 574262"/>
                <a:gd name="connsiteY115" fmla="*/ 142113 h 515016"/>
                <a:gd name="connsiteX116" fmla="*/ 37338 w 574262"/>
                <a:gd name="connsiteY116" fmla="*/ 154686 h 515016"/>
                <a:gd name="connsiteX117" fmla="*/ 42386 w 574262"/>
                <a:gd name="connsiteY117" fmla="*/ 161068 h 515016"/>
                <a:gd name="connsiteX118" fmla="*/ 48863 w 574262"/>
                <a:gd name="connsiteY118" fmla="*/ 159544 h 515016"/>
                <a:gd name="connsiteX119" fmla="*/ 49244 w 574262"/>
                <a:gd name="connsiteY119" fmla="*/ 167354 h 515016"/>
                <a:gd name="connsiteX120" fmla="*/ 56864 w 574262"/>
                <a:gd name="connsiteY120" fmla="*/ 181737 h 515016"/>
                <a:gd name="connsiteX121" fmla="*/ 57436 w 574262"/>
                <a:gd name="connsiteY121" fmla="*/ 188023 h 515016"/>
                <a:gd name="connsiteX122" fmla="*/ 47816 w 574262"/>
                <a:gd name="connsiteY122" fmla="*/ 193357 h 515016"/>
                <a:gd name="connsiteX123" fmla="*/ 47625 w 574262"/>
                <a:gd name="connsiteY123" fmla="*/ 188023 h 515016"/>
                <a:gd name="connsiteX124" fmla="*/ 38005 w 574262"/>
                <a:gd name="connsiteY124" fmla="*/ 190119 h 515016"/>
                <a:gd name="connsiteX125" fmla="*/ 36385 w 574262"/>
                <a:gd name="connsiteY125" fmla="*/ 194976 h 515016"/>
                <a:gd name="connsiteX126" fmla="*/ 27146 w 574262"/>
                <a:gd name="connsiteY126" fmla="*/ 189738 h 515016"/>
                <a:gd name="connsiteX127" fmla="*/ 12192 w 574262"/>
                <a:gd name="connsiteY127" fmla="*/ 189738 h 515016"/>
                <a:gd name="connsiteX128" fmla="*/ 10954 w 574262"/>
                <a:gd name="connsiteY128" fmla="*/ 197453 h 515016"/>
                <a:gd name="connsiteX129" fmla="*/ 1714 w 574262"/>
                <a:gd name="connsiteY129" fmla="*/ 197834 h 515016"/>
                <a:gd name="connsiteX130" fmla="*/ 0 w 574262"/>
                <a:gd name="connsiteY130" fmla="*/ 201644 h 515016"/>
                <a:gd name="connsiteX131" fmla="*/ 20193 w 574262"/>
                <a:gd name="connsiteY131" fmla="*/ 221266 h 515016"/>
                <a:gd name="connsiteX132" fmla="*/ 45625 w 574262"/>
                <a:gd name="connsiteY132" fmla="*/ 215646 h 515016"/>
                <a:gd name="connsiteX133" fmla="*/ 38957 w 574262"/>
                <a:gd name="connsiteY133" fmla="*/ 227266 h 515016"/>
                <a:gd name="connsiteX134" fmla="*/ 23336 w 574262"/>
                <a:gd name="connsiteY134" fmla="*/ 232219 h 515016"/>
                <a:gd name="connsiteX135" fmla="*/ 13716 w 574262"/>
                <a:gd name="connsiteY135" fmla="*/ 226981 h 515016"/>
                <a:gd name="connsiteX136" fmla="*/ 16764 w 574262"/>
                <a:gd name="connsiteY136" fmla="*/ 234410 h 515016"/>
                <a:gd name="connsiteX137" fmla="*/ 38671 w 574262"/>
                <a:gd name="connsiteY137" fmla="*/ 258413 h 515016"/>
                <a:gd name="connsiteX138" fmla="*/ 50197 w 574262"/>
                <a:gd name="connsiteY138" fmla="*/ 265843 h 515016"/>
                <a:gd name="connsiteX139" fmla="*/ 77629 w 574262"/>
                <a:gd name="connsiteY139" fmla="*/ 255651 h 515016"/>
                <a:gd name="connsiteX140" fmla="*/ 93440 w 574262"/>
                <a:gd name="connsiteY140" fmla="*/ 233172 h 515016"/>
                <a:gd name="connsiteX141" fmla="*/ 86582 w 574262"/>
                <a:gd name="connsiteY141" fmla="*/ 251746 h 515016"/>
                <a:gd name="connsiteX142" fmla="*/ 94107 w 574262"/>
                <a:gd name="connsiteY142" fmla="*/ 264795 h 515016"/>
                <a:gd name="connsiteX143" fmla="*/ 88201 w 574262"/>
                <a:gd name="connsiteY143" fmla="*/ 284226 h 515016"/>
                <a:gd name="connsiteX144" fmla="*/ 96107 w 574262"/>
                <a:gd name="connsiteY144" fmla="*/ 296704 h 515016"/>
                <a:gd name="connsiteX145" fmla="*/ 90488 w 574262"/>
                <a:gd name="connsiteY145" fmla="*/ 296704 h 515016"/>
                <a:gd name="connsiteX146" fmla="*/ 90488 w 574262"/>
                <a:gd name="connsiteY146" fmla="*/ 302133 h 515016"/>
                <a:gd name="connsiteX147" fmla="*/ 94488 w 574262"/>
                <a:gd name="connsiteY147" fmla="*/ 297751 h 515016"/>
                <a:gd name="connsiteX148" fmla="*/ 96107 w 574262"/>
                <a:gd name="connsiteY148" fmla="*/ 301085 h 515016"/>
                <a:gd name="connsiteX149" fmla="*/ 92202 w 574262"/>
                <a:gd name="connsiteY149" fmla="*/ 307848 h 515016"/>
                <a:gd name="connsiteX150" fmla="*/ 99060 w 574262"/>
                <a:gd name="connsiteY150" fmla="*/ 329755 h 515016"/>
                <a:gd name="connsiteX151" fmla="*/ 101060 w 574262"/>
                <a:gd name="connsiteY151" fmla="*/ 351377 h 515016"/>
                <a:gd name="connsiteX152" fmla="*/ 113252 w 574262"/>
                <a:gd name="connsiteY152" fmla="*/ 380428 h 515016"/>
                <a:gd name="connsiteX153" fmla="*/ 118491 w 574262"/>
                <a:gd name="connsiteY153" fmla="*/ 384810 h 515016"/>
                <a:gd name="connsiteX154" fmla="*/ 116586 w 574262"/>
                <a:gd name="connsiteY154" fmla="*/ 386143 h 515016"/>
                <a:gd name="connsiteX155" fmla="*/ 123158 w 574262"/>
                <a:gd name="connsiteY155" fmla="*/ 392525 h 515016"/>
                <a:gd name="connsiteX156" fmla="*/ 129445 w 574262"/>
                <a:gd name="connsiteY156" fmla="*/ 409384 h 515016"/>
                <a:gd name="connsiteX157" fmla="*/ 130874 w 574262"/>
                <a:gd name="connsiteY157" fmla="*/ 423291 h 515016"/>
                <a:gd name="connsiteX158" fmla="*/ 133445 w 574262"/>
                <a:gd name="connsiteY158" fmla="*/ 425291 h 515016"/>
                <a:gd name="connsiteX159" fmla="*/ 131921 w 574262"/>
                <a:gd name="connsiteY159" fmla="*/ 427768 h 515016"/>
                <a:gd name="connsiteX160" fmla="*/ 138684 w 574262"/>
                <a:gd name="connsiteY160" fmla="*/ 442817 h 515016"/>
                <a:gd name="connsiteX161" fmla="*/ 149257 w 574262"/>
                <a:gd name="connsiteY161" fmla="*/ 455676 h 515016"/>
                <a:gd name="connsiteX162" fmla="*/ 157829 w 574262"/>
                <a:gd name="connsiteY162" fmla="*/ 479679 h 515016"/>
                <a:gd name="connsiteX163" fmla="*/ 163639 w 574262"/>
                <a:gd name="connsiteY163" fmla="*/ 484632 h 515016"/>
                <a:gd name="connsiteX164" fmla="*/ 159544 w 574262"/>
                <a:gd name="connsiteY164" fmla="*/ 484918 h 515016"/>
                <a:gd name="connsiteX165" fmla="*/ 165163 w 574262"/>
                <a:gd name="connsiteY165" fmla="*/ 504444 h 515016"/>
                <a:gd name="connsiteX166" fmla="*/ 173736 w 574262"/>
                <a:gd name="connsiteY166" fmla="*/ 515017 h 515016"/>
                <a:gd name="connsiteX167" fmla="*/ 195548 w 574262"/>
                <a:gd name="connsiteY167" fmla="*/ 515017 h 515016"/>
                <a:gd name="connsiteX168" fmla="*/ 204883 w 574262"/>
                <a:gd name="connsiteY168" fmla="*/ 501301 h 515016"/>
                <a:gd name="connsiteX169" fmla="*/ 220409 w 574262"/>
                <a:gd name="connsiteY169" fmla="*/ 498253 h 515016"/>
                <a:gd name="connsiteX170" fmla="*/ 213074 w 574262"/>
                <a:gd name="connsiteY170" fmla="*/ 494347 h 515016"/>
                <a:gd name="connsiteX171" fmla="*/ 222313 w 574262"/>
                <a:gd name="connsiteY171" fmla="*/ 481203 h 515016"/>
                <a:gd name="connsiteX172" fmla="*/ 230886 w 574262"/>
                <a:gd name="connsiteY172" fmla="*/ 481584 h 515016"/>
                <a:gd name="connsiteX173" fmla="*/ 230886 w 574262"/>
                <a:gd name="connsiteY173" fmla="*/ 459676 h 515016"/>
                <a:gd name="connsiteX174" fmla="*/ 227171 w 574262"/>
                <a:gd name="connsiteY174" fmla="*/ 457009 h 515016"/>
                <a:gd name="connsiteX175" fmla="*/ 237077 w 574262"/>
                <a:gd name="connsiteY175" fmla="*/ 433006 h 515016"/>
                <a:gd name="connsiteX176" fmla="*/ 240792 w 574262"/>
                <a:gd name="connsiteY176" fmla="*/ 415861 h 515016"/>
                <a:gd name="connsiteX177" fmla="*/ 234505 w 574262"/>
                <a:gd name="connsiteY177" fmla="*/ 398240 h 515016"/>
                <a:gd name="connsiteX178" fmla="*/ 234791 w 574262"/>
                <a:gd name="connsiteY178" fmla="*/ 380428 h 515016"/>
                <a:gd name="connsiteX179" fmla="*/ 239459 w 574262"/>
                <a:gd name="connsiteY179" fmla="*/ 367951 h 515016"/>
                <a:gd name="connsiteX180" fmla="*/ 259842 w 574262"/>
                <a:gd name="connsiteY180" fmla="*/ 354425 h 515016"/>
                <a:gd name="connsiteX181" fmla="*/ 279368 w 574262"/>
                <a:gd name="connsiteY181" fmla="*/ 350330 h 515016"/>
                <a:gd name="connsiteX182" fmla="*/ 279749 w 574262"/>
                <a:gd name="connsiteY182" fmla="*/ 340614 h 515016"/>
                <a:gd name="connsiteX183" fmla="*/ 315373 w 574262"/>
                <a:gd name="connsiteY183" fmla="*/ 315277 h 515016"/>
                <a:gd name="connsiteX184" fmla="*/ 327565 w 574262"/>
                <a:gd name="connsiteY184" fmla="*/ 298037 h 515016"/>
                <a:gd name="connsiteX185" fmla="*/ 338804 w 574262"/>
                <a:gd name="connsiteY185" fmla="*/ 290417 h 515016"/>
                <a:gd name="connsiteX186" fmla="*/ 337852 w 574262"/>
                <a:gd name="connsiteY186" fmla="*/ 285559 h 515016"/>
                <a:gd name="connsiteX187" fmla="*/ 344424 w 574262"/>
                <a:gd name="connsiteY187" fmla="*/ 286702 h 515016"/>
                <a:gd name="connsiteX188" fmla="*/ 357950 w 574262"/>
                <a:gd name="connsiteY188" fmla="*/ 282892 h 515016"/>
                <a:gd name="connsiteX189" fmla="*/ 354235 w 574262"/>
                <a:gd name="connsiteY189" fmla="*/ 275082 h 515016"/>
                <a:gd name="connsiteX190" fmla="*/ 363093 w 574262"/>
                <a:gd name="connsiteY190" fmla="*/ 279368 h 515016"/>
                <a:gd name="connsiteX191" fmla="*/ 373475 w 574262"/>
                <a:gd name="connsiteY191" fmla="*/ 266128 h 515016"/>
                <a:gd name="connsiteX192" fmla="*/ 371856 w 574262"/>
                <a:gd name="connsiteY192" fmla="*/ 251746 h 515016"/>
                <a:gd name="connsiteX193" fmla="*/ 391668 w 574262"/>
                <a:gd name="connsiteY193" fmla="*/ 239077 h 515016"/>
                <a:gd name="connsiteX194" fmla="*/ 393001 w 574262"/>
                <a:gd name="connsiteY194" fmla="*/ 238220 h 515016"/>
                <a:gd name="connsiteX195" fmla="*/ 394049 w 574262"/>
                <a:gd name="connsiteY195" fmla="*/ 227838 h 515016"/>
                <a:gd name="connsiteX196" fmla="*/ 402526 w 574262"/>
                <a:gd name="connsiteY196" fmla="*/ 239839 h 515016"/>
                <a:gd name="connsiteX197" fmla="*/ 413385 w 574262"/>
                <a:gd name="connsiteY197" fmla="*/ 240125 h 515016"/>
                <a:gd name="connsiteX198" fmla="*/ 413385 w 574262"/>
                <a:gd name="connsiteY198" fmla="*/ 240030 h 515016"/>
                <a:gd name="connsiteX199" fmla="*/ 409004 w 574262"/>
                <a:gd name="connsiteY199" fmla="*/ 217360 h 515016"/>
                <a:gd name="connsiteX200" fmla="*/ 412528 w 574262"/>
                <a:gd name="connsiteY200" fmla="*/ 212979 h 515016"/>
                <a:gd name="connsiteX201" fmla="*/ 406146 w 574262"/>
                <a:gd name="connsiteY201" fmla="*/ 211359 h 515016"/>
                <a:gd name="connsiteX202" fmla="*/ 406908 w 574262"/>
                <a:gd name="connsiteY202" fmla="*/ 207264 h 515016"/>
                <a:gd name="connsiteX203" fmla="*/ 403288 w 574262"/>
                <a:gd name="connsiteY203" fmla="*/ 204025 h 515016"/>
                <a:gd name="connsiteX204" fmla="*/ 404050 w 574262"/>
                <a:gd name="connsiteY204" fmla="*/ 199930 h 515016"/>
                <a:gd name="connsiteX205" fmla="*/ 407384 w 574262"/>
                <a:gd name="connsiteY205" fmla="*/ 197929 h 515016"/>
                <a:gd name="connsiteX206" fmla="*/ 405860 w 574262"/>
                <a:gd name="connsiteY206" fmla="*/ 190309 h 515016"/>
                <a:gd name="connsiteX207" fmla="*/ 395002 w 574262"/>
                <a:gd name="connsiteY207" fmla="*/ 186499 h 515016"/>
                <a:gd name="connsiteX208" fmla="*/ 394525 w 574262"/>
                <a:gd name="connsiteY208" fmla="*/ 176879 h 515016"/>
                <a:gd name="connsiteX209" fmla="*/ 399193 w 574262"/>
                <a:gd name="connsiteY209" fmla="*/ 178784 h 515016"/>
                <a:gd name="connsiteX210" fmla="*/ 401193 w 574262"/>
                <a:gd name="connsiteY210" fmla="*/ 172783 h 515016"/>
                <a:gd name="connsiteX211" fmla="*/ 412813 w 574262"/>
                <a:gd name="connsiteY211" fmla="*/ 172498 h 515016"/>
                <a:gd name="connsiteX212" fmla="*/ 412813 w 574262"/>
                <a:gd name="connsiteY212" fmla="*/ 168688 h 515016"/>
                <a:gd name="connsiteX213" fmla="*/ 397383 w 574262"/>
                <a:gd name="connsiteY213" fmla="*/ 158020 h 515016"/>
                <a:gd name="connsiteX214" fmla="*/ 398145 w 574262"/>
                <a:gd name="connsiteY214" fmla="*/ 150876 h 515016"/>
                <a:gd name="connsiteX215" fmla="*/ 401955 w 574262"/>
                <a:gd name="connsiteY215" fmla="*/ 148114 h 515016"/>
                <a:gd name="connsiteX216" fmla="*/ 402146 w 574262"/>
                <a:gd name="connsiteY216" fmla="*/ 143827 h 515016"/>
                <a:gd name="connsiteX217" fmla="*/ 409480 w 574262"/>
                <a:gd name="connsiteY217" fmla="*/ 149733 h 515016"/>
                <a:gd name="connsiteX218" fmla="*/ 411289 w 574262"/>
                <a:gd name="connsiteY218" fmla="*/ 144018 h 515016"/>
                <a:gd name="connsiteX219" fmla="*/ 415385 w 574262"/>
                <a:gd name="connsiteY219" fmla="*/ 152209 h 515016"/>
                <a:gd name="connsiteX220" fmla="*/ 422148 w 574262"/>
                <a:gd name="connsiteY220" fmla="*/ 155257 h 515016"/>
                <a:gd name="connsiteX221" fmla="*/ 424720 w 574262"/>
                <a:gd name="connsiteY221" fmla="*/ 149733 h 515016"/>
                <a:gd name="connsiteX222" fmla="*/ 429863 w 574262"/>
                <a:gd name="connsiteY222" fmla="*/ 157163 h 515016"/>
                <a:gd name="connsiteX223" fmla="*/ 428816 w 574262"/>
                <a:gd name="connsiteY223" fmla="*/ 169450 h 515016"/>
                <a:gd name="connsiteX224" fmla="*/ 440436 w 574262"/>
                <a:gd name="connsiteY224" fmla="*/ 173355 h 515016"/>
                <a:gd name="connsiteX225" fmla="*/ 455390 w 574262"/>
                <a:gd name="connsiteY225" fmla="*/ 170878 h 515016"/>
                <a:gd name="connsiteX226" fmla="*/ 462343 w 574262"/>
                <a:gd name="connsiteY226" fmla="*/ 173641 h 515016"/>
                <a:gd name="connsiteX227" fmla="*/ 474440 w 574262"/>
                <a:gd name="connsiteY227" fmla="*/ 171355 h 515016"/>
                <a:gd name="connsiteX228" fmla="*/ 482727 w 574262"/>
                <a:gd name="connsiteY228" fmla="*/ 177927 h 515016"/>
                <a:gd name="connsiteX229" fmla="*/ 478346 w 574262"/>
                <a:gd name="connsiteY229" fmla="*/ 180975 h 515016"/>
                <a:gd name="connsiteX230" fmla="*/ 475488 w 574262"/>
                <a:gd name="connsiteY230" fmla="*/ 178784 h 515016"/>
                <a:gd name="connsiteX231" fmla="*/ 473488 w 574262"/>
                <a:gd name="connsiteY231" fmla="*/ 188690 h 515016"/>
                <a:gd name="connsiteX232" fmla="*/ 469106 w 574262"/>
                <a:gd name="connsiteY232" fmla="*/ 189738 h 515016"/>
                <a:gd name="connsiteX233" fmla="*/ 468821 w 574262"/>
                <a:gd name="connsiteY233" fmla="*/ 194119 h 515016"/>
                <a:gd name="connsiteX234" fmla="*/ 457676 w 574262"/>
                <a:gd name="connsiteY234" fmla="*/ 196024 h 515016"/>
                <a:gd name="connsiteX235" fmla="*/ 454628 w 574262"/>
                <a:gd name="connsiteY235" fmla="*/ 204501 h 515016"/>
                <a:gd name="connsiteX236" fmla="*/ 458724 w 574262"/>
                <a:gd name="connsiteY236" fmla="*/ 214693 h 515016"/>
                <a:gd name="connsiteX237" fmla="*/ 460534 w 574262"/>
                <a:gd name="connsiteY237" fmla="*/ 211931 h 515016"/>
                <a:gd name="connsiteX238" fmla="*/ 464439 w 574262"/>
                <a:gd name="connsiteY238" fmla="*/ 219075 h 515016"/>
                <a:gd name="connsiteX239" fmla="*/ 468249 w 574262"/>
                <a:gd name="connsiteY239" fmla="*/ 216598 h 515016"/>
                <a:gd name="connsiteX240" fmla="*/ 468059 w 574262"/>
                <a:gd name="connsiteY240" fmla="*/ 209740 h 515016"/>
                <a:gd name="connsiteX241" fmla="*/ 470916 w 574262"/>
                <a:gd name="connsiteY241" fmla="*/ 206407 h 515016"/>
                <a:gd name="connsiteX242" fmla="*/ 470916 w 574262"/>
                <a:gd name="connsiteY242" fmla="*/ 202597 h 515016"/>
                <a:gd name="connsiteX243" fmla="*/ 476536 w 574262"/>
                <a:gd name="connsiteY243" fmla="*/ 202597 h 515016"/>
                <a:gd name="connsiteX244" fmla="*/ 479108 w 574262"/>
                <a:gd name="connsiteY244" fmla="*/ 217646 h 515016"/>
                <a:gd name="connsiteX245" fmla="*/ 481965 w 574262"/>
                <a:gd name="connsiteY245" fmla="*/ 222599 h 515016"/>
                <a:gd name="connsiteX246" fmla="*/ 483489 w 574262"/>
                <a:gd name="connsiteY246" fmla="*/ 239554 h 515016"/>
                <a:gd name="connsiteX247" fmla="*/ 483489 w 574262"/>
                <a:gd name="connsiteY247" fmla="*/ 239554 h 515016"/>
                <a:gd name="connsiteX248" fmla="*/ 487204 w 574262"/>
                <a:gd name="connsiteY248" fmla="*/ 235839 h 515016"/>
                <a:gd name="connsiteX249" fmla="*/ 491204 w 574262"/>
                <a:gd name="connsiteY249" fmla="*/ 239173 h 51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574262" h="515016">
                  <a:moveTo>
                    <a:pt x="491204" y="239173"/>
                  </a:moveTo>
                  <a:lnTo>
                    <a:pt x="492633" y="234410"/>
                  </a:lnTo>
                  <a:lnTo>
                    <a:pt x="496253" y="231743"/>
                  </a:lnTo>
                  <a:lnTo>
                    <a:pt x="493014" y="226409"/>
                  </a:lnTo>
                  <a:lnTo>
                    <a:pt x="494347" y="215932"/>
                  </a:lnTo>
                  <a:lnTo>
                    <a:pt x="498253" y="217170"/>
                  </a:lnTo>
                  <a:lnTo>
                    <a:pt x="499205" y="202216"/>
                  </a:lnTo>
                  <a:lnTo>
                    <a:pt x="496634" y="196405"/>
                  </a:lnTo>
                  <a:lnTo>
                    <a:pt x="499015" y="193834"/>
                  </a:lnTo>
                  <a:lnTo>
                    <a:pt x="502634" y="197072"/>
                  </a:lnTo>
                  <a:lnTo>
                    <a:pt x="505206" y="195834"/>
                  </a:lnTo>
                  <a:lnTo>
                    <a:pt x="514636" y="199549"/>
                  </a:lnTo>
                  <a:lnTo>
                    <a:pt x="518541" y="186023"/>
                  </a:lnTo>
                  <a:lnTo>
                    <a:pt x="527018" y="173450"/>
                  </a:lnTo>
                  <a:lnTo>
                    <a:pt x="522065" y="171355"/>
                  </a:lnTo>
                  <a:lnTo>
                    <a:pt x="522637" y="166878"/>
                  </a:lnTo>
                  <a:lnTo>
                    <a:pt x="531495" y="160687"/>
                  </a:lnTo>
                  <a:lnTo>
                    <a:pt x="531305" y="156400"/>
                  </a:lnTo>
                  <a:lnTo>
                    <a:pt x="534829" y="154114"/>
                  </a:lnTo>
                  <a:lnTo>
                    <a:pt x="532257" y="147542"/>
                  </a:lnTo>
                  <a:lnTo>
                    <a:pt x="534257" y="141160"/>
                  </a:lnTo>
                  <a:lnTo>
                    <a:pt x="545592" y="136112"/>
                  </a:lnTo>
                  <a:lnTo>
                    <a:pt x="551402" y="129064"/>
                  </a:lnTo>
                  <a:lnTo>
                    <a:pt x="564356" y="125444"/>
                  </a:lnTo>
                  <a:lnTo>
                    <a:pt x="567499" y="130302"/>
                  </a:lnTo>
                  <a:lnTo>
                    <a:pt x="574262" y="131159"/>
                  </a:lnTo>
                  <a:lnTo>
                    <a:pt x="568833" y="121729"/>
                  </a:lnTo>
                  <a:lnTo>
                    <a:pt x="572072" y="118015"/>
                  </a:lnTo>
                  <a:lnTo>
                    <a:pt x="555117" y="113633"/>
                  </a:lnTo>
                  <a:lnTo>
                    <a:pt x="548640" y="108680"/>
                  </a:lnTo>
                  <a:lnTo>
                    <a:pt x="537591" y="106204"/>
                  </a:lnTo>
                  <a:lnTo>
                    <a:pt x="530638" y="112490"/>
                  </a:lnTo>
                  <a:lnTo>
                    <a:pt x="508445" y="122396"/>
                  </a:lnTo>
                  <a:lnTo>
                    <a:pt x="505587" y="130016"/>
                  </a:lnTo>
                  <a:lnTo>
                    <a:pt x="491680" y="132778"/>
                  </a:lnTo>
                  <a:lnTo>
                    <a:pt x="485966" y="128968"/>
                  </a:lnTo>
                  <a:lnTo>
                    <a:pt x="481584" y="134207"/>
                  </a:lnTo>
                  <a:lnTo>
                    <a:pt x="474631" y="135636"/>
                  </a:lnTo>
                  <a:lnTo>
                    <a:pt x="466154" y="137446"/>
                  </a:lnTo>
                  <a:lnTo>
                    <a:pt x="446056" y="138589"/>
                  </a:lnTo>
                  <a:lnTo>
                    <a:pt x="439007" y="134398"/>
                  </a:lnTo>
                  <a:lnTo>
                    <a:pt x="434150" y="139065"/>
                  </a:lnTo>
                  <a:lnTo>
                    <a:pt x="427958" y="140494"/>
                  </a:lnTo>
                  <a:lnTo>
                    <a:pt x="419195" y="135826"/>
                  </a:lnTo>
                  <a:lnTo>
                    <a:pt x="414528" y="137731"/>
                  </a:lnTo>
                  <a:lnTo>
                    <a:pt x="406527" y="130016"/>
                  </a:lnTo>
                  <a:lnTo>
                    <a:pt x="410146" y="126778"/>
                  </a:lnTo>
                  <a:lnTo>
                    <a:pt x="410146" y="126492"/>
                  </a:lnTo>
                  <a:lnTo>
                    <a:pt x="406908" y="123730"/>
                  </a:lnTo>
                  <a:lnTo>
                    <a:pt x="409004" y="112490"/>
                  </a:lnTo>
                  <a:lnTo>
                    <a:pt x="404527" y="109823"/>
                  </a:lnTo>
                  <a:lnTo>
                    <a:pt x="395002" y="112776"/>
                  </a:lnTo>
                  <a:lnTo>
                    <a:pt x="394240" y="114681"/>
                  </a:lnTo>
                  <a:lnTo>
                    <a:pt x="394145" y="114776"/>
                  </a:lnTo>
                  <a:lnTo>
                    <a:pt x="394145" y="114871"/>
                  </a:lnTo>
                  <a:lnTo>
                    <a:pt x="396812" y="115538"/>
                  </a:lnTo>
                  <a:lnTo>
                    <a:pt x="392239" y="130588"/>
                  </a:lnTo>
                  <a:lnTo>
                    <a:pt x="396335" y="138589"/>
                  </a:lnTo>
                  <a:lnTo>
                    <a:pt x="392430" y="147542"/>
                  </a:lnTo>
                  <a:lnTo>
                    <a:pt x="375666" y="146494"/>
                  </a:lnTo>
                  <a:lnTo>
                    <a:pt x="373380" y="141541"/>
                  </a:lnTo>
                  <a:lnTo>
                    <a:pt x="366903" y="145351"/>
                  </a:lnTo>
                  <a:lnTo>
                    <a:pt x="355854" y="140494"/>
                  </a:lnTo>
                  <a:lnTo>
                    <a:pt x="350139" y="142875"/>
                  </a:lnTo>
                  <a:lnTo>
                    <a:pt x="345472" y="135541"/>
                  </a:lnTo>
                  <a:lnTo>
                    <a:pt x="339280" y="139351"/>
                  </a:lnTo>
                  <a:lnTo>
                    <a:pt x="326136" y="132778"/>
                  </a:lnTo>
                  <a:lnTo>
                    <a:pt x="325660" y="126206"/>
                  </a:lnTo>
                  <a:lnTo>
                    <a:pt x="314801" y="121825"/>
                  </a:lnTo>
                  <a:lnTo>
                    <a:pt x="299561" y="125634"/>
                  </a:lnTo>
                  <a:lnTo>
                    <a:pt x="288703" y="122396"/>
                  </a:lnTo>
                  <a:lnTo>
                    <a:pt x="286703" y="117729"/>
                  </a:lnTo>
                  <a:lnTo>
                    <a:pt x="279749" y="118015"/>
                  </a:lnTo>
                  <a:lnTo>
                    <a:pt x="274796" y="113062"/>
                  </a:lnTo>
                  <a:lnTo>
                    <a:pt x="270224" y="115252"/>
                  </a:lnTo>
                  <a:lnTo>
                    <a:pt x="246412" y="98012"/>
                  </a:lnTo>
                  <a:lnTo>
                    <a:pt x="243554" y="100774"/>
                  </a:lnTo>
                  <a:lnTo>
                    <a:pt x="234029" y="93345"/>
                  </a:lnTo>
                  <a:lnTo>
                    <a:pt x="240030" y="88201"/>
                  </a:lnTo>
                  <a:lnTo>
                    <a:pt x="237172" y="83248"/>
                  </a:lnTo>
                  <a:lnTo>
                    <a:pt x="242030" y="80772"/>
                  </a:lnTo>
                  <a:lnTo>
                    <a:pt x="241268" y="74962"/>
                  </a:lnTo>
                  <a:lnTo>
                    <a:pt x="252889" y="65151"/>
                  </a:lnTo>
                  <a:lnTo>
                    <a:pt x="237458" y="57817"/>
                  </a:lnTo>
                  <a:lnTo>
                    <a:pt x="238411" y="53149"/>
                  </a:lnTo>
                  <a:lnTo>
                    <a:pt x="230981" y="46958"/>
                  </a:lnTo>
                  <a:lnTo>
                    <a:pt x="225266" y="49911"/>
                  </a:lnTo>
                  <a:lnTo>
                    <a:pt x="215265" y="37052"/>
                  </a:lnTo>
                  <a:lnTo>
                    <a:pt x="209264" y="41148"/>
                  </a:lnTo>
                  <a:lnTo>
                    <a:pt x="209074" y="26575"/>
                  </a:lnTo>
                  <a:lnTo>
                    <a:pt x="204121" y="20098"/>
                  </a:lnTo>
                  <a:lnTo>
                    <a:pt x="201835" y="11716"/>
                  </a:lnTo>
                  <a:lnTo>
                    <a:pt x="193262" y="5524"/>
                  </a:lnTo>
                  <a:lnTo>
                    <a:pt x="180404" y="6382"/>
                  </a:lnTo>
                  <a:lnTo>
                    <a:pt x="169831" y="0"/>
                  </a:lnTo>
                  <a:lnTo>
                    <a:pt x="159734" y="5810"/>
                  </a:lnTo>
                  <a:lnTo>
                    <a:pt x="157163" y="14573"/>
                  </a:lnTo>
                  <a:lnTo>
                    <a:pt x="142304" y="19431"/>
                  </a:lnTo>
                  <a:lnTo>
                    <a:pt x="138208" y="25241"/>
                  </a:lnTo>
                  <a:lnTo>
                    <a:pt x="132302" y="25241"/>
                  </a:lnTo>
                  <a:lnTo>
                    <a:pt x="125158" y="31718"/>
                  </a:lnTo>
                  <a:lnTo>
                    <a:pt x="128111" y="46672"/>
                  </a:lnTo>
                  <a:lnTo>
                    <a:pt x="111919" y="62389"/>
                  </a:lnTo>
                  <a:lnTo>
                    <a:pt x="113633" y="67056"/>
                  </a:lnTo>
                  <a:lnTo>
                    <a:pt x="102775" y="70199"/>
                  </a:lnTo>
                  <a:lnTo>
                    <a:pt x="94107" y="90868"/>
                  </a:lnTo>
                  <a:lnTo>
                    <a:pt x="81248" y="98298"/>
                  </a:lnTo>
                  <a:lnTo>
                    <a:pt x="73438" y="112300"/>
                  </a:lnTo>
                  <a:lnTo>
                    <a:pt x="51530" y="118586"/>
                  </a:lnTo>
                  <a:lnTo>
                    <a:pt x="45815" y="111061"/>
                  </a:lnTo>
                  <a:lnTo>
                    <a:pt x="37529" y="115252"/>
                  </a:lnTo>
                  <a:lnTo>
                    <a:pt x="36385" y="122491"/>
                  </a:lnTo>
                  <a:lnTo>
                    <a:pt x="26289" y="131350"/>
                  </a:lnTo>
                  <a:lnTo>
                    <a:pt x="25813" y="138874"/>
                  </a:lnTo>
                  <a:lnTo>
                    <a:pt x="31147" y="141732"/>
                  </a:lnTo>
                  <a:lnTo>
                    <a:pt x="40100" y="142113"/>
                  </a:lnTo>
                  <a:lnTo>
                    <a:pt x="37338" y="154686"/>
                  </a:lnTo>
                  <a:lnTo>
                    <a:pt x="42386" y="161068"/>
                  </a:lnTo>
                  <a:lnTo>
                    <a:pt x="48863" y="159544"/>
                  </a:lnTo>
                  <a:lnTo>
                    <a:pt x="49244" y="167354"/>
                  </a:lnTo>
                  <a:lnTo>
                    <a:pt x="56864" y="181737"/>
                  </a:lnTo>
                  <a:lnTo>
                    <a:pt x="57436" y="188023"/>
                  </a:lnTo>
                  <a:lnTo>
                    <a:pt x="47816" y="193357"/>
                  </a:lnTo>
                  <a:lnTo>
                    <a:pt x="47625" y="188023"/>
                  </a:lnTo>
                  <a:lnTo>
                    <a:pt x="38005" y="190119"/>
                  </a:lnTo>
                  <a:lnTo>
                    <a:pt x="36385" y="194976"/>
                  </a:lnTo>
                  <a:lnTo>
                    <a:pt x="27146" y="189738"/>
                  </a:lnTo>
                  <a:lnTo>
                    <a:pt x="12192" y="189738"/>
                  </a:lnTo>
                  <a:lnTo>
                    <a:pt x="10954" y="197453"/>
                  </a:lnTo>
                  <a:lnTo>
                    <a:pt x="1714" y="197834"/>
                  </a:lnTo>
                  <a:lnTo>
                    <a:pt x="0" y="201644"/>
                  </a:lnTo>
                  <a:lnTo>
                    <a:pt x="20193" y="221266"/>
                  </a:lnTo>
                  <a:lnTo>
                    <a:pt x="45625" y="215646"/>
                  </a:lnTo>
                  <a:lnTo>
                    <a:pt x="38957" y="227266"/>
                  </a:lnTo>
                  <a:lnTo>
                    <a:pt x="23336" y="232219"/>
                  </a:lnTo>
                  <a:lnTo>
                    <a:pt x="13716" y="226981"/>
                  </a:lnTo>
                  <a:lnTo>
                    <a:pt x="16764" y="234410"/>
                  </a:lnTo>
                  <a:lnTo>
                    <a:pt x="38671" y="258413"/>
                  </a:lnTo>
                  <a:lnTo>
                    <a:pt x="50197" y="265843"/>
                  </a:lnTo>
                  <a:lnTo>
                    <a:pt x="77629" y="255651"/>
                  </a:lnTo>
                  <a:lnTo>
                    <a:pt x="93440" y="233172"/>
                  </a:lnTo>
                  <a:lnTo>
                    <a:pt x="86582" y="251746"/>
                  </a:lnTo>
                  <a:lnTo>
                    <a:pt x="94107" y="264795"/>
                  </a:lnTo>
                  <a:lnTo>
                    <a:pt x="88201" y="284226"/>
                  </a:lnTo>
                  <a:lnTo>
                    <a:pt x="96107" y="296704"/>
                  </a:lnTo>
                  <a:lnTo>
                    <a:pt x="90488" y="296704"/>
                  </a:lnTo>
                  <a:lnTo>
                    <a:pt x="90488" y="302133"/>
                  </a:lnTo>
                  <a:lnTo>
                    <a:pt x="94488" y="297751"/>
                  </a:lnTo>
                  <a:lnTo>
                    <a:pt x="96107" y="301085"/>
                  </a:lnTo>
                  <a:lnTo>
                    <a:pt x="92202" y="307848"/>
                  </a:lnTo>
                  <a:lnTo>
                    <a:pt x="99060" y="329755"/>
                  </a:lnTo>
                  <a:lnTo>
                    <a:pt x="101060" y="351377"/>
                  </a:lnTo>
                  <a:lnTo>
                    <a:pt x="113252" y="380428"/>
                  </a:lnTo>
                  <a:lnTo>
                    <a:pt x="118491" y="384810"/>
                  </a:lnTo>
                  <a:lnTo>
                    <a:pt x="116586" y="386143"/>
                  </a:lnTo>
                  <a:lnTo>
                    <a:pt x="123158" y="392525"/>
                  </a:lnTo>
                  <a:lnTo>
                    <a:pt x="129445" y="409384"/>
                  </a:lnTo>
                  <a:lnTo>
                    <a:pt x="130874" y="423291"/>
                  </a:lnTo>
                  <a:lnTo>
                    <a:pt x="133445" y="425291"/>
                  </a:lnTo>
                  <a:lnTo>
                    <a:pt x="131921" y="427768"/>
                  </a:lnTo>
                  <a:lnTo>
                    <a:pt x="138684" y="442817"/>
                  </a:lnTo>
                  <a:lnTo>
                    <a:pt x="149257" y="455676"/>
                  </a:lnTo>
                  <a:lnTo>
                    <a:pt x="157829" y="479679"/>
                  </a:lnTo>
                  <a:lnTo>
                    <a:pt x="163639" y="484632"/>
                  </a:lnTo>
                  <a:lnTo>
                    <a:pt x="159544" y="484918"/>
                  </a:lnTo>
                  <a:lnTo>
                    <a:pt x="165163" y="504444"/>
                  </a:lnTo>
                  <a:lnTo>
                    <a:pt x="173736" y="515017"/>
                  </a:lnTo>
                  <a:lnTo>
                    <a:pt x="195548" y="515017"/>
                  </a:lnTo>
                  <a:lnTo>
                    <a:pt x="204883" y="501301"/>
                  </a:lnTo>
                  <a:lnTo>
                    <a:pt x="220409" y="498253"/>
                  </a:lnTo>
                  <a:lnTo>
                    <a:pt x="213074" y="494347"/>
                  </a:lnTo>
                  <a:lnTo>
                    <a:pt x="222313" y="481203"/>
                  </a:lnTo>
                  <a:lnTo>
                    <a:pt x="230886" y="481584"/>
                  </a:lnTo>
                  <a:lnTo>
                    <a:pt x="230886" y="459676"/>
                  </a:lnTo>
                  <a:lnTo>
                    <a:pt x="227171" y="457009"/>
                  </a:lnTo>
                  <a:lnTo>
                    <a:pt x="237077" y="433006"/>
                  </a:lnTo>
                  <a:lnTo>
                    <a:pt x="240792" y="415861"/>
                  </a:lnTo>
                  <a:lnTo>
                    <a:pt x="234505" y="398240"/>
                  </a:lnTo>
                  <a:lnTo>
                    <a:pt x="234791" y="380428"/>
                  </a:lnTo>
                  <a:lnTo>
                    <a:pt x="239459" y="367951"/>
                  </a:lnTo>
                  <a:lnTo>
                    <a:pt x="259842" y="354425"/>
                  </a:lnTo>
                  <a:lnTo>
                    <a:pt x="279368" y="350330"/>
                  </a:lnTo>
                  <a:lnTo>
                    <a:pt x="279749" y="340614"/>
                  </a:lnTo>
                  <a:lnTo>
                    <a:pt x="315373" y="315277"/>
                  </a:lnTo>
                  <a:lnTo>
                    <a:pt x="327565" y="298037"/>
                  </a:lnTo>
                  <a:lnTo>
                    <a:pt x="338804" y="290417"/>
                  </a:lnTo>
                  <a:lnTo>
                    <a:pt x="337852" y="285559"/>
                  </a:lnTo>
                  <a:lnTo>
                    <a:pt x="344424" y="286702"/>
                  </a:lnTo>
                  <a:lnTo>
                    <a:pt x="357950" y="282892"/>
                  </a:lnTo>
                  <a:lnTo>
                    <a:pt x="354235" y="275082"/>
                  </a:lnTo>
                  <a:lnTo>
                    <a:pt x="363093" y="279368"/>
                  </a:lnTo>
                  <a:lnTo>
                    <a:pt x="373475" y="266128"/>
                  </a:lnTo>
                  <a:lnTo>
                    <a:pt x="371856" y="251746"/>
                  </a:lnTo>
                  <a:lnTo>
                    <a:pt x="391668" y="239077"/>
                  </a:lnTo>
                  <a:lnTo>
                    <a:pt x="393001" y="238220"/>
                  </a:lnTo>
                  <a:lnTo>
                    <a:pt x="394049" y="227838"/>
                  </a:lnTo>
                  <a:lnTo>
                    <a:pt x="402526" y="239839"/>
                  </a:lnTo>
                  <a:lnTo>
                    <a:pt x="413385" y="240125"/>
                  </a:lnTo>
                  <a:lnTo>
                    <a:pt x="413385" y="240030"/>
                  </a:lnTo>
                  <a:lnTo>
                    <a:pt x="409004" y="217360"/>
                  </a:lnTo>
                  <a:lnTo>
                    <a:pt x="412528" y="212979"/>
                  </a:lnTo>
                  <a:lnTo>
                    <a:pt x="406146" y="211359"/>
                  </a:lnTo>
                  <a:lnTo>
                    <a:pt x="406908" y="207264"/>
                  </a:lnTo>
                  <a:lnTo>
                    <a:pt x="403288" y="204025"/>
                  </a:lnTo>
                  <a:lnTo>
                    <a:pt x="404050" y="199930"/>
                  </a:lnTo>
                  <a:lnTo>
                    <a:pt x="407384" y="197929"/>
                  </a:lnTo>
                  <a:lnTo>
                    <a:pt x="405860" y="190309"/>
                  </a:lnTo>
                  <a:lnTo>
                    <a:pt x="395002" y="186499"/>
                  </a:lnTo>
                  <a:lnTo>
                    <a:pt x="394525" y="176879"/>
                  </a:lnTo>
                  <a:lnTo>
                    <a:pt x="399193" y="178784"/>
                  </a:lnTo>
                  <a:lnTo>
                    <a:pt x="401193" y="172783"/>
                  </a:lnTo>
                  <a:lnTo>
                    <a:pt x="412813" y="172498"/>
                  </a:lnTo>
                  <a:lnTo>
                    <a:pt x="412813" y="168688"/>
                  </a:lnTo>
                  <a:lnTo>
                    <a:pt x="397383" y="158020"/>
                  </a:lnTo>
                  <a:lnTo>
                    <a:pt x="398145" y="150876"/>
                  </a:lnTo>
                  <a:lnTo>
                    <a:pt x="401955" y="148114"/>
                  </a:lnTo>
                  <a:lnTo>
                    <a:pt x="402146" y="143827"/>
                  </a:lnTo>
                  <a:lnTo>
                    <a:pt x="409480" y="149733"/>
                  </a:lnTo>
                  <a:lnTo>
                    <a:pt x="411289" y="144018"/>
                  </a:lnTo>
                  <a:lnTo>
                    <a:pt x="415385" y="152209"/>
                  </a:lnTo>
                  <a:lnTo>
                    <a:pt x="422148" y="155257"/>
                  </a:lnTo>
                  <a:lnTo>
                    <a:pt x="424720" y="149733"/>
                  </a:lnTo>
                  <a:lnTo>
                    <a:pt x="429863" y="157163"/>
                  </a:lnTo>
                  <a:lnTo>
                    <a:pt x="428816" y="169450"/>
                  </a:lnTo>
                  <a:lnTo>
                    <a:pt x="440436" y="173355"/>
                  </a:lnTo>
                  <a:lnTo>
                    <a:pt x="455390" y="170878"/>
                  </a:lnTo>
                  <a:lnTo>
                    <a:pt x="462343" y="173641"/>
                  </a:lnTo>
                  <a:lnTo>
                    <a:pt x="474440" y="171355"/>
                  </a:lnTo>
                  <a:lnTo>
                    <a:pt x="482727" y="177927"/>
                  </a:lnTo>
                  <a:lnTo>
                    <a:pt x="478346" y="180975"/>
                  </a:lnTo>
                  <a:lnTo>
                    <a:pt x="475488" y="178784"/>
                  </a:lnTo>
                  <a:lnTo>
                    <a:pt x="473488" y="188690"/>
                  </a:lnTo>
                  <a:lnTo>
                    <a:pt x="469106" y="189738"/>
                  </a:lnTo>
                  <a:lnTo>
                    <a:pt x="468821" y="194119"/>
                  </a:lnTo>
                  <a:lnTo>
                    <a:pt x="457676" y="196024"/>
                  </a:lnTo>
                  <a:lnTo>
                    <a:pt x="454628" y="204501"/>
                  </a:lnTo>
                  <a:lnTo>
                    <a:pt x="458724" y="214693"/>
                  </a:lnTo>
                  <a:lnTo>
                    <a:pt x="460534" y="211931"/>
                  </a:lnTo>
                  <a:lnTo>
                    <a:pt x="464439" y="219075"/>
                  </a:lnTo>
                  <a:lnTo>
                    <a:pt x="468249" y="216598"/>
                  </a:lnTo>
                  <a:lnTo>
                    <a:pt x="468059" y="209740"/>
                  </a:lnTo>
                  <a:lnTo>
                    <a:pt x="470916" y="206407"/>
                  </a:lnTo>
                  <a:lnTo>
                    <a:pt x="470916" y="202597"/>
                  </a:lnTo>
                  <a:lnTo>
                    <a:pt x="476536" y="202597"/>
                  </a:lnTo>
                  <a:lnTo>
                    <a:pt x="479108" y="217646"/>
                  </a:lnTo>
                  <a:lnTo>
                    <a:pt x="481965" y="222599"/>
                  </a:lnTo>
                  <a:lnTo>
                    <a:pt x="483489" y="239554"/>
                  </a:lnTo>
                  <a:lnTo>
                    <a:pt x="483489" y="239554"/>
                  </a:lnTo>
                  <a:lnTo>
                    <a:pt x="487204" y="235839"/>
                  </a:lnTo>
                  <a:lnTo>
                    <a:pt x="491204" y="23917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6" name="Freeform: Shape 2726">
              <a:extLst>
                <a:ext uri="{FF2B5EF4-FFF2-40B4-BE49-F238E27FC236}">
                  <a16:creationId xmlns:a16="http://schemas.microsoft.com/office/drawing/2014/main" id="{6E05922E-7428-4545-88B0-227BEACCE8FC}"/>
                </a:ext>
              </a:extLst>
            </p:cNvPr>
            <p:cNvSpPr/>
            <p:nvPr/>
          </p:nvSpPr>
          <p:spPr>
            <a:xfrm>
              <a:off x="3577113" y="4339907"/>
              <a:ext cx="12191" cy="42291"/>
            </a:xfrm>
            <a:custGeom>
              <a:avLst/>
              <a:gdLst>
                <a:gd name="connsiteX0" fmla="*/ 6287 w 12191"/>
                <a:gd name="connsiteY0" fmla="*/ 4096 h 42291"/>
                <a:gd name="connsiteX1" fmla="*/ 0 w 12191"/>
                <a:gd name="connsiteY1" fmla="*/ 34100 h 42291"/>
                <a:gd name="connsiteX2" fmla="*/ 5905 w 12191"/>
                <a:gd name="connsiteY2" fmla="*/ 42291 h 42291"/>
                <a:gd name="connsiteX3" fmla="*/ 8477 w 12191"/>
                <a:gd name="connsiteY3" fmla="*/ 13621 h 42291"/>
                <a:gd name="connsiteX4" fmla="*/ 12192 w 12191"/>
                <a:gd name="connsiteY4" fmla="*/ 10573 h 42291"/>
                <a:gd name="connsiteX5" fmla="*/ 10954 w 12191"/>
                <a:gd name="connsiteY5" fmla="*/ 0 h 42291"/>
                <a:gd name="connsiteX6" fmla="*/ 6287 w 12191"/>
                <a:gd name="connsiteY6" fmla="*/ 4096 h 4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 h="42291">
                  <a:moveTo>
                    <a:pt x="6287" y="4096"/>
                  </a:moveTo>
                  <a:lnTo>
                    <a:pt x="0" y="34100"/>
                  </a:lnTo>
                  <a:lnTo>
                    <a:pt x="5905" y="42291"/>
                  </a:lnTo>
                  <a:lnTo>
                    <a:pt x="8477" y="13621"/>
                  </a:lnTo>
                  <a:lnTo>
                    <a:pt x="12192" y="10573"/>
                  </a:lnTo>
                  <a:lnTo>
                    <a:pt x="10954" y="0"/>
                  </a:lnTo>
                  <a:lnTo>
                    <a:pt x="6287" y="40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7" name="Freeform: Shape 2727">
              <a:extLst>
                <a:ext uri="{FF2B5EF4-FFF2-40B4-BE49-F238E27FC236}">
                  <a16:creationId xmlns:a16="http://schemas.microsoft.com/office/drawing/2014/main" id="{6A606573-08D8-75EE-0EBF-E23182C67FF9}"/>
                </a:ext>
              </a:extLst>
            </p:cNvPr>
            <p:cNvSpPr/>
            <p:nvPr/>
          </p:nvSpPr>
          <p:spPr>
            <a:xfrm>
              <a:off x="3558444" y="4010056"/>
              <a:ext cx="115442" cy="53721"/>
            </a:xfrm>
            <a:custGeom>
              <a:avLst/>
              <a:gdLst>
                <a:gd name="connsiteX0" fmla="*/ 3905 w 115442"/>
                <a:gd name="connsiteY0" fmla="*/ 42958 h 53721"/>
                <a:gd name="connsiteX1" fmla="*/ 9049 w 115442"/>
                <a:gd name="connsiteY1" fmla="*/ 41815 h 53721"/>
                <a:gd name="connsiteX2" fmla="*/ 11335 w 115442"/>
                <a:gd name="connsiteY2" fmla="*/ 46196 h 53721"/>
                <a:gd name="connsiteX3" fmla="*/ 8763 w 115442"/>
                <a:gd name="connsiteY3" fmla="*/ 48673 h 53721"/>
                <a:gd name="connsiteX4" fmla="*/ 11525 w 115442"/>
                <a:gd name="connsiteY4" fmla="*/ 53721 h 53721"/>
                <a:gd name="connsiteX5" fmla="*/ 18479 w 115442"/>
                <a:gd name="connsiteY5" fmla="*/ 52292 h 53721"/>
                <a:gd name="connsiteX6" fmla="*/ 22860 w 115442"/>
                <a:gd name="connsiteY6" fmla="*/ 47054 h 53721"/>
                <a:gd name="connsiteX7" fmla="*/ 28575 w 115442"/>
                <a:gd name="connsiteY7" fmla="*/ 50863 h 53721"/>
                <a:gd name="connsiteX8" fmla="*/ 42482 w 115442"/>
                <a:gd name="connsiteY8" fmla="*/ 48101 h 53721"/>
                <a:gd name="connsiteX9" fmla="*/ 45339 w 115442"/>
                <a:gd name="connsiteY9" fmla="*/ 40481 h 53721"/>
                <a:gd name="connsiteX10" fmla="*/ 67532 w 115442"/>
                <a:gd name="connsiteY10" fmla="*/ 30575 h 53721"/>
                <a:gd name="connsiteX11" fmla="*/ 74486 w 115442"/>
                <a:gd name="connsiteY11" fmla="*/ 24289 h 53721"/>
                <a:gd name="connsiteX12" fmla="*/ 85535 w 115442"/>
                <a:gd name="connsiteY12" fmla="*/ 26765 h 53721"/>
                <a:gd name="connsiteX13" fmla="*/ 92012 w 115442"/>
                <a:gd name="connsiteY13" fmla="*/ 31718 h 53721"/>
                <a:gd name="connsiteX14" fmla="*/ 108966 w 115442"/>
                <a:gd name="connsiteY14" fmla="*/ 36100 h 53721"/>
                <a:gd name="connsiteX15" fmla="*/ 112300 w 115442"/>
                <a:gd name="connsiteY15" fmla="*/ 32195 h 53721"/>
                <a:gd name="connsiteX16" fmla="*/ 115443 w 115442"/>
                <a:gd name="connsiteY16" fmla="*/ 32576 h 53721"/>
                <a:gd name="connsiteX17" fmla="*/ 114300 w 115442"/>
                <a:gd name="connsiteY17" fmla="*/ 26003 h 53721"/>
                <a:gd name="connsiteX18" fmla="*/ 101441 w 115442"/>
                <a:gd name="connsiteY18" fmla="*/ 21050 h 53721"/>
                <a:gd name="connsiteX19" fmla="*/ 95726 w 115442"/>
                <a:gd name="connsiteY19" fmla="*/ 23241 h 53721"/>
                <a:gd name="connsiteX20" fmla="*/ 91916 w 115442"/>
                <a:gd name="connsiteY20" fmla="*/ 20479 h 53721"/>
                <a:gd name="connsiteX21" fmla="*/ 99822 w 115442"/>
                <a:gd name="connsiteY21" fmla="*/ 14192 h 53721"/>
                <a:gd name="connsiteX22" fmla="*/ 97536 w 115442"/>
                <a:gd name="connsiteY22" fmla="*/ 8668 h 53721"/>
                <a:gd name="connsiteX23" fmla="*/ 91059 w 115442"/>
                <a:gd name="connsiteY23" fmla="*/ 12002 h 53721"/>
                <a:gd name="connsiteX24" fmla="*/ 89249 w 115442"/>
                <a:gd name="connsiteY24" fmla="*/ 7620 h 53721"/>
                <a:gd name="connsiteX25" fmla="*/ 94679 w 115442"/>
                <a:gd name="connsiteY25" fmla="*/ 3524 h 53721"/>
                <a:gd name="connsiteX26" fmla="*/ 89059 w 115442"/>
                <a:gd name="connsiteY26" fmla="*/ 0 h 53721"/>
                <a:gd name="connsiteX27" fmla="*/ 78200 w 115442"/>
                <a:gd name="connsiteY27" fmla="*/ 4286 h 53721"/>
                <a:gd name="connsiteX28" fmla="*/ 76390 w 115442"/>
                <a:gd name="connsiteY28" fmla="*/ 8954 h 53721"/>
                <a:gd name="connsiteX29" fmla="*/ 63722 w 115442"/>
                <a:gd name="connsiteY29" fmla="*/ 6477 h 53721"/>
                <a:gd name="connsiteX30" fmla="*/ 61913 w 115442"/>
                <a:gd name="connsiteY30" fmla="*/ 2381 h 53721"/>
                <a:gd name="connsiteX31" fmla="*/ 53435 w 115442"/>
                <a:gd name="connsiteY31" fmla="*/ 6477 h 53721"/>
                <a:gd name="connsiteX32" fmla="*/ 43910 w 115442"/>
                <a:gd name="connsiteY32" fmla="*/ 15050 h 53721"/>
                <a:gd name="connsiteX33" fmla="*/ 33052 w 115442"/>
                <a:gd name="connsiteY33" fmla="*/ 16954 h 53721"/>
                <a:gd name="connsiteX34" fmla="*/ 30004 w 115442"/>
                <a:gd name="connsiteY34" fmla="*/ 23813 h 53721"/>
                <a:gd name="connsiteX35" fmla="*/ 20669 w 115442"/>
                <a:gd name="connsiteY35" fmla="*/ 27623 h 53721"/>
                <a:gd name="connsiteX36" fmla="*/ 23527 w 115442"/>
                <a:gd name="connsiteY36" fmla="*/ 30575 h 53721"/>
                <a:gd name="connsiteX37" fmla="*/ 15812 w 115442"/>
                <a:gd name="connsiteY37" fmla="*/ 34766 h 53721"/>
                <a:gd name="connsiteX38" fmla="*/ 953 w 115442"/>
                <a:gd name="connsiteY38" fmla="*/ 35814 h 53721"/>
                <a:gd name="connsiteX39" fmla="*/ 953 w 115442"/>
                <a:gd name="connsiteY39" fmla="*/ 35814 h 53721"/>
                <a:gd name="connsiteX40" fmla="*/ 0 w 115442"/>
                <a:gd name="connsiteY40" fmla="*/ 38576 h 53721"/>
                <a:gd name="connsiteX41" fmla="*/ 3905 w 115442"/>
                <a:gd name="connsiteY41" fmla="*/ 42958 h 5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5442" h="53721">
                  <a:moveTo>
                    <a:pt x="3905" y="42958"/>
                  </a:moveTo>
                  <a:lnTo>
                    <a:pt x="9049" y="41815"/>
                  </a:lnTo>
                  <a:lnTo>
                    <a:pt x="11335" y="46196"/>
                  </a:lnTo>
                  <a:lnTo>
                    <a:pt x="8763" y="48673"/>
                  </a:lnTo>
                  <a:lnTo>
                    <a:pt x="11525" y="53721"/>
                  </a:lnTo>
                  <a:lnTo>
                    <a:pt x="18479" y="52292"/>
                  </a:lnTo>
                  <a:lnTo>
                    <a:pt x="22860" y="47054"/>
                  </a:lnTo>
                  <a:lnTo>
                    <a:pt x="28575" y="50863"/>
                  </a:lnTo>
                  <a:lnTo>
                    <a:pt x="42482" y="48101"/>
                  </a:lnTo>
                  <a:lnTo>
                    <a:pt x="45339" y="40481"/>
                  </a:lnTo>
                  <a:lnTo>
                    <a:pt x="67532" y="30575"/>
                  </a:lnTo>
                  <a:lnTo>
                    <a:pt x="74486" y="24289"/>
                  </a:lnTo>
                  <a:lnTo>
                    <a:pt x="85535" y="26765"/>
                  </a:lnTo>
                  <a:lnTo>
                    <a:pt x="92012" y="31718"/>
                  </a:lnTo>
                  <a:lnTo>
                    <a:pt x="108966" y="36100"/>
                  </a:lnTo>
                  <a:lnTo>
                    <a:pt x="112300" y="32195"/>
                  </a:lnTo>
                  <a:lnTo>
                    <a:pt x="115443" y="32576"/>
                  </a:lnTo>
                  <a:lnTo>
                    <a:pt x="114300" y="26003"/>
                  </a:lnTo>
                  <a:lnTo>
                    <a:pt x="101441" y="21050"/>
                  </a:lnTo>
                  <a:lnTo>
                    <a:pt x="95726" y="23241"/>
                  </a:lnTo>
                  <a:lnTo>
                    <a:pt x="91916" y="20479"/>
                  </a:lnTo>
                  <a:lnTo>
                    <a:pt x="99822" y="14192"/>
                  </a:lnTo>
                  <a:lnTo>
                    <a:pt x="97536" y="8668"/>
                  </a:lnTo>
                  <a:lnTo>
                    <a:pt x="91059" y="12002"/>
                  </a:lnTo>
                  <a:lnTo>
                    <a:pt x="89249" y="7620"/>
                  </a:lnTo>
                  <a:lnTo>
                    <a:pt x="94679" y="3524"/>
                  </a:lnTo>
                  <a:lnTo>
                    <a:pt x="89059" y="0"/>
                  </a:lnTo>
                  <a:lnTo>
                    <a:pt x="78200" y="4286"/>
                  </a:lnTo>
                  <a:lnTo>
                    <a:pt x="76390" y="8954"/>
                  </a:lnTo>
                  <a:lnTo>
                    <a:pt x="63722" y="6477"/>
                  </a:lnTo>
                  <a:lnTo>
                    <a:pt x="61913" y="2381"/>
                  </a:lnTo>
                  <a:lnTo>
                    <a:pt x="53435" y="6477"/>
                  </a:lnTo>
                  <a:lnTo>
                    <a:pt x="43910" y="15050"/>
                  </a:lnTo>
                  <a:lnTo>
                    <a:pt x="33052" y="16954"/>
                  </a:lnTo>
                  <a:lnTo>
                    <a:pt x="30004" y="23813"/>
                  </a:lnTo>
                  <a:lnTo>
                    <a:pt x="20669" y="27623"/>
                  </a:lnTo>
                  <a:lnTo>
                    <a:pt x="23527" y="30575"/>
                  </a:lnTo>
                  <a:lnTo>
                    <a:pt x="15812" y="34766"/>
                  </a:lnTo>
                  <a:lnTo>
                    <a:pt x="953" y="35814"/>
                  </a:lnTo>
                  <a:lnTo>
                    <a:pt x="953" y="35814"/>
                  </a:lnTo>
                  <a:lnTo>
                    <a:pt x="0" y="38576"/>
                  </a:lnTo>
                  <a:lnTo>
                    <a:pt x="3905" y="4295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8" name="Freeform: Shape 2728">
              <a:extLst>
                <a:ext uri="{FF2B5EF4-FFF2-40B4-BE49-F238E27FC236}">
                  <a16:creationId xmlns:a16="http://schemas.microsoft.com/office/drawing/2014/main" id="{8D6C0D4D-A692-140C-8E05-617EFD9F8BA4}"/>
                </a:ext>
              </a:extLst>
            </p:cNvPr>
            <p:cNvSpPr/>
            <p:nvPr/>
          </p:nvSpPr>
          <p:spPr>
            <a:xfrm>
              <a:off x="3288601" y="3863943"/>
              <a:ext cx="49053" cy="58102"/>
            </a:xfrm>
            <a:custGeom>
              <a:avLst/>
              <a:gdLst>
                <a:gd name="connsiteX0" fmla="*/ 3143 w 49053"/>
                <a:gd name="connsiteY0" fmla="*/ 14002 h 58102"/>
                <a:gd name="connsiteX1" fmla="*/ 1905 w 49053"/>
                <a:gd name="connsiteY1" fmla="*/ 18097 h 58102"/>
                <a:gd name="connsiteX2" fmla="*/ 6763 w 49053"/>
                <a:gd name="connsiteY2" fmla="*/ 30289 h 58102"/>
                <a:gd name="connsiteX3" fmla="*/ 18098 w 49053"/>
                <a:gd name="connsiteY3" fmla="*/ 35338 h 58102"/>
                <a:gd name="connsiteX4" fmla="*/ 20193 w 49053"/>
                <a:gd name="connsiteY4" fmla="*/ 39338 h 58102"/>
                <a:gd name="connsiteX5" fmla="*/ 14192 w 49053"/>
                <a:gd name="connsiteY5" fmla="*/ 43148 h 58102"/>
                <a:gd name="connsiteX6" fmla="*/ 15526 w 49053"/>
                <a:gd name="connsiteY6" fmla="*/ 55721 h 58102"/>
                <a:gd name="connsiteX7" fmla="*/ 18193 w 49053"/>
                <a:gd name="connsiteY7" fmla="*/ 58103 h 58102"/>
                <a:gd name="connsiteX8" fmla="*/ 18193 w 49053"/>
                <a:gd name="connsiteY8" fmla="*/ 58103 h 58102"/>
                <a:gd name="connsiteX9" fmla="*/ 22193 w 49053"/>
                <a:gd name="connsiteY9" fmla="*/ 52483 h 58102"/>
                <a:gd name="connsiteX10" fmla="*/ 20479 w 49053"/>
                <a:gd name="connsiteY10" fmla="*/ 45244 h 58102"/>
                <a:gd name="connsiteX11" fmla="*/ 30956 w 49053"/>
                <a:gd name="connsiteY11" fmla="*/ 44387 h 58102"/>
                <a:gd name="connsiteX12" fmla="*/ 30766 w 49053"/>
                <a:gd name="connsiteY12" fmla="*/ 35338 h 58102"/>
                <a:gd name="connsiteX13" fmla="*/ 35624 w 49053"/>
                <a:gd name="connsiteY13" fmla="*/ 35338 h 58102"/>
                <a:gd name="connsiteX14" fmla="*/ 38005 w 49053"/>
                <a:gd name="connsiteY14" fmla="*/ 30004 h 58102"/>
                <a:gd name="connsiteX15" fmla="*/ 42863 w 49053"/>
                <a:gd name="connsiteY15" fmla="*/ 30289 h 58102"/>
                <a:gd name="connsiteX16" fmla="*/ 49054 w 49053"/>
                <a:gd name="connsiteY16" fmla="*/ 11049 h 58102"/>
                <a:gd name="connsiteX17" fmla="*/ 44958 w 49053"/>
                <a:gd name="connsiteY17" fmla="*/ 8477 h 58102"/>
                <a:gd name="connsiteX18" fmla="*/ 41053 w 49053"/>
                <a:gd name="connsiteY18" fmla="*/ 12763 h 58102"/>
                <a:gd name="connsiteX19" fmla="*/ 33338 w 49053"/>
                <a:gd name="connsiteY19" fmla="*/ 6096 h 58102"/>
                <a:gd name="connsiteX20" fmla="*/ 30766 w 49053"/>
                <a:gd name="connsiteY20" fmla="*/ 0 h 58102"/>
                <a:gd name="connsiteX21" fmla="*/ 15526 w 49053"/>
                <a:gd name="connsiteY21" fmla="*/ 1714 h 58102"/>
                <a:gd name="connsiteX22" fmla="*/ 3429 w 49053"/>
                <a:gd name="connsiteY22" fmla="*/ 9906 h 58102"/>
                <a:gd name="connsiteX23" fmla="*/ 0 w 49053"/>
                <a:gd name="connsiteY23" fmla="*/ 10382 h 58102"/>
                <a:gd name="connsiteX24" fmla="*/ 0 w 49053"/>
                <a:gd name="connsiteY24" fmla="*/ 10478 h 58102"/>
                <a:gd name="connsiteX25" fmla="*/ 3143 w 49053"/>
                <a:gd name="connsiteY25" fmla="*/ 14002 h 5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053" h="58102">
                  <a:moveTo>
                    <a:pt x="3143" y="14002"/>
                  </a:moveTo>
                  <a:lnTo>
                    <a:pt x="1905" y="18097"/>
                  </a:lnTo>
                  <a:lnTo>
                    <a:pt x="6763" y="30289"/>
                  </a:lnTo>
                  <a:lnTo>
                    <a:pt x="18098" y="35338"/>
                  </a:lnTo>
                  <a:lnTo>
                    <a:pt x="20193" y="39338"/>
                  </a:lnTo>
                  <a:lnTo>
                    <a:pt x="14192" y="43148"/>
                  </a:lnTo>
                  <a:lnTo>
                    <a:pt x="15526" y="55721"/>
                  </a:lnTo>
                  <a:lnTo>
                    <a:pt x="18193" y="58103"/>
                  </a:lnTo>
                  <a:lnTo>
                    <a:pt x="18193" y="58103"/>
                  </a:lnTo>
                  <a:lnTo>
                    <a:pt x="22193" y="52483"/>
                  </a:lnTo>
                  <a:lnTo>
                    <a:pt x="20479" y="45244"/>
                  </a:lnTo>
                  <a:lnTo>
                    <a:pt x="30956" y="44387"/>
                  </a:lnTo>
                  <a:lnTo>
                    <a:pt x="30766" y="35338"/>
                  </a:lnTo>
                  <a:lnTo>
                    <a:pt x="35624" y="35338"/>
                  </a:lnTo>
                  <a:lnTo>
                    <a:pt x="38005" y="30004"/>
                  </a:lnTo>
                  <a:lnTo>
                    <a:pt x="42863" y="30289"/>
                  </a:lnTo>
                  <a:lnTo>
                    <a:pt x="49054" y="11049"/>
                  </a:lnTo>
                  <a:lnTo>
                    <a:pt x="44958" y="8477"/>
                  </a:lnTo>
                  <a:lnTo>
                    <a:pt x="41053" y="12763"/>
                  </a:lnTo>
                  <a:lnTo>
                    <a:pt x="33338" y="6096"/>
                  </a:lnTo>
                  <a:lnTo>
                    <a:pt x="30766" y="0"/>
                  </a:lnTo>
                  <a:lnTo>
                    <a:pt x="15526" y="1714"/>
                  </a:lnTo>
                  <a:lnTo>
                    <a:pt x="3429" y="9906"/>
                  </a:lnTo>
                  <a:lnTo>
                    <a:pt x="0" y="10382"/>
                  </a:lnTo>
                  <a:lnTo>
                    <a:pt x="0" y="10478"/>
                  </a:lnTo>
                  <a:lnTo>
                    <a:pt x="3143" y="1400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39" name="Freeform: Shape 2729">
              <a:extLst>
                <a:ext uri="{FF2B5EF4-FFF2-40B4-BE49-F238E27FC236}">
                  <a16:creationId xmlns:a16="http://schemas.microsoft.com/office/drawing/2014/main" id="{E9A82592-EDEF-4B90-DEF3-A654589DA40D}"/>
                </a:ext>
              </a:extLst>
            </p:cNvPr>
            <p:cNvSpPr/>
            <p:nvPr/>
          </p:nvSpPr>
          <p:spPr>
            <a:xfrm>
              <a:off x="2537650" y="3683539"/>
              <a:ext cx="132969" cy="66198"/>
            </a:xfrm>
            <a:custGeom>
              <a:avLst/>
              <a:gdLst>
                <a:gd name="connsiteX0" fmla="*/ 112586 w 132969"/>
                <a:gd name="connsiteY0" fmla="*/ 29813 h 66198"/>
                <a:gd name="connsiteX1" fmla="*/ 100108 w 132969"/>
                <a:gd name="connsiteY1" fmla="*/ 23336 h 66198"/>
                <a:gd name="connsiteX2" fmla="*/ 94107 w 132969"/>
                <a:gd name="connsiteY2" fmla="*/ 26956 h 66198"/>
                <a:gd name="connsiteX3" fmla="*/ 88963 w 132969"/>
                <a:gd name="connsiteY3" fmla="*/ 23527 h 66198"/>
                <a:gd name="connsiteX4" fmla="*/ 76581 w 132969"/>
                <a:gd name="connsiteY4" fmla="*/ 30575 h 66198"/>
                <a:gd name="connsiteX5" fmla="*/ 73724 w 132969"/>
                <a:gd name="connsiteY5" fmla="*/ 22098 h 66198"/>
                <a:gd name="connsiteX6" fmla="*/ 52864 w 132969"/>
                <a:gd name="connsiteY6" fmla="*/ 13145 h 66198"/>
                <a:gd name="connsiteX7" fmla="*/ 30385 w 132969"/>
                <a:gd name="connsiteY7" fmla="*/ 12287 h 66198"/>
                <a:gd name="connsiteX8" fmla="*/ 25813 w 132969"/>
                <a:gd name="connsiteY8" fmla="*/ 8192 h 66198"/>
                <a:gd name="connsiteX9" fmla="*/ 2286 w 132969"/>
                <a:gd name="connsiteY9" fmla="*/ 0 h 66198"/>
                <a:gd name="connsiteX10" fmla="*/ 0 w 132969"/>
                <a:gd name="connsiteY10" fmla="*/ 4953 h 66198"/>
                <a:gd name="connsiteX11" fmla="*/ 0 w 132969"/>
                <a:gd name="connsiteY11" fmla="*/ 4953 h 66198"/>
                <a:gd name="connsiteX12" fmla="*/ 28099 w 132969"/>
                <a:gd name="connsiteY12" fmla="*/ 24955 h 66198"/>
                <a:gd name="connsiteX13" fmla="*/ 34385 w 132969"/>
                <a:gd name="connsiteY13" fmla="*/ 46101 h 66198"/>
                <a:gd name="connsiteX14" fmla="*/ 29051 w 132969"/>
                <a:gd name="connsiteY14" fmla="*/ 54293 h 66198"/>
                <a:gd name="connsiteX15" fmla="*/ 35814 w 132969"/>
                <a:gd name="connsiteY15" fmla="*/ 57531 h 66198"/>
                <a:gd name="connsiteX16" fmla="*/ 38671 w 132969"/>
                <a:gd name="connsiteY16" fmla="*/ 54007 h 66198"/>
                <a:gd name="connsiteX17" fmla="*/ 48578 w 132969"/>
                <a:gd name="connsiteY17" fmla="*/ 55531 h 66198"/>
                <a:gd name="connsiteX18" fmla="*/ 55150 w 132969"/>
                <a:gd name="connsiteY18" fmla="*/ 52197 h 66198"/>
                <a:gd name="connsiteX19" fmla="*/ 60770 w 132969"/>
                <a:gd name="connsiteY19" fmla="*/ 56960 h 66198"/>
                <a:gd name="connsiteX20" fmla="*/ 59341 w 132969"/>
                <a:gd name="connsiteY20" fmla="*/ 61627 h 66198"/>
                <a:gd name="connsiteX21" fmla="*/ 68008 w 132969"/>
                <a:gd name="connsiteY21" fmla="*/ 63627 h 66198"/>
                <a:gd name="connsiteX22" fmla="*/ 82201 w 132969"/>
                <a:gd name="connsiteY22" fmla="*/ 60770 h 66198"/>
                <a:gd name="connsiteX23" fmla="*/ 95441 w 132969"/>
                <a:gd name="connsiteY23" fmla="*/ 61246 h 66198"/>
                <a:gd name="connsiteX24" fmla="*/ 104680 w 132969"/>
                <a:gd name="connsiteY24" fmla="*/ 55150 h 66198"/>
                <a:gd name="connsiteX25" fmla="*/ 111728 w 132969"/>
                <a:gd name="connsiteY25" fmla="*/ 56007 h 66198"/>
                <a:gd name="connsiteX26" fmla="*/ 113062 w 132969"/>
                <a:gd name="connsiteY26" fmla="*/ 62008 h 66198"/>
                <a:gd name="connsiteX27" fmla="*/ 122492 w 132969"/>
                <a:gd name="connsiteY27" fmla="*/ 61627 h 66198"/>
                <a:gd name="connsiteX28" fmla="*/ 128397 w 132969"/>
                <a:gd name="connsiteY28" fmla="*/ 66199 h 66198"/>
                <a:gd name="connsiteX29" fmla="*/ 132969 w 132969"/>
                <a:gd name="connsiteY29" fmla="*/ 59150 h 66198"/>
                <a:gd name="connsiteX30" fmla="*/ 121253 w 132969"/>
                <a:gd name="connsiteY30" fmla="*/ 49340 h 66198"/>
                <a:gd name="connsiteX31" fmla="*/ 127349 w 132969"/>
                <a:gd name="connsiteY31" fmla="*/ 43815 h 66198"/>
                <a:gd name="connsiteX32" fmla="*/ 110585 w 132969"/>
                <a:gd name="connsiteY32" fmla="*/ 36767 h 66198"/>
                <a:gd name="connsiteX33" fmla="*/ 112586 w 132969"/>
                <a:gd name="connsiteY33" fmla="*/ 29813 h 6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2969" h="66198">
                  <a:moveTo>
                    <a:pt x="112586" y="29813"/>
                  </a:moveTo>
                  <a:lnTo>
                    <a:pt x="100108" y="23336"/>
                  </a:lnTo>
                  <a:lnTo>
                    <a:pt x="94107" y="26956"/>
                  </a:lnTo>
                  <a:lnTo>
                    <a:pt x="88963" y="23527"/>
                  </a:lnTo>
                  <a:lnTo>
                    <a:pt x="76581" y="30575"/>
                  </a:lnTo>
                  <a:lnTo>
                    <a:pt x="73724" y="22098"/>
                  </a:lnTo>
                  <a:lnTo>
                    <a:pt x="52864" y="13145"/>
                  </a:lnTo>
                  <a:lnTo>
                    <a:pt x="30385" y="12287"/>
                  </a:lnTo>
                  <a:lnTo>
                    <a:pt x="25813" y="8192"/>
                  </a:lnTo>
                  <a:lnTo>
                    <a:pt x="2286" y="0"/>
                  </a:lnTo>
                  <a:lnTo>
                    <a:pt x="0" y="4953"/>
                  </a:lnTo>
                  <a:lnTo>
                    <a:pt x="0" y="4953"/>
                  </a:lnTo>
                  <a:lnTo>
                    <a:pt x="28099" y="24955"/>
                  </a:lnTo>
                  <a:lnTo>
                    <a:pt x="34385" y="46101"/>
                  </a:lnTo>
                  <a:lnTo>
                    <a:pt x="29051" y="54293"/>
                  </a:lnTo>
                  <a:lnTo>
                    <a:pt x="35814" y="57531"/>
                  </a:lnTo>
                  <a:lnTo>
                    <a:pt x="38671" y="54007"/>
                  </a:lnTo>
                  <a:lnTo>
                    <a:pt x="48578" y="55531"/>
                  </a:lnTo>
                  <a:lnTo>
                    <a:pt x="55150" y="52197"/>
                  </a:lnTo>
                  <a:lnTo>
                    <a:pt x="60770" y="56960"/>
                  </a:lnTo>
                  <a:lnTo>
                    <a:pt x="59341" y="61627"/>
                  </a:lnTo>
                  <a:lnTo>
                    <a:pt x="68008" y="63627"/>
                  </a:lnTo>
                  <a:lnTo>
                    <a:pt x="82201" y="60770"/>
                  </a:lnTo>
                  <a:lnTo>
                    <a:pt x="95441" y="61246"/>
                  </a:lnTo>
                  <a:lnTo>
                    <a:pt x="104680" y="55150"/>
                  </a:lnTo>
                  <a:lnTo>
                    <a:pt x="111728" y="56007"/>
                  </a:lnTo>
                  <a:lnTo>
                    <a:pt x="113062" y="62008"/>
                  </a:lnTo>
                  <a:lnTo>
                    <a:pt x="122492" y="61627"/>
                  </a:lnTo>
                  <a:lnTo>
                    <a:pt x="128397" y="66199"/>
                  </a:lnTo>
                  <a:lnTo>
                    <a:pt x="132969" y="59150"/>
                  </a:lnTo>
                  <a:lnTo>
                    <a:pt x="121253" y="49340"/>
                  </a:lnTo>
                  <a:lnTo>
                    <a:pt x="127349" y="43815"/>
                  </a:lnTo>
                  <a:lnTo>
                    <a:pt x="110585" y="36767"/>
                  </a:lnTo>
                  <a:lnTo>
                    <a:pt x="112586" y="2981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0" name="Freeform: Shape 2730">
              <a:extLst>
                <a:ext uri="{FF2B5EF4-FFF2-40B4-BE49-F238E27FC236}">
                  <a16:creationId xmlns:a16="http://schemas.microsoft.com/office/drawing/2014/main" id="{DBA5C9E9-CCFC-50F3-1449-EF31891B42BE}"/>
                </a:ext>
              </a:extLst>
            </p:cNvPr>
            <p:cNvSpPr/>
            <p:nvPr/>
          </p:nvSpPr>
          <p:spPr>
            <a:xfrm>
              <a:off x="2380392" y="3968527"/>
              <a:ext cx="51530" cy="71913"/>
            </a:xfrm>
            <a:custGeom>
              <a:avLst/>
              <a:gdLst>
                <a:gd name="connsiteX0" fmla="*/ 21241 w 51530"/>
                <a:gd name="connsiteY0" fmla="*/ 53816 h 71913"/>
                <a:gd name="connsiteX1" fmla="*/ 43053 w 51530"/>
                <a:gd name="connsiteY1" fmla="*/ 71914 h 71913"/>
                <a:gd name="connsiteX2" fmla="*/ 51530 w 51530"/>
                <a:gd name="connsiteY2" fmla="*/ 38767 h 71913"/>
                <a:gd name="connsiteX3" fmla="*/ 41719 w 51530"/>
                <a:gd name="connsiteY3" fmla="*/ 286 h 71913"/>
                <a:gd name="connsiteX4" fmla="*/ 16288 w 51530"/>
                <a:gd name="connsiteY4" fmla="*/ 4381 h 71913"/>
                <a:gd name="connsiteX5" fmla="*/ 0 w 51530"/>
                <a:gd name="connsiteY5" fmla="*/ 0 h 71913"/>
                <a:gd name="connsiteX6" fmla="*/ 4286 w 51530"/>
                <a:gd name="connsiteY6" fmla="*/ 22098 h 71913"/>
                <a:gd name="connsiteX7" fmla="*/ 21241 w 51530"/>
                <a:gd name="connsiteY7" fmla="*/ 53816 h 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30" h="71913">
                  <a:moveTo>
                    <a:pt x="21241" y="53816"/>
                  </a:moveTo>
                  <a:lnTo>
                    <a:pt x="43053" y="71914"/>
                  </a:lnTo>
                  <a:lnTo>
                    <a:pt x="51530" y="38767"/>
                  </a:lnTo>
                  <a:lnTo>
                    <a:pt x="41719" y="286"/>
                  </a:lnTo>
                  <a:lnTo>
                    <a:pt x="16288" y="4381"/>
                  </a:lnTo>
                  <a:lnTo>
                    <a:pt x="0" y="0"/>
                  </a:lnTo>
                  <a:lnTo>
                    <a:pt x="4286" y="22098"/>
                  </a:lnTo>
                  <a:lnTo>
                    <a:pt x="21241" y="5381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1" name="Freeform: Shape 2731">
              <a:extLst>
                <a:ext uri="{FF2B5EF4-FFF2-40B4-BE49-F238E27FC236}">
                  <a16:creationId xmlns:a16="http://schemas.microsoft.com/office/drawing/2014/main" id="{4FC4BF66-39D2-7ED6-D34D-DD3C6C0A2B1E}"/>
                </a:ext>
              </a:extLst>
            </p:cNvPr>
            <p:cNvSpPr/>
            <p:nvPr/>
          </p:nvSpPr>
          <p:spPr>
            <a:xfrm>
              <a:off x="3202971" y="3431222"/>
              <a:ext cx="1211674" cy="771524"/>
            </a:xfrm>
            <a:custGeom>
              <a:avLst/>
              <a:gdLst>
                <a:gd name="connsiteX0" fmla="*/ 1207865 w 1211675"/>
                <a:gd name="connsiteY0" fmla="*/ 147638 h 771525"/>
                <a:gd name="connsiteX1" fmla="*/ 1210913 w 1211675"/>
                <a:gd name="connsiteY1" fmla="*/ 140970 h 771525"/>
                <a:gd name="connsiteX2" fmla="*/ 1206246 w 1211675"/>
                <a:gd name="connsiteY2" fmla="*/ 137160 h 771525"/>
                <a:gd name="connsiteX3" fmla="*/ 1190816 w 1211675"/>
                <a:gd name="connsiteY3" fmla="*/ 140970 h 771525"/>
                <a:gd name="connsiteX4" fmla="*/ 1186529 w 1211675"/>
                <a:gd name="connsiteY4" fmla="*/ 147256 h 771525"/>
                <a:gd name="connsiteX5" fmla="*/ 1179957 w 1211675"/>
                <a:gd name="connsiteY5" fmla="*/ 142399 h 771525"/>
                <a:gd name="connsiteX6" fmla="*/ 1169099 w 1211675"/>
                <a:gd name="connsiteY6" fmla="*/ 147638 h 771525"/>
                <a:gd name="connsiteX7" fmla="*/ 1166812 w 1211675"/>
                <a:gd name="connsiteY7" fmla="*/ 154876 h 771525"/>
                <a:gd name="connsiteX8" fmla="*/ 1152525 w 1211675"/>
                <a:gd name="connsiteY8" fmla="*/ 155829 h 771525"/>
                <a:gd name="connsiteX9" fmla="*/ 1147096 w 1211675"/>
                <a:gd name="connsiteY9" fmla="*/ 152971 h 771525"/>
                <a:gd name="connsiteX10" fmla="*/ 1135856 w 1211675"/>
                <a:gd name="connsiteY10" fmla="*/ 155829 h 771525"/>
                <a:gd name="connsiteX11" fmla="*/ 1128903 w 1211675"/>
                <a:gd name="connsiteY11" fmla="*/ 145828 h 771525"/>
                <a:gd name="connsiteX12" fmla="*/ 1134332 w 1211675"/>
                <a:gd name="connsiteY12" fmla="*/ 139065 h 771525"/>
                <a:gd name="connsiteX13" fmla="*/ 1128141 w 1211675"/>
                <a:gd name="connsiteY13" fmla="*/ 132397 h 771525"/>
                <a:gd name="connsiteX14" fmla="*/ 1129665 w 1211675"/>
                <a:gd name="connsiteY14" fmla="*/ 124778 h 771525"/>
                <a:gd name="connsiteX15" fmla="*/ 1118426 w 1211675"/>
                <a:gd name="connsiteY15" fmla="*/ 124778 h 771525"/>
                <a:gd name="connsiteX16" fmla="*/ 1109186 w 1211675"/>
                <a:gd name="connsiteY16" fmla="*/ 114776 h 771525"/>
                <a:gd name="connsiteX17" fmla="*/ 1095185 w 1211675"/>
                <a:gd name="connsiteY17" fmla="*/ 112871 h 771525"/>
                <a:gd name="connsiteX18" fmla="*/ 1092518 w 1211675"/>
                <a:gd name="connsiteY18" fmla="*/ 106585 h 771525"/>
                <a:gd name="connsiteX19" fmla="*/ 1082421 w 1211675"/>
                <a:gd name="connsiteY19" fmla="*/ 111347 h 771525"/>
                <a:gd name="connsiteX20" fmla="*/ 1068895 w 1211675"/>
                <a:gd name="connsiteY20" fmla="*/ 104680 h 771525"/>
                <a:gd name="connsiteX21" fmla="*/ 1069277 w 1211675"/>
                <a:gd name="connsiteY21" fmla="*/ 93726 h 771525"/>
                <a:gd name="connsiteX22" fmla="*/ 1063847 w 1211675"/>
                <a:gd name="connsiteY22" fmla="*/ 88773 h 771525"/>
                <a:gd name="connsiteX23" fmla="*/ 1063466 w 1211675"/>
                <a:gd name="connsiteY23" fmla="*/ 79629 h 771525"/>
                <a:gd name="connsiteX24" fmla="*/ 1055370 w 1211675"/>
                <a:gd name="connsiteY24" fmla="*/ 69437 h 771525"/>
                <a:gd name="connsiteX25" fmla="*/ 1056132 w 1211675"/>
                <a:gd name="connsiteY25" fmla="*/ 62389 h 771525"/>
                <a:gd name="connsiteX26" fmla="*/ 1046131 w 1211675"/>
                <a:gd name="connsiteY26" fmla="*/ 45244 h 771525"/>
                <a:gd name="connsiteX27" fmla="*/ 1048417 w 1211675"/>
                <a:gd name="connsiteY27" fmla="*/ 39243 h 771525"/>
                <a:gd name="connsiteX28" fmla="*/ 1036796 w 1211675"/>
                <a:gd name="connsiteY28" fmla="*/ 29623 h 771525"/>
                <a:gd name="connsiteX29" fmla="*/ 1038701 w 1211675"/>
                <a:gd name="connsiteY29" fmla="*/ 21526 h 771525"/>
                <a:gd name="connsiteX30" fmla="*/ 1020509 w 1211675"/>
                <a:gd name="connsiteY30" fmla="*/ 8668 h 771525"/>
                <a:gd name="connsiteX31" fmla="*/ 1013936 w 1211675"/>
                <a:gd name="connsiteY31" fmla="*/ 14002 h 771525"/>
                <a:gd name="connsiteX32" fmla="*/ 983361 w 1211675"/>
                <a:gd name="connsiteY32" fmla="*/ 0 h 771525"/>
                <a:gd name="connsiteX33" fmla="*/ 934307 w 1211675"/>
                <a:gd name="connsiteY33" fmla="*/ 7525 h 771525"/>
                <a:gd name="connsiteX34" fmla="*/ 918401 w 1211675"/>
                <a:gd name="connsiteY34" fmla="*/ 20479 h 771525"/>
                <a:gd name="connsiteX35" fmla="*/ 919162 w 1211675"/>
                <a:gd name="connsiteY35" fmla="*/ 29051 h 771525"/>
                <a:gd name="connsiteX36" fmla="*/ 926497 w 1211675"/>
                <a:gd name="connsiteY36" fmla="*/ 25813 h 771525"/>
                <a:gd name="connsiteX37" fmla="*/ 933831 w 1211675"/>
                <a:gd name="connsiteY37" fmla="*/ 28004 h 771525"/>
                <a:gd name="connsiteX38" fmla="*/ 931926 w 1211675"/>
                <a:gd name="connsiteY38" fmla="*/ 34480 h 771525"/>
                <a:gd name="connsiteX39" fmla="*/ 933831 w 1211675"/>
                <a:gd name="connsiteY39" fmla="*/ 42481 h 771525"/>
                <a:gd name="connsiteX40" fmla="*/ 919543 w 1211675"/>
                <a:gd name="connsiteY40" fmla="*/ 53245 h 771525"/>
                <a:gd name="connsiteX41" fmla="*/ 902494 w 1211675"/>
                <a:gd name="connsiteY41" fmla="*/ 86106 h 771525"/>
                <a:gd name="connsiteX42" fmla="*/ 907923 w 1211675"/>
                <a:gd name="connsiteY42" fmla="*/ 89345 h 771525"/>
                <a:gd name="connsiteX43" fmla="*/ 905637 w 1211675"/>
                <a:gd name="connsiteY43" fmla="*/ 97060 h 771525"/>
                <a:gd name="connsiteX44" fmla="*/ 892111 w 1211675"/>
                <a:gd name="connsiteY44" fmla="*/ 99441 h 771525"/>
                <a:gd name="connsiteX45" fmla="*/ 875443 w 1211675"/>
                <a:gd name="connsiteY45" fmla="*/ 111347 h 771525"/>
                <a:gd name="connsiteX46" fmla="*/ 854107 w 1211675"/>
                <a:gd name="connsiteY46" fmla="*/ 103251 h 771525"/>
                <a:gd name="connsiteX47" fmla="*/ 836009 w 1211675"/>
                <a:gd name="connsiteY47" fmla="*/ 133350 h 771525"/>
                <a:gd name="connsiteX48" fmla="*/ 836390 w 1211675"/>
                <a:gd name="connsiteY48" fmla="*/ 141446 h 771525"/>
                <a:gd name="connsiteX49" fmla="*/ 829056 w 1211675"/>
                <a:gd name="connsiteY49" fmla="*/ 144304 h 771525"/>
                <a:gd name="connsiteX50" fmla="*/ 830580 w 1211675"/>
                <a:gd name="connsiteY50" fmla="*/ 150590 h 771525"/>
                <a:gd name="connsiteX51" fmla="*/ 837914 w 1211675"/>
                <a:gd name="connsiteY51" fmla="*/ 156781 h 771525"/>
                <a:gd name="connsiteX52" fmla="*/ 843725 w 1211675"/>
                <a:gd name="connsiteY52" fmla="*/ 149638 h 771525"/>
                <a:gd name="connsiteX53" fmla="*/ 850297 w 1211675"/>
                <a:gd name="connsiteY53" fmla="*/ 152495 h 771525"/>
                <a:gd name="connsiteX54" fmla="*/ 856107 w 1211675"/>
                <a:gd name="connsiteY54" fmla="*/ 149162 h 771525"/>
                <a:gd name="connsiteX55" fmla="*/ 865727 w 1211675"/>
                <a:gd name="connsiteY55" fmla="*/ 155353 h 771525"/>
                <a:gd name="connsiteX56" fmla="*/ 875443 w 1211675"/>
                <a:gd name="connsiteY56" fmla="*/ 146780 h 771525"/>
                <a:gd name="connsiteX57" fmla="*/ 890492 w 1211675"/>
                <a:gd name="connsiteY57" fmla="*/ 145828 h 771525"/>
                <a:gd name="connsiteX58" fmla="*/ 894398 w 1211675"/>
                <a:gd name="connsiteY58" fmla="*/ 151543 h 771525"/>
                <a:gd name="connsiteX59" fmla="*/ 902113 w 1211675"/>
                <a:gd name="connsiteY59" fmla="*/ 153924 h 771525"/>
                <a:gd name="connsiteX60" fmla="*/ 902875 w 1211675"/>
                <a:gd name="connsiteY60" fmla="*/ 159163 h 771525"/>
                <a:gd name="connsiteX61" fmla="*/ 912971 w 1211675"/>
                <a:gd name="connsiteY61" fmla="*/ 170117 h 771525"/>
                <a:gd name="connsiteX62" fmla="*/ 917638 w 1211675"/>
                <a:gd name="connsiteY62" fmla="*/ 172498 h 771525"/>
                <a:gd name="connsiteX63" fmla="*/ 918019 w 1211675"/>
                <a:gd name="connsiteY63" fmla="*/ 179260 h 771525"/>
                <a:gd name="connsiteX64" fmla="*/ 911828 w 1211675"/>
                <a:gd name="connsiteY64" fmla="*/ 182118 h 771525"/>
                <a:gd name="connsiteX65" fmla="*/ 897922 w 1211675"/>
                <a:gd name="connsiteY65" fmla="*/ 177355 h 771525"/>
                <a:gd name="connsiteX66" fmla="*/ 892493 w 1211675"/>
                <a:gd name="connsiteY66" fmla="*/ 180689 h 771525"/>
                <a:gd name="connsiteX67" fmla="*/ 883920 w 1211675"/>
                <a:gd name="connsiteY67" fmla="*/ 177355 h 771525"/>
                <a:gd name="connsiteX68" fmla="*/ 874300 w 1211675"/>
                <a:gd name="connsiteY68" fmla="*/ 184499 h 771525"/>
                <a:gd name="connsiteX69" fmla="*/ 867346 w 1211675"/>
                <a:gd name="connsiteY69" fmla="*/ 180689 h 771525"/>
                <a:gd name="connsiteX70" fmla="*/ 865727 w 1211675"/>
                <a:gd name="connsiteY70" fmla="*/ 187833 h 771525"/>
                <a:gd name="connsiteX71" fmla="*/ 855726 w 1211675"/>
                <a:gd name="connsiteY71" fmla="*/ 184975 h 771525"/>
                <a:gd name="connsiteX72" fmla="*/ 843343 w 1211675"/>
                <a:gd name="connsiteY72" fmla="*/ 196405 h 771525"/>
                <a:gd name="connsiteX73" fmla="*/ 846010 w 1211675"/>
                <a:gd name="connsiteY73" fmla="*/ 201644 h 771525"/>
                <a:gd name="connsiteX74" fmla="*/ 834390 w 1211675"/>
                <a:gd name="connsiteY74" fmla="*/ 209740 h 771525"/>
                <a:gd name="connsiteX75" fmla="*/ 820484 w 1211675"/>
                <a:gd name="connsiteY75" fmla="*/ 211646 h 771525"/>
                <a:gd name="connsiteX76" fmla="*/ 814292 w 1211675"/>
                <a:gd name="connsiteY76" fmla="*/ 208312 h 771525"/>
                <a:gd name="connsiteX77" fmla="*/ 808863 w 1211675"/>
                <a:gd name="connsiteY77" fmla="*/ 211169 h 771525"/>
                <a:gd name="connsiteX78" fmla="*/ 806958 w 1211675"/>
                <a:gd name="connsiteY78" fmla="*/ 218885 h 771525"/>
                <a:gd name="connsiteX79" fmla="*/ 791432 w 1211675"/>
                <a:gd name="connsiteY79" fmla="*/ 227933 h 771525"/>
                <a:gd name="connsiteX80" fmla="*/ 773240 w 1211675"/>
                <a:gd name="connsiteY80" fmla="*/ 224599 h 771525"/>
                <a:gd name="connsiteX81" fmla="*/ 768668 w 1211675"/>
                <a:gd name="connsiteY81" fmla="*/ 218408 h 771525"/>
                <a:gd name="connsiteX82" fmla="*/ 757047 w 1211675"/>
                <a:gd name="connsiteY82" fmla="*/ 219361 h 771525"/>
                <a:gd name="connsiteX83" fmla="*/ 749332 w 1211675"/>
                <a:gd name="connsiteY83" fmla="*/ 236029 h 771525"/>
                <a:gd name="connsiteX84" fmla="*/ 759333 w 1211675"/>
                <a:gd name="connsiteY84" fmla="*/ 246602 h 771525"/>
                <a:gd name="connsiteX85" fmla="*/ 761714 w 1211675"/>
                <a:gd name="connsiteY85" fmla="*/ 252317 h 771525"/>
                <a:gd name="connsiteX86" fmla="*/ 755523 w 1211675"/>
                <a:gd name="connsiteY86" fmla="*/ 254222 h 771525"/>
                <a:gd name="connsiteX87" fmla="*/ 751618 w 1211675"/>
                <a:gd name="connsiteY87" fmla="*/ 258508 h 771525"/>
                <a:gd name="connsiteX88" fmla="*/ 740378 w 1211675"/>
                <a:gd name="connsiteY88" fmla="*/ 261366 h 771525"/>
                <a:gd name="connsiteX89" fmla="*/ 729139 w 1211675"/>
                <a:gd name="connsiteY89" fmla="*/ 274701 h 771525"/>
                <a:gd name="connsiteX90" fmla="*/ 717613 w 1211675"/>
                <a:gd name="connsiteY90" fmla="*/ 277654 h 771525"/>
                <a:gd name="connsiteX91" fmla="*/ 710184 w 1211675"/>
                <a:gd name="connsiteY91" fmla="*/ 283845 h 771525"/>
                <a:gd name="connsiteX92" fmla="*/ 673799 w 1211675"/>
                <a:gd name="connsiteY92" fmla="*/ 285750 h 771525"/>
                <a:gd name="connsiteX93" fmla="*/ 669226 w 1211675"/>
                <a:gd name="connsiteY93" fmla="*/ 281464 h 771525"/>
                <a:gd name="connsiteX94" fmla="*/ 625888 w 1211675"/>
                <a:gd name="connsiteY94" fmla="*/ 299561 h 771525"/>
                <a:gd name="connsiteX95" fmla="*/ 621220 w 1211675"/>
                <a:gd name="connsiteY95" fmla="*/ 304800 h 771525"/>
                <a:gd name="connsiteX96" fmla="*/ 611505 w 1211675"/>
                <a:gd name="connsiteY96" fmla="*/ 301943 h 771525"/>
                <a:gd name="connsiteX97" fmla="*/ 611886 w 1211675"/>
                <a:gd name="connsiteY97" fmla="*/ 296228 h 771525"/>
                <a:gd name="connsiteX98" fmla="*/ 598360 w 1211675"/>
                <a:gd name="connsiteY98" fmla="*/ 299561 h 771525"/>
                <a:gd name="connsiteX99" fmla="*/ 578644 w 1211675"/>
                <a:gd name="connsiteY99" fmla="*/ 288131 h 771525"/>
                <a:gd name="connsiteX100" fmla="*/ 571309 w 1211675"/>
                <a:gd name="connsiteY100" fmla="*/ 291941 h 771525"/>
                <a:gd name="connsiteX101" fmla="*/ 563118 w 1211675"/>
                <a:gd name="connsiteY101" fmla="*/ 289560 h 771525"/>
                <a:gd name="connsiteX102" fmla="*/ 558927 w 1211675"/>
                <a:gd name="connsiteY102" fmla="*/ 281464 h 771525"/>
                <a:gd name="connsiteX103" fmla="*/ 526447 w 1211675"/>
                <a:gd name="connsiteY103" fmla="*/ 276130 h 771525"/>
                <a:gd name="connsiteX104" fmla="*/ 510921 w 1211675"/>
                <a:gd name="connsiteY104" fmla="*/ 280988 h 771525"/>
                <a:gd name="connsiteX105" fmla="*/ 463296 w 1211675"/>
                <a:gd name="connsiteY105" fmla="*/ 272796 h 771525"/>
                <a:gd name="connsiteX106" fmla="*/ 450913 w 1211675"/>
                <a:gd name="connsiteY106" fmla="*/ 276130 h 771525"/>
                <a:gd name="connsiteX107" fmla="*/ 441674 w 1211675"/>
                <a:gd name="connsiteY107" fmla="*/ 265652 h 771525"/>
                <a:gd name="connsiteX108" fmla="*/ 441674 w 1211675"/>
                <a:gd name="connsiteY108" fmla="*/ 260413 h 771525"/>
                <a:gd name="connsiteX109" fmla="*/ 435864 w 1211675"/>
                <a:gd name="connsiteY109" fmla="*/ 245078 h 771525"/>
                <a:gd name="connsiteX110" fmla="*/ 430054 w 1211675"/>
                <a:gd name="connsiteY110" fmla="*/ 244221 h 771525"/>
                <a:gd name="connsiteX111" fmla="*/ 431959 w 1211675"/>
                <a:gd name="connsiteY111" fmla="*/ 235553 h 771525"/>
                <a:gd name="connsiteX112" fmla="*/ 419957 w 1211675"/>
                <a:gd name="connsiteY112" fmla="*/ 237935 h 771525"/>
                <a:gd name="connsiteX113" fmla="*/ 393287 w 1211675"/>
                <a:gd name="connsiteY113" fmla="*/ 220313 h 771525"/>
                <a:gd name="connsiteX114" fmla="*/ 370046 w 1211675"/>
                <a:gd name="connsiteY114" fmla="*/ 221742 h 771525"/>
                <a:gd name="connsiteX115" fmla="*/ 353473 w 1211675"/>
                <a:gd name="connsiteY115" fmla="*/ 215551 h 771525"/>
                <a:gd name="connsiteX116" fmla="*/ 342614 w 1211675"/>
                <a:gd name="connsiteY116" fmla="*/ 216979 h 771525"/>
                <a:gd name="connsiteX117" fmla="*/ 336423 w 1211675"/>
                <a:gd name="connsiteY117" fmla="*/ 206407 h 771525"/>
                <a:gd name="connsiteX118" fmla="*/ 344519 w 1211675"/>
                <a:gd name="connsiteY118" fmla="*/ 196882 h 771525"/>
                <a:gd name="connsiteX119" fmla="*/ 341852 w 1211675"/>
                <a:gd name="connsiteY119" fmla="*/ 188786 h 771525"/>
                <a:gd name="connsiteX120" fmla="*/ 346043 w 1211675"/>
                <a:gd name="connsiteY120" fmla="*/ 180213 h 771525"/>
                <a:gd name="connsiteX121" fmla="*/ 341852 w 1211675"/>
                <a:gd name="connsiteY121" fmla="*/ 172498 h 771525"/>
                <a:gd name="connsiteX122" fmla="*/ 335280 w 1211675"/>
                <a:gd name="connsiteY122" fmla="*/ 169164 h 771525"/>
                <a:gd name="connsiteX123" fmla="*/ 333756 w 1211675"/>
                <a:gd name="connsiteY123" fmla="*/ 160115 h 771525"/>
                <a:gd name="connsiteX124" fmla="*/ 325564 w 1211675"/>
                <a:gd name="connsiteY124" fmla="*/ 149162 h 771525"/>
                <a:gd name="connsiteX125" fmla="*/ 319754 w 1211675"/>
                <a:gd name="connsiteY125" fmla="*/ 151543 h 771525"/>
                <a:gd name="connsiteX126" fmla="*/ 315087 w 1211675"/>
                <a:gd name="connsiteY126" fmla="*/ 144304 h 771525"/>
                <a:gd name="connsiteX127" fmla="*/ 305467 w 1211675"/>
                <a:gd name="connsiteY127" fmla="*/ 147256 h 771525"/>
                <a:gd name="connsiteX128" fmla="*/ 285369 w 1211675"/>
                <a:gd name="connsiteY128" fmla="*/ 134303 h 771525"/>
                <a:gd name="connsiteX129" fmla="*/ 286131 w 1211675"/>
                <a:gd name="connsiteY129" fmla="*/ 130492 h 771525"/>
                <a:gd name="connsiteX130" fmla="*/ 279940 w 1211675"/>
                <a:gd name="connsiteY130" fmla="*/ 126683 h 771525"/>
                <a:gd name="connsiteX131" fmla="*/ 282988 w 1211675"/>
                <a:gd name="connsiteY131" fmla="*/ 123825 h 771525"/>
                <a:gd name="connsiteX132" fmla="*/ 281368 w 1211675"/>
                <a:gd name="connsiteY132" fmla="*/ 118777 h 771525"/>
                <a:gd name="connsiteX133" fmla="*/ 273939 w 1211675"/>
                <a:gd name="connsiteY133" fmla="*/ 120777 h 771525"/>
                <a:gd name="connsiteX134" fmla="*/ 262223 w 1211675"/>
                <a:gd name="connsiteY134" fmla="*/ 120777 h 771525"/>
                <a:gd name="connsiteX135" fmla="*/ 259556 w 1211675"/>
                <a:gd name="connsiteY135" fmla="*/ 124016 h 771525"/>
                <a:gd name="connsiteX136" fmla="*/ 261366 w 1211675"/>
                <a:gd name="connsiteY136" fmla="*/ 128111 h 771525"/>
                <a:gd name="connsiteX137" fmla="*/ 256699 w 1211675"/>
                <a:gd name="connsiteY137" fmla="*/ 134779 h 771525"/>
                <a:gd name="connsiteX138" fmla="*/ 240697 w 1211675"/>
                <a:gd name="connsiteY138" fmla="*/ 137636 h 771525"/>
                <a:gd name="connsiteX139" fmla="*/ 235553 w 1211675"/>
                <a:gd name="connsiteY139" fmla="*/ 148495 h 771525"/>
                <a:gd name="connsiteX140" fmla="*/ 239173 w 1211675"/>
                <a:gd name="connsiteY140" fmla="*/ 163449 h 771525"/>
                <a:gd name="connsiteX141" fmla="*/ 235553 w 1211675"/>
                <a:gd name="connsiteY141" fmla="*/ 170497 h 771525"/>
                <a:gd name="connsiteX142" fmla="*/ 229362 w 1211675"/>
                <a:gd name="connsiteY142" fmla="*/ 171450 h 771525"/>
                <a:gd name="connsiteX143" fmla="*/ 219837 w 1211675"/>
                <a:gd name="connsiteY143" fmla="*/ 177737 h 771525"/>
                <a:gd name="connsiteX144" fmla="*/ 220123 w 1211675"/>
                <a:gd name="connsiteY144" fmla="*/ 171069 h 771525"/>
                <a:gd name="connsiteX145" fmla="*/ 200215 w 1211675"/>
                <a:gd name="connsiteY145" fmla="*/ 172021 h 771525"/>
                <a:gd name="connsiteX146" fmla="*/ 187071 w 1211675"/>
                <a:gd name="connsiteY146" fmla="*/ 166688 h 771525"/>
                <a:gd name="connsiteX147" fmla="*/ 171831 w 1211675"/>
                <a:gd name="connsiteY147" fmla="*/ 207073 h 771525"/>
                <a:gd name="connsiteX148" fmla="*/ 179070 w 1211675"/>
                <a:gd name="connsiteY148" fmla="*/ 209931 h 771525"/>
                <a:gd name="connsiteX149" fmla="*/ 176689 w 1211675"/>
                <a:gd name="connsiteY149" fmla="*/ 218504 h 771525"/>
                <a:gd name="connsiteX150" fmla="*/ 171831 w 1211675"/>
                <a:gd name="connsiteY150" fmla="*/ 215074 h 771525"/>
                <a:gd name="connsiteX151" fmla="*/ 162592 w 1211675"/>
                <a:gd name="connsiteY151" fmla="*/ 217551 h 771525"/>
                <a:gd name="connsiteX152" fmla="*/ 161544 w 1211675"/>
                <a:gd name="connsiteY152" fmla="*/ 210598 h 771525"/>
                <a:gd name="connsiteX153" fmla="*/ 122587 w 1211675"/>
                <a:gd name="connsiteY153" fmla="*/ 222313 h 771525"/>
                <a:gd name="connsiteX154" fmla="*/ 126683 w 1211675"/>
                <a:gd name="connsiteY154" fmla="*/ 227171 h 771525"/>
                <a:gd name="connsiteX155" fmla="*/ 135731 w 1211675"/>
                <a:gd name="connsiteY155" fmla="*/ 227457 h 771525"/>
                <a:gd name="connsiteX156" fmla="*/ 133445 w 1211675"/>
                <a:gd name="connsiteY156" fmla="*/ 241840 h 771525"/>
                <a:gd name="connsiteX157" fmla="*/ 140113 w 1211675"/>
                <a:gd name="connsiteY157" fmla="*/ 257365 h 771525"/>
                <a:gd name="connsiteX158" fmla="*/ 141637 w 1211675"/>
                <a:gd name="connsiteY158" fmla="*/ 265938 h 771525"/>
                <a:gd name="connsiteX159" fmla="*/ 132874 w 1211675"/>
                <a:gd name="connsiteY159" fmla="*/ 268510 h 771525"/>
                <a:gd name="connsiteX160" fmla="*/ 137541 w 1211675"/>
                <a:gd name="connsiteY160" fmla="*/ 272320 h 771525"/>
                <a:gd name="connsiteX161" fmla="*/ 129540 w 1211675"/>
                <a:gd name="connsiteY161" fmla="*/ 276130 h 771525"/>
                <a:gd name="connsiteX162" fmla="*/ 131826 w 1211675"/>
                <a:gd name="connsiteY162" fmla="*/ 292703 h 771525"/>
                <a:gd name="connsiteX163" fmla="*/ 123825 w 1211675"/>
                <a:gd name="connsiteY163" fmla="*/ 293370 h 771525"/>
                <a:gd name="connsiteX164" fmla="*/ 121253 w 1211675"/>
                <a:gd name="connsiteY164" fmla="*/ 296894 h 771525"/>
                <a:gd name="connsiteX165" fmla="*/ 94202 w 1211675"/>
                <a:gd name="connsiteY165" fmla="*/ 308610 h 771525"/>
                <a:gd name="connsiteX166" fmla="*/ 90011 w 1211675"/>
                <a:gd name="connsiteY166" fmla="*/ 316325 h 771525"/>
                <a:gd name="connsiteX167" fmla="*/ 76676 w 1211675"/>
                <a:gd name="connsiteY167" fmla="*/ 319469 h 771525"/>
                <a:gd name="connsiteX168" fmla="*/ 63532 w 1211675"/>
                <a:gd name="connsiteY168" fmla="*/ 318802 h 771525"/>
                <a:gd name="connsiteX169" fmla="*/ 55245 w 1211675"/>
                <a:gd name="connsiteY169" fmla="*/ 333470 h 771525"/>
                <a:gd name="connsiteX170" fmla="*/ 40767 w 1211675"/>
                <a:gd name="connsiteY170" fmla="*/ 335089 h 771525"/>
                <a:gd name="connsiteX171" fmla="*/ 38767 w 1211675"/>
                <a:gd name="connsiteY171" fmla="*/ 326803 h 771525"/>
                <a:gd name="connsiteX172" fmla="*/ 31718 w 1211675"/>
                <a:gd name="connsiteY172" fmla="*/ 330327 h 771525"/>
                <a:gd name="connsiteX173" fmla="*/ 23241 w 1211675"/>
                <a:gd name="connsiteY173" fmla="*/ 330327 h 771525"/>
                <a:gd name="connsiteX174" fmla="*/ 24289 w 1211675"/>
                <a:gd name="connsiteY174" fmla="*/ 335756 h 771525"/>
                <a:gd name="connsiteX175" fmla="*/ 14002 w 1211675"/>
                <a:gd name="connsiteY175" fmla="*/ 341281 h 771525"/>
                <a:gd name="connsiteX176" fmla="*/ 9811 w 1211675"/>
                <a:gd name="connsiteY176" fmla="*/ 340138 h 771525"/>
                <a:gd name="connsiteX177" fmla="*/ 4667 w 1211675"/>
                <a:gd name="connsiteY177" fmla="*/ 346520 h 771525"/>
                <a:gd name="connsiteX178" fmla="*/ 7525 w 1211675"/>
                <a:gd name="connsiteY178" fmla="*/ 351854 h 771525"/>
                <a:gd name="connsiteX179" fmla="*/ 4381 w 1211675"/>
                <a:gd name="connsiteY179" fmla="*/ 354997 h 771525"/>
                <a:gd name="connsiteX180" fmla="*/ 381 w 1211675"/>
                <a:gd name="connsiteY180" fmla="*/ 355949 h 771525"/>
                <a:gd name="connsiteX181" fmla="*/ 381 w 1211675"/>
                <a:gd name="connsiteY181" fmla="*/ 355949 h 771525"/>
                <a:gd name="connsiteX182" fmla="*/ 0 w 1211675"/>
                <a:gd name="connsiteY182" fmla="*/ 360331 h 771525"/>
                <a:gd name="connsiteX183" fmla="*/ 5143 w 1211675"/>
                <a:gd name="connsiteY183" fmla="*/ 366427 h 771525"/>
                <a:gd name="connsiteX184" fmla="*/ 1333 w 1211675"/>
                <a:gd name="connsiteY184" fmla="*/ 368427 h 771525"/>
                <a:gd name="connsiteX185" fmla="*/ 6763 w 1211675"/>
                <a:gd name="connsiteY185" fmla="*/ 378333 h 771525"/>
                <a:gd name="connsiteX186" fmla="*/ 12383 w 1211675"/>
                <a:gd name="connsiteY186" fmla="*/ 371951 h 771525"/>
                <a:gd name="connsiteX187" fmla="*/ 24289 w 1211675"/>
                <a:gd name="connsiteY187" fmla="*/ 377762 h 771525"/>
                <a:gd name="connsiteX188" fmla="*/ 23527 w 1211675"/>
                <a:gd name="connsiteY188" fmla="*/ 386810 h 771525"/>
                <a:gd name="connsiteX189" fmla="*/ 27146 w 1211675"/>
                <a:gd name="connsiteY189" fmla="*/ 391478 h 771525"/>
                <a:gd name="connsiteX190" fmla="*/ 25813 w 1211675"/>
                <a:gd name="connsiteY190" fmla="*/ 396145 h 771525"/>
                <a:gd name="connsiteX191" fmla="*/ 31528 w 1211675"/>
                <a:gd name="connsiteY191" fmla="*/ 401764 h 771525"/>
                <a:gd name="connsiteX192" fmla="*/ 25432 w 1211675"/>
                <a:gd name="connsiteY192" fmla="*/ 405289 h 771525"/>
                <a:gd name="connsiteX193" fmla="*/ 16478 w 1211675"/>
                <a:gd name="connsiteY193" fmla="*/ 408432 h 771525"/>
                <a:gd name="connsiteX194" fmla="*/ 18193 w 1211675"/>
                <a:gd name="connsiteY194" fmla="*/ 411289 h 771525"/>
                <a:gd name="connsiteX195" fmla="*/ 34385 w 1211675"/>
                <a:gd name="connsiteY195" fmla="*/ 412242 h 771525"/>
                <a:gd name="connsiteX196" fmla="*/ 35909 w 1211675"/>
                <a:gd name="connsiteY196" fmla="*/ 416338 h 771525"/>
                <a:gd name="connsiteX197" fmla="*/ 42386 w 1211675"/>
                <a:gd name="connsiteY197" fmla="*/ 416338 h 771525"/>
                <a:gd name="connsiteX198" fmla="*/ 47720 w 1211675"/>
                <a:gd name="connsiteY198" fmla="*/ 426244 h 771525"/>
                <a:gd name="connsiteX199" fmla="*/ 44672 w 1211675"/>
                <a:gd name="connsiteY199" fmla="*/ 430625 h 771525"/>
                <a:gd name="connsiteX200" fmla="*/ 49339 w 1211675"/>
                <a:gd name="connsiteY200" fmla="*/ 432721 h 771525"/>
                <a:gd name="connsiteX201" fmla="*/ 50863 w 1211675"/>
                <a:gd name="connsiteY201" fmla="*/ 437960 h 771525"/>
                <a:gd name="connsiteX202" fmla="*/ 58864 w 1211675"/>
                <a:gd name="connsiteY202" fmla="*/ 434435 h 771525"/>
                <a:gd name="connsiteX203" fmla="*/ 59341 w 1211675"/>
                <a:gd name="connsiteY203" fmla="*/ 438817 h 771525"/>
                <a:gd name="connsiteX204" fmla="*/ 76105 w 1211675"/>
                <a:gd name="connsiteY204" fmla="*/ 444341 h 771525"/>
                <a:gd name="connsiteX205" fmla="*/ 85630 w 1211675"/>
                <a:gd name="connsiteY205" fmla="*/ 443103 h 771525"/>
                <a:gd name="connsiteX206" fmla="*/ 89059 w 1211675"/>
                <a:gd name="connsiteY206" fmla="*/ 442627 h 771525"/>
                <a:gd name="connsiteX207" fmla="*/ 101155 w 1211675"/>
                <a:gd name="connsiteY207" fmla="*/ 434435 h 771525"/>
                <a:gd name="connsiteX208" fmla="*/ 116396 w 1211675"/>
                <a:gd name="connsiteY208" fmla="*/ 432721 h 771525"/>
                <a:gd name="connsiteX209" fmla="*/ 118967 w 1211675"/>
                <a:gd name="connsiteY209" fmla="*/ 438817 h 771525"/>
                <a:gd name="connsiteX210" fmla="*/ 126683 w 1211675"/>
                <a:gd name="connsiteY210" fmla="*/ 445484 h 771525"/>
                <a:gd name="connsiteX211" fmla="*/ 130588 w 1211675"/>
                <a:gd name="connsiteY211" fmla="*/ 441198 h 771525"/>
                <a:gd name="connsiteX212" fmla="*/ 134684 w 1211675"/>
                <a:gd name="connsiteY212" fmla="*/ 443770 h 771525"/>
                <a:gd name="connsiteX213" fmla="*/ 128492 w 1211675"/>
                <a:gd name="connsiteY213" fmla="*/ 463010 h 771525"/>
                <a:gd name="connsiteX214" fmla="*/ 123634 w 1211675"/>
                <a:gd name="connsiteY214" fmla="*/ 462724 h 771525"/>
                <a:gd name="connsiteX215" fmla="*/ 121253 w 1211675"/>
                <a:gd name="connsiteY215" fmla="*/ 468058 h 771525"/>
                <a:gd name="connsiteX216" fmla="*/ 116396 w 1211675"/>
                <a:gd name="connsiteY216" fmla="*/ 468058 h 771525"/>
                <a:gd name="connsiteX217" fmla="*/ 116586 w 1211675"/>
                <a:gd name="connsiteY217" fmla="*/ 477107 h 771525"/>
                <a:gd name="connsiteX218" fmla="*/ 106108 w 1211675"/>
                <a:gd name="connsiteY218" fmla="*/ 477964 h 771525"/>
                <a:gd name="connsiteX219" fmla="*/ 107823 w 1211675"/>
                <a:gd name="connsiteY219" fmla="*/ 485204 h 771525"/>
                <a:gd name="connsiteX220" fmla="*/ 103822 w 1211675"/>
                <a:gd name="connsiteY220" fmla="*/ 490823 h 771525"/>
                <a:gd name="connsiteX221" fmla="*/ 103822 w 1211675"/>
                <a:gd name="connsiteY221" fmla="*/ 490823 h 771525"/>
                <a:gd name="connsiteX222" fmla="*/ 108680 w 1211675"/>
                <a:gd name="connsiteY222" fmla="*/ 495205 h 771525"/>
                <a:gd name="connsiteX223" fmla="*/ 114586 w 1211675"/>
                <a:gd name="connsiteY223" fmla="*/ 496633 h 771525"/>
                <a:gd name="connsiteX224" fmla="*/ 114300 w 1211675"/>
                <a:gd name="connsiteY224" fmla="*/ 501587 h 771525"/>
                <a:gd name="connsiteX225" fmla="*/ 117158 w 1211675"/>
                <a:gd name="connsiteY225" fmla="*/ 506825 h 771525"/>
                <a:gd name="connsiteX226" fmla="*/ 107347 w 1211675"/>
                <a:gd name="connsiteY226" fmla="*/ 514160 h 771525"/>
                <a:gd name="connsiteX227" fmla="*/ 102679 w 1211675"/>
                <a:gd name="connsiteY227" fmla="*/ 512350 h 771525"/>
                <a:gd name="connsiteX228" fmla="*/ 101155 w 1211675"/>
                <a:gd name="connsiteY228" fmla="*/ 506539 h 771525"/>
                <a:gd name="connsiteX229" fmla="*/ 94202 w 1211675"/>
                <a:gd name="connsiteY229" fmla="*/ 508635 h 771525"/>
                <a:gd name="connsiteX230" fmla="*/ 96488 w 1211675"/>
                <a:gd name="connsiteY230" fmla="*/ 517017 h 771525"/>
                <a:gd name="connsiteX231" fmla="*/ 101441 w 1211675"/>
                <a:gd name="connsiteY231" fmla="*/ 523494 h 771525"/>
                <a:gd name="connsiteX232" fmla="*/ 101632 w 1211675"/>
                <a:gd name="connsiteY232" fmla="*/ 538067 h 771525"/>
                <a:gd name="connsiteX233" fmla="*/ 107633 w 1211675"/>
                <a:gd name="connsiteY233" fmla="*/ 533972 h 771525"/>
                <a:gd name="connsiteX234" fmla="*/ 117634 w 1211675"/>
                <a:gd name="connsiteY234" fmla="*/ 546830 h 771525"/>
                <a:gd name="connsiteX235" fmla="*/ 123349 w 1211675"/>
                <a:gd name="connsiteY235" fmla="*/ 543878 h 771525"/>
                <a:gd name="connsiteX236" fmla="*/ 130778 w 1211675"/>
                <a:gd name="connsiteY236" fmla="*/ 550069 h 771525"/>
                <a:gd name="connsiteX237" fmla="*/ 129826 w 1211675"/>
                <a:gd name="connsiteY237" fmla="*/ 554736 h 771525"/>
                <a:gd name="connsiteX238" fmla="*/ 145256 w 1211675"/>
                <a:gd name="connsiteY238" fmla="*/ 562070 h 771525"/>
                <a:gd name="connsiteX239" fmla="*/ 149161 w 1211675"/>
                <a:gd name="connsiteY239" fmla="*/ 567785 h 771525"/>
                <a:gd name="connsiteX240" fmla="*/ 154305 w 1211675"/>
                <a:gd name="connsiteY240" fmla="*/ 559118 h 771525"/>
                <a:gd name="connsiteX241" fmla="*/ 167164 w 1211675"/>
                <a:gd name="connsiteY241" fmla="*/ 558832 h 771525"/>
                <a:gd name="connsiteX242" fmla="*/ 169259 w 1211675"/>
                <a:gd name="connsiteY242" fmla="*/ 565595 h 771525"/>
                <a:gd name="connsiteX243" fmla="*/ 176689 w 1211675"/>
                <a:gd name="connsiteY243" fmla="*/ 568357 h 771525"/>
                <a:gd name="connsiteX244" fmla="*/ 183166 w 1211675"/>
                <a:gd name="connsiteY244" fmla="*/ 574357 h 771525"/>
                <a:gd name="connsiteX245" fmla="*/ 191452 w 1211675"/>
                <a:gd name="connsiteY245" fmla="*/ 576072 h 771525"/>
                <a:gd name="connsiteX246" fmla="*/ 197834 w 1211675"/>
                <a:gd name="connsiteY246" fmla="*/ 585597 h 771525"/>
                <a:gd name="connsiteX247" fmla="*/ 205645 w 1211675"/>
                <a:gd name="connsiteY247" fmla="*/ 582073 h 771525"/>
                <a:gd name="connsiteX248" fmla="*/ 209455 w 1211675"/>
                <a:gd name="connsiteY248" fmla="*/ 583692 h 771525"/>
                <a:gd name="connsiteX249" fmla="*/ 210788 w 1211675"/>
                <a:gd name="connsiteY249" fmla="*/ 590264 h 771525"/>
                <a:gd name="connsiteX250" fmla="*/ 221837 w 1211675"/>
                <a:gd name="connsiteY250" fmla="*/ 597694 h 771525"/>
                <a:gd name="connsiteX251" fmla="*/ 228790 w 1211675"/>
                <a:gd name="connsiteY251" fmla="*/ 595789 h 771525"/>
                <a:gd name="connsiteX252" fmla="*/ 228029 w 1211675"/>
                <a:gd name="connsiteY252" fmla="*/ 602361 h 771525"/>
                <a:gd name="connsiteX253" fmla="*/ 238887 w 1211675"/>
                <a:gd name="connsiteY253" fmla="*/ 603409 h 771525"/>
                <a:gd name="connsiteX254" fmla="*/ 245364 w 1211675"/>
                <a:gd name="connsiteY254" fmla="*/ 612172 h 771525"/>
                <a:gd name="connsiteX255" fmla="*/ 247936 w 1211675"/>
                <a:gd name="connsiteY255" fmla="*/ 606171 h 771525"/>
                <a:gd name="connsiteX256" fmla="*/ 254127 w 1211675"/>
                <a:gd name="connsiteY256" fmla="*/ 612172 h 771525"/>
                <a:gd name="connsiteX257" fmla="*/ 256413 w 1211675"/>
                <a:gd name="connsiteY257" fmla="*/ 606743 h 771525"/>
                <a:gd name="connsiteX258" fmla="*/ 268796 w 1211675"/>
                <a:gd name="connsiteY258" fmla="*/ 612743 h 771525"/>
                <a:gd name="connsiteX259" fmla="*/ 279368 w 1211675"/>
                <a:gd name="connsiteY259" fmla="*/ 613601 h 771525"/>
                <a:gd name="connsiteX260" fmla="*/ 282988 w 1211675"/>
                <a:gd name="connsiteY260" fmla="*/ 610838 h 771525"/>
                <a:gd name="connsiteX261" fmla="*/ 286512 w 1211675"/>
                <a:gd name="connsiteY261" fmla="*/ 611696 h 771525"/>
                <a:gd name="connsiteX262" fmla="*/ 286607 w 1211675"/>
                <a:gd name="connsiteY262" fmla="*/ 611600 h 771525"/>
                <a:gd name="connsiteX263" fmla="*/ 287369 w 1211675"/>
                <a:gd name="connsiteY263" fmla="*/ 609695 h 771525"/>
                <a:gd name="connsiteX264" fmla="*/ 296894 w 1211675"/>
                <a:gd name="connsiteY264" fmla="*/ 606743 h 771525"/>
                <a:gd name="connsiteX265" fmla="*/ 301371 w 1211675"/>
                <a:gd name="connsiteY265" fmla="*/ 609410 h 771525"/>
                <a:gd name="connsiteX266" fmla="*/ 299275 w 1211675"/>
                <a:gd name="connsiteY266" fmla="*/ 620649 h 771525"/>
                <a:gd name="connsiteX267" fmla="*/ 302514 w 1211675"/>
                <a:gd name="connsiteY267" fmla="*/ 623411 h 771525"/>
                <a:gd name="connsiteX268" fmla="*/ 302895 w 1211675"/>
                <a:gd name="connsiteY268" fmla="*/ 623697 h 771525"/>
                <a:gd name="connsiteX269" fmla="*/ 309848 w 1211675"/>
                <a:gd name="connsiteY269" fmla="*/ 613791 h 771525"/>
                <a:gd name="connsiteX270" fmla="*/ 314230 w 1211675"/>
                <a:gd name="connsiteY270" fmla="*/ 611600 h 771525"/>
                <a:gd name="connsiteX271" fmla="*/ 316325 w 1211675"/>
                <a:gd name="connsiteY271" fmla="*/ 605885 h 771525"/>
                <a:gd name="connsiteX272" fmla="*/ 325564 w 1211675"/>
                <a:gd name="connsiteY272" fmla="*/ 602647 h 771525"/>
                <a:gd name="connsiteX273" fmla="*/ 332327 w 1211675"/>
                <a:gd name="connsiteY273" fmla="*/ 603695 h 771525"/>
                <a:gd name="connsiteX274" fmla="*/ 332042 w 1211675"/>
                <a:gd name="connsiteY274" fmla="*/ 607790 h 771525"/>
                <a:gd name="connsiteX275" fmla="*/ 345948 w 1211675"/>
                <a:gd name="connsiteY275" fmla="*/ 610553 h 771525"/>
                <a:gd name="connsiteX276" fmla="*/ 350615 w 1211675"/>
                <a:gd name="connsiteY276" fmla="*/ 606743 h 771525"/>
                <a:gd name="connsiteX277" fmla="*/ 357854 w 1211675"/>
                <a:gd name="connsiteY277" fmla="*/ 610267 h 771525"/>
                <a:gd name="connsiteX278" fmla="*/ 356425 w 1211675"/>
                <a:gd name="connsiteY278" fmla="*/ 614648 h 771525"/>
                <a:gd name="connsiteX279" fmla="*/ 356425 w 1211675"/>
                <a:gd name="connsiteY279" fmla="*/ 614648 h 771525"/>
                <a:gd name="connsiteX280" fmla="*/ 371284 w 1211675"/>
                <a:gd name="connsiteY280" fmla="*/ 613601 h 771525"/>
                <a:gd name="connsiteX281" fmla="*/ 379000 w 1211675"/>
                <a:gd name="connsiteY281" fmla="*/ 609410 h 771525"/>
                <a:gd name="connsiteX282" fmla="*/ 376142 w 1211675"/>
                <a:gd name="connsiteY282" fmla="*/ 606457 h 771525"/>
                <a:gd name="connsiteX283" fmla="*/ 385477 w 1211675"/>
                <a:gd name="connsiteY283" fmla="*/ 602647 h 771525"/>
                <a:gd name="connsiteX284" fmla="*/ 388525 w 1211675"/>
                <a:gd name="connsiteY284" fmla="*/ 595789 h 771525"/>
                <a:gd name="connsiteX285" fmla="*/ 399383 w 1211675"/>
                <a:gd name="connsiteY285" fmla="*/ 593884 h 771525"/>
                <a:gd name="connsiteX286" fmla="*/ 408908 w 1211675"/>
                <a:gd name="connsiteY286" fmla="*/ 585311 h 771525"/>
                <a:gd name="connsiteX287" fmla="*/ 417385 w 1211675"/>
                <a:gd name="connsiteY287" fmla="*/ 581215 h 771525"/>
                <a:gd name="connsiteX288" fmla="*/ 419195 w 1211675"/>
                <a:gd name="connsiteY288" fmla="*/ 585311 h 771525"/>
                <a:gd name="connsiteX289" fmla="*/ 431863 w 1211675"/>
                <a:gd name="connsiteY289" fmla="*/ 587788 h 771525"/>
                <a:gd name="connsiteX290" fmla="*/ 433673 w 1211675"/>
                <a:gd name="connsiteY290" fmla="*/ 583121 h 771525"/>
                <a:gd name="connsiteX291" fmla="*/ 444532 w 1211675"/>
                <a:gd name="connsiteY291" fmla="*/ 578834 h 771525"/>
                <a:gd name="connsiteX292" fmla="*/ 450151 w 1211675"/>
                <a:gd name="connsiteY292" fmla="*/ 582358 h 771525"/>
                <a:gd name="connsiteX293" fmla="*/ 444722 w 1211675"/>
                <a:gd name="connsiteY293" fmla="*/ 586454 h 771525"/>
                <a:gd name="connsiteX294" fmla="*/ 446532 w 1211675"/>
                <a:gd name="connsiteY294" fmla="*/ 590836 h 771525"/>
                <a:gd name="connsiteX295" fmla="*/ 453009 w 1211675"/>
                <a:gd name="connsiteY295" fmla="*/ 587502 h 771525"/>
                <a:gd name="connsiteX296" fmla="*/ 455295 w 1211675"/>
                <a:gd name="connsiteY296" fmla="*/ 593027 h 771525"/>
                <a:gd name="connsiteX297" fmla="*/ 447389 w 1211675"/>
                <a:gd name="connsiteY297" fmla="*/ 599313 h 771525"/>
                <a:gd name="connsiteX298" fmla="*/ 451199 w 1211675"/>
                <a:gd name="connsiteY298" fmla="*/ 602075 h 771525"/>
                <a:gd name="connsiteX299" fmla="*/ 456914 w 1211675"/>
                <a:gd name="connsiteY299" fmla="*/ 599885 h 771525"/>
                <a:gd name="connsiteX300" fmla="*/ 469773 w 1211675"/>
                <a:gd name="connsiteY300" fmla="*/ 604838 h 771525"/>
                <a:gd name="connsiteX301" fmla="*/ 473869 w 1211675"/>
                <a:gd name="connsiteY301" fmla="*/ 598551 h 771525"/>
                <a:gd name="connsiteX302" fmla="*/ 483679 w 1211675"/>
                <a:gd name="connsiteY302" fmla="*/ 605028 h 771525"/>
                <a:gd name="connsiteX303" fmla="*/ 488633 w 1211675"/>
                <a:gd name="connsiteY303" fmla="*/ 619887 h 771525"/>
                <a:gd name="connsiteX304" fmla="*/ 491204 w 1211675"/>
                <a:gd name="connsiteY304" fmla="*/ 615220 h 771525"/>
                <a:gd name="connsiteX305" fmla="*/ 497110 w 1211675"/>
                <a:gd name="connsiteY305" fmla="*/ 617411 h 771525"/>
                <a:gd name="connsiteX306" fmla="*/ 498634 w 1211675"/>
                <a:gd name="connsiteY306" fmla="*/ 637889 h 771525"/>
                <a:gd name="connsiteX307" fmla="*/ 494538 w 1211675"/>
                <a:gd name="connsiteY307" fmla="*/ 648557 h 771525"/>
                <a:gd name="connsiteX308" fmla="*/ 496634 w 1211675"/>
                <a:gd name="connsiteY308" fmla="*/ 655701 h 771525"/>
                <a:gd name="connsiteX309" fmla="*/ 492252 w 1211675"/>
                <a:gd name="connsiteY309" fmla="*/ 654939 h 771525"/>
                <a:gd name="connsiteX310" fmla="*/ 490157 w 1211675"/>
                <a:gd name="connsiteY310" fmla="*/ 661702 h 771525"/>
                <a:gd name="connsiteX311" fmla="*/ 485489 w 1211675"/>
                <a:gd name="connsiteY311" fmla="*/ 659321 h 771525"/>
                <a:gd name="connsiteX312" fmla="*/ 482917 w 1211675"/>
                <a:gd name="connsiteY312" fmla="*/ 668274 h 771525"/>
                <a:gd name="connsiteX313" fmla="*/ 478060 w 1211675"/>
                <a:gd name="connsiteY313" fmla="*/ 666369 h 771525"/>
                <a:gd name="connsiteX314" fmla="*/ 478822 w 1211675"/>
                <a:gd name="connsiteY314" fmla="*/ 675989 h 771525"/>
                <a:gd name="connsiteX315" fmla="*/ 473392 w 1211675"/>
                <a:gd name="connsiteY315" fmla="*/ 678752 h 771525"/>
                <a:gd name="connsiteX316" fmla="*/ 477012 w 1211675"/>
                <a:gd name="connsiteY316" fmla="*/ 688848 h 771525"/>
                <a:gd name="connsiteX317" fmla="*/ 474917 w 1211675"/>
                <a:gd name="connsiteY317" fmla="*/ 698754 h 771525"/>
                <a:gd name="connsiteX318" fmla="*/ 486061 w 1211675"/>
                <a:gd name="connsiteY318" fmla="*/ 690467 h 771525"/>
                <a:gd name="connsiteX319" fmla="*/ 493300 w 1211675"/>
                <a:gd name="connsiteY319" fmla="*/ 691039 h 771525"/>
                <a:gd name="connsiteX320" fmla="*/ 500443 w 1211675"/>
                <a:gd name="connsiteY320" fmla="*/ 689991 h 771525"/>
                <a:gd name="connsiteX321" fmla="*/ 497110 w 1211675"/>
                <a:gd name="connsiteY321" fmla="*/ 697325 h 771525"/>
                <a:gd name="connsiteX322" fmla="*/ 501206 w 1211675"/>
                <a:gd name="connsiteY322" fmla="*/ 710184 h 771525"/>
                <a:gd name="connsiteX323" fmla="*/ 512064 w 1211675"/>
                <a:gd name="connsiteY323" fmla="*/ 711613 h 771525"/>
                <a:gd name="connsiteX324" fmla="*/ 514636 w 1211675"/>
                <a:gd name="connsiteY324" fmla="*/ 716471 h 771525"/>
                <a:gd name="connsiteX325" fmla="*/ 509016 w 1211675"/>
                <a:gd name="connsiteY325" fmla="*/ 719233 h 771525"/>
                <a:gd name="connsiteX326" fmla="*/ 510254 w 1211675"/>
                <a:gd name="connsiteY326" fmla="*/ 725043 h 771525"/>
                <a:gd name="connsiteX327" fmla="*/ 505682 w 1211675"/>
                <a:gd name="connsiteY327" fmla="*/ 731901 h 771525"/>
                <a:gd name="connsiteX328" fmla="*/ 521113 w 1211675"/>
                <a:gd name="connsiteY328" fmla="*/ 735139 h 771525"/>
                <a:gd name="connsiteX329" fmla="*/ 525780 w 1211675"/>
                <a:gd name="connsiteY329" fmla="*/ 746951 h 771525"/>
                <a:gd name="connsiteX330" fmla="*/ 530447 w 1211675"/>
                <a:gd name="connsiteY330" fmla="*/ 743903 h 771525"/>
                <a:gd name="connsiteX331" fmla="*/ 534543 w 1211675"/>
                <a:gd name="connsiteY331" fmla="*/ 746379 h 771525"/>
                <a:gd name="connsiteX332" fmla="*/ 539401 w 1211675"/>
                <a:gd name="connsiteY332" fmla="*/ 741140 h 771525"/>
                <a:gd name="connsiteX333" fmla="*/ 545592 w 1211675"/>
                <a:gd name="connsiteY333" fmla="*/ 739521 h 771525"/>
                <a:gd name="connsiteX334" fmla="*/ 546926 w 1211675"/>
                <a:gd name="connsiteY334" fmla="*/ 744950 h 771525"/>
                <a:gd name="connsiteX335" fmla="*/ 547878 w 1211675"/>
                <a:gd name="connsiteY335" fmla="*/ 753047 h 771525"/>
                <a:gd name="connsiteX336" fmla="*/ 558260 w 1211675"/>
                <a:gd name="connsiteY336" fmla="*/ 754380 h 771525"/>
                <a:gd name="connsiteX337" fmla="*/ 557022 w 1211675"/>
                <a:gd name="connsiteY337" fmla="*/ 748284 h 771525"/>
                <a:gd name="connsiteX338" fmla="*/ 558260 w 1211675"/>
                <a:gd name="connsiteY338" fmla="*/ 741616 h 771525"/>
                <a:gd name="connsiteX339" fmla="*/ 552736 w 1211675"/>
                <a:gd name="connsiteY339" fmla="*/ 730758 h 771525"/>
                <a:gd name="connsiteX340" fmla="*/ 556641 w 1211675"/>
                <a:gd name="connsiteY340" fmla="*/ 725329 h 771525"/>
                <a:gd name="connsiteX341" fmla="*/ 560737 w 1211675"/>
                <a:gd name="connsiteY341" fmla="*/ 727520 h 771525"/>
                <a:gd name="connsiteX342" fmla="*/ 564737 w 1211675"/>
                <a:gd name="connsiteY342" fmla="*/ 727138 h 771525"/>
                <a:gd name="connsiteX343" fmla="*/ 567214 w 1211675"/>
                <a:gd name="connsiteY343" fmla="*/ 726853 h 771525"/>
                <a:gd name="connsiteX344" fmla="*/ 571119 w 1211675"/>
                <a:gd name="connsiteY344" fmla="*/ 719328 h 771525"/>
                <a:gd name="connsiteX345" fmla="*/ 578263 w 1211675"/>
                <a:gd name="connsiteY345" fmla="*/ 722566 h 771525"/>
                <a:gd name="connsiteX346" fmla="*/ 582359 w 1211675"/>
                <a:gd name="connsiteY346" fmla="*/ 727043 h 771525"/>
                <a:gd name="connsiteX347" fmla="*/ 588074 w 1211675"/>
                <a:gd name="connsiteY347" fmla="*/ 719042 h 771525"/>
                <a:gd name="connsiteX348" fmla="*/ 592550 w 1211675"/>
                <a:gd name="connsiteY348" fmla="*/ 722566 h 771525"/>
                <a:gd name="connsiteX349" fmla="*/ 595217 w 1211675"/>
                <a:gd name="connsiteY349" fmla="*/ 719328 h 771525"/>
                <a:gd name="connsiteX350" fmla="*/ 601123 w 1211675"/>
                <a:gd name="connsiteY350" fmla="*/ 725138 h 771525"/>
                <a:gd name="connsiteX351" fmla="*/ 603313 w 1211675"/>
                <a:gd name="connsiteY351" fmla="*/ 718376 h 771525"/>
                <a:gd name="connsiteX352" fmla="*/ 607028 w 1211675"/>
                <a:gd name="connsiteY352" fmla="*/ 717328 h 771525"/>
                <a:gd name="connsiteX353" fmla="*/ 608457 w 1211675"/>
                <a:gd name="connsiteY353" fmla="*/ 721423 h 771525"/>
                <a:gd name="connsiteX354" fmla="*/ 618649 w 1211675"/>
                <a:gd name="connsiteY354" fmla="*/ 716280 h 771525"/>
                <a:gd name="connsiteX355" fmla="*/ 617887 w 1211675"/>
                <a:gd name="connsiteY355" fmla="*/ 711898 h 771525"/>
                <a:gd name="connsiteX356" fmla="*/ 627602 w 1211675"/>
                <a:gd name="connsiteY356" fmla="*/ 706946 h 771525"/>
                <a:gd name="connsiteX357" fmla="*/ 632079 w 1211675"/>
                <a:gd name="connsiteY357" fmla="*/ 712946 h 771525"/>
                <a:gd name="connsiteX358" fmla="*/ 636937 w 1211675"/>
                <a:gd name="connsiteY358" fmla="*/ 713804 h 771525"/>
                <a:gd name="connsiteX359" fmla="*/ 638746 w 1211675"/>
                <a:gd name="connsiteY359" fmla="*/ 716756 h 771525"/>
                <a:gd name="connsiteX360" fmla="*/ 644938 w 1211675"/>
                <a:gd name="connsiteY360" fmla="*/ 714565 h 771525"/>
                <a:gd name="connsiteX361" fmla="*/ 647319 w 1211675"/>
                <a:gd name="connsiteY361" fmla="*/ 717899 h 771525"/>
                <a:gd name="connsiteX362" fmla="*/ 657320 w 1211675"/>
                <a:gd name="connsiteY362" fmla="*/ 716756 h 771525"/>
                <a:gd name="connsiteX363" fmla="*/ 656082 w 1211675"/>
                <a:gd name="connsiteY363" fmla="*/ 723614 h 771525"/>
                <a:gd name="connsiteX364" fmla="*/ 651891 w 1211675"/>
                <a:gd name="connsiteY364" fmla="*/ 725519 h 771525"/>
                <a:gd name="connsiteX365" fmla="*/ 655034 w 1211675"/>
                <a:gd name="connsiteY365" fmla="*/ 735139 h 771525"/>
                <a:gd name="connsiteX366" fmla="*/ 667131 w 1211675"/>
                <a:gd name="connsiteY366" fmla="*/ 740093 h 771525"/>
                <a:gd name="connsiteX367" fmla="*/ 670751 w 1211675"/>
                <a:gd name="connsiteY367" fmla="*/ 743617 h 771525"/>
                <a:gd name="connsiteX368" fmla="*/ 676942 w 1211675"/>
                <a:gd name="connsiteY368" fmla="*/ 740569 h 771525"/>
                <a:gd name="connsiteX369" fmla="*/ 681895 w 1211675"/>
                <a:gd name="connsiteY369" fmla="*/ 745427 h 771525"/>
                <a:gd name="connsiteX370" fmla="*/ 703326 w 1211675"/>
                <a:gd name="connsiteY370" fmla="*/ 748379 h 771525"/>
                <a:gd name="connsiteX371" fmla="*/ 719518 w 1211675"/>
                <a:gd name="connsiteY371" fmla="*/ 746570 h 771525"/>
                <a:gd name="connsiteX372" fmla="*/ 714566 w 1211675"/>
                <a:gd name="connsiteY372" fmla="*/ 756761 h 771525"/>
                <a:gd name="connsiteX373" fmla="*/ 715899 w 1211675"/>
                <a:gd name="connsiteY373" fmla="*/ 771525 h 771525"/>
                <a:gd name="connsiteX374" fmla="*/ 726472 w 1211675"/>
                <a:gd name="connsiteY374" fmla="*/ 766096 h 771525"/>
                <a:gd name="connsiteX375" fmla="*/ 723328 w 1211675"/>
                <a:gd name="connsiteY375" fmla="*/ 754856 h 771525"/>
                <a:gd name="connsiteX376" fmla="*/ 730091 w 1211675"/>
                <a:gd name="connsiteY376" fmla="*/ 747236 h 771525"/>
                <a:gd name="connsiteX377" fmla="*/ 752856 w 1211675"/>
                <a:gd name="connsiteY377" fmla="*/ 745903 h 771525"/>
                <a:gd name="connsiteX378" fmla="*/ 779621 w 1211675"/>
                <a:gd name="connsiteY378" fmla="*/ 737521 h 771525"/>
                <a:gd name="connsiteX379" fmla="*/ 782002 w 1211675"/>
                <a:gd name="connsiteY379" fmla="*/ 731139 h 771525"/>
                <a:gd name="connsiteX380" fmla="*/ 784288 w 1211675"/>
                <a:gd name="connsiteY380" fmla="*/ 735044 h 771525"/>
                <a:gd name="connsiteX381" fmla="*/ 783241 w 1211675"/>
                <a:gd name="connsiteY381" fmla="*/ 723805 h 771525"/>
                <a:gd name="connsiteX382" fmla="*/ 790861 w 1211675"/>
                <a:gd name="connsiteY382" fmla="*/ 731901 h 771525"/>
                <a:gd name="connsiteX383" fmla="*/ 787908 w 1211675"/>
                <a:gd name="connsiteY383" fmla="*/ 712565 h 771525"/>
                <a:gd name="connsiteX384" fmla="*/ 804386 w 1211675"/>
                <a:gd name="connsiteY384" fmla="*/ 724186 h 771525"/>
                <a:gd name="connsiteX385" fmla="*/ 827818 w 1211675"/>
                <a:gd name="connsiteY385" fmla="*/ 716471 h 771525"/>
                <a:gd name="connsiteX386" fmla="*/ 835438 w 1211675"/>
                <a:gd name="connsiteY386" fmla="*/ 720280 h 771525"/>
                <a:gd name="connsiteX387" fmla="*/ 848963 w 1211675"/>
                <a:gd name="connsiteY387" fmla="*/ 716089 h 771525"/>
                <a:gd name="connsiteX388" fmla="*/ 849344 w 1211675"/>
                <a:gd name="connsiteY388" fmla="*/ 710089 h 771525"/>
                <a:gd name="connsiteX389" fmla="*/ 854964 w 1211675"/>
                <a:gd name="connsiteY389" fmla="*/ 709803 h 771525"/>
                <a:gd name="connsiteX390" fmla="*/ 849630 w 1211675"/>
                <a:gd name="connsiteY390" fmla="*/ 705898 h 771525"/>
                <a:gd name="connsiteX391" fmla="*/ 862870 w 1211675"/>
                <a:gd name="connsiteY391" fmla="*/ 701707 h 771525"/>
                <a:gd name="connsiteX392" fmla="*/ 882301 w 1211675"/>
                <a:gd name="connsiteY392" fmla="*/ 679323 h 771525"/>
                <a:gd name="connsiteX393" fmla="*/ 891921 w 1211675"/>
                <a:gd name="connsiteY393" fmla="*/ 681704 h 771525"/>
                <a:gd name="connsiteX394" fmla="*/ 890302 w 1211675"/>
                <a:gd name="connsiteY394" fmla="*/ 675132 h 771525"/>
                <a:gd name="connsiteX395" fmla="*/ 898493 w 1211675"/>
                <a:gd name="connsiteY395" fmla="*/ 675132 h 771525"/>
                <a:gd name="connsiteX396" fmla="*/ 896493 w 1211675"/>
                <a:gd name="connsiteY396" fmla="*/ 667417 h 771525"/>
                <a:gd name="connsiteX397" fmla="*/ 905827 w 1211675"/>
                <a:gd name="connsiteY397" fmla="*/ 667417 h 771525"/>
                <a:gd name="connsiteX398" fmla="*/ 901922 w 1211675"/>
                <a:gd name="connsiteY398" fmla="*/ 663416 h 771525"/>
                <a:gd name="connsiteX399" fmla="*/ 904494 w 1211675"/>
                <a:gd name="connsiteY399" fmla="*/ 660749 h 771525"/>
                <a:gd name="connsiteX400" fmla="*/ 911257 w 1211675"/>
                <a:gd name="connsiteY400" fmla="*/ 662940 h 771525"/>
                <a:gd name="connsiteX401" fmla="*/ 909352 w 1211675"/>
                <a:gd name="connsiteY401" fmla="*/ 656368 h 771525"/>
                <a:gd name="connsiteX402" fmla="*/ 912685 w 1211675"/>
                <a:gd name="connsiteY402" fmla="*/ 651605 h 771525"/>
                <a:gd name="connsiteX403" fmla="*/ 904113 w 1211675"/>
                <a:gd name="connsiteY403" fmla="*/ 647414 h 771525"/>
                <a:gd name="connsiteX404" fmla="*/ 915638 w 1211675"/>
                <a:gd name="connsiteY404" fmla="*/ 643890 h 771525"/>
                <a:gd name="connsiteX405" fmla="*/ 926878 w 1211675"/>
                <a:gd name="connsiteY405" fmla="*/ 627412 h 771525"/>
                <a:gd name="connsiteX406" fmla="*/ 923830 w 1211675"/>
                <a:gd name="connsiteY406" fmla="*/ 623792 h 771525"/>
                <a:gd name="connsiteX407" fmla="*/ 929259 w 1211675"/>
                <a:gd name="connsiteY407" fmla="*/ 623792 h 771525"/>
                <a:gd name="connsiteX408" fmla="*/ 946594 w 1211675"/>
                <a:gd name="connsiteY408" fmla="*/ 604076 h 771525"/>
                <a:gd name="connsiteX409" fmla="*/ 951833 w 1211675"/>
                <a:gd name="connsiteY409" fmla="*/ 602361 h 771525"/>
                <a:gd name="connsiteX410" fmla="*/ 941070 w 1211675"/>
                <a:gd name="connsiteY410" fmla="*/ 591979 h 771525"/>
                <a:gd name="connsiteX411" fmla="*/ 951357 w 1211675"/>
                <a:gd name="connsiteY411" fmla="*/ 591979 h 771525"/>
                <a:gd name="connsiteX412" fmla="*/ 946690 w 1211675"/>
                <a:gd name="connsiteY412" fmla="*/ 585026 h 771525"/>
                <a:gd name="connsiteX413" fmla="*/ 954310 w 1211675"/>
                <a:gd name="connsiteY413" fmla="*/ 580835 h 771525"/>
                <a:gd name="connsiteX414" fmla="*/ 957358 w 1211675"/>
                <a:gd name="connsiteY414" fmla="*/ 585883 h 771525"/>
                <a:gd name="connsiteX415" fmla="*/ 957929 w 1211675"/>
                <a:gd name="connsiteY415" fmla="*/ 576263 h 771525"/>
                <a:gd name="connsiteX416" fmla="*/ 947357 w 1211675"/>
                <a:gd name="connsiteY416" fmla="*/ 577691 h 771525"/>
                <a:gd name="connsiteX417" fmla="*/ 957834 w 1211675"/>
                <a:gd name="connsiteY417" fmla="*/ 569500 h 771525"/>
                <a:gd name="connsiteX418" fmla="*/ 938498 w 1211675"/>
                <a:gd name="connsiteY418" fmla="*/ 567023 h 771525"/>
                <a:gd name="connsiteX419" fmla="*/ 932878 w 1211675"/>
                <a:gd name="connsiteY419" fmla="*/ 561404 h 771525"/>
                <a:gd name="connsiteX420" fmla="*/ 921639 w 1211675"/>
                <a:gd name="connsiteY420" fmla="*/ 563308 h 771525"/>
                <a:gd name="connsiteX421" fmla="*/ 946499 w 1211675"/>
                <a:gd name="connsiteY421" fmla="*/ 550640 h 771525"/>
                <a:gd name="connsiteX422" fmla="*/ 956024 w 1211675"/>
                <a:gd name="connsiteY422" fmla="*/ 554164 h 771525"/>
                <a:gd name="connsiteX423" fmla="*/ 954500 w 1211675"/>
                <a:gd name="connsiteY423" fmla="*/ 534543 h 771525"/>
                <a:gd name="connsiteX424" fmla="*/ 933355 w 1211675"/>
                <a:gd name="connsiteY424" fmla="*/ 530733 h 771525"/>
                <a:gd name="connsiteX425" fmla="*/ 916305 w 1211675"/>
                <a:gd name="connsiteY425" fmla="*/ 521113 h 771525"/>
                <a:gd name="connsiteX426" fmla="*/ 937451 w 1211675"/>
                <a:gd name="connsiteY426" fmla="*/ 527018 h 771525"/>
                <a:gd name="connsiteX427" fmla="*/ 956310 w 1211675"/>
                <a:gd name="connsiteY427" fmla="*/ 528638 h 771525"/>
                <a:gd name="connsiteX428" fmla="*/ 935165 w 1211675"/>
                <a:gd name="connsiteY428" fmla="*/ 508445 h 771525"/>
                <a:gd name="connsiteX429" fmla="*/ 936498 w 1211675"/>
                <a:gd name="connsiteY429" fmla="*/ 499872 h 771525"/>
                <a:gd name="connsiteX430" fmla="*/ 923639 w 1211675"/>
                <a:gd name="connsiteY430" fmla="*/ 470726 h 771525"/>
                <a:gd name="connsiteX431" fmla="*/ 902779 w 1211675"/>
                <a:gd name="connsiteY431" fmla="*/ 461772 h 771525"/>
                <a:gd name="connsiteX432" fmla="*/ 904494 w 1211675"/>
                <a:gd name="connsiteY432" fmla="*/ 453866 h 771525"/>
                <a:gd name="connsiteX433" fmla="*/ 932212 w 1211675"/>
                <a:gd name="connsiteY433" fmla="*/ 428149 h 771525"/>
                <a:gd name="connsiteX434" fmla="*/ 937832 w 1211675"/>
                <a:gd name="connsiteY434" fmla="*/ 421005 h 771525"/>
                <a:gd name="connsiteX435" fmla="*/ 931545 w 1211675"/>
                <a:gd name="connsiteY435" fmla="*/ 416623 h 771525"/>
                <a:gd name="connsiteX436" fmla="*/ 957262 w 1211675"/>
                <a:gd name="connsiteY436" fmla="*/ 410528 h 771525"/>
                <a:gd name="connsiteX437" fmla="*/ 967931 w 1211675"/>
                <a:gd name="connsiteY437" fmla="*/ 415195 h 771525"/>
                <a:gd name="connsiteX438" fmla="*/ 972121 w 1211675"/>
                <a:gd name="connsiteY438" fmla="*/ 401574 h 771525"/>
                <a:gd name="connsiteX439" fmla="*/ 949738 w 1211675"/>
                <a:gd name="connsiteY439" fmla="*/ 401193 h 771525"/>
                <a:gd name="connsiteX440" fmla="*/ 933164 w 1211675"/>
                <a:gd name="connsiteY440" fmla="*/ 391858 h 771525"/>
                <a:gd name="connsiteX441" fmla="*/ 913733 w 1211675"/>
                <a:gd name="connsiteY441" fmla="*/ 407194 h 771525"/>
                <a:gd name="connsiteX442" fmla="*/ 897541 w 1211675"/>
                <a:gd name="connsiteY442" fmla="*/ 402717 h 771525"/>
                <a:gd name="connsiteX443" fmla="*/ 872966 w 1211675"/>
                <a:gd name="connsiteY443" fmla="*/ 378333 h 771525"/>
                <a:gd name="connsiteX444" fmla="*/ 899351 w 1211675"/>
                <a:gd name="connsiteY444" fmla="*/ 366713 h 771525"/>
                <a:gd name="connsiteX445" fmla="*/ 942118 w 1211675"/>
                <a:gd name="connsiteY445" fmla="*/ 320421 h 771525"/>
                <a:gd name="connsiteX446" fmla="*/ 955643 w 1211675"/>
                <a:gd name="connsiteY446" fmla="*/ 319278 h 771525"/>
                <a:gd name="connsiteX447" fmla="*/ 955929 w 1211675"/>
                <a:gd name="connsiteY447" fmla="*/ 343281 h 771525"/>
                <a:gd name="connsiteX448" fmla="*/ 942118 w 1211675"/>
                <a:gd name="connsiteY448" fmla="*/ 372046 h 771525"/>
                <a:gd name="connsiteX449" fmla="*/ 966216 w 1211675"/>
                <a:gd name="connsiteY449" fmla="*/ 356330 h 771525"/>
                <a:gd name="connsiteX450" fmla="*/ 980027 w 1211675"/>
                <a:gd name="connsiteY450" fmla="*/ 351854 h 771525"/>
                <a:gd name="connsiteX451" fmla="*/ 982694 w 1211675"/>
                <a:gd name="connsiteY451" fmla="*/ 347377 h 771525"/>
                <a:gd name="connsiteX452" fmla="*/ 988790 w 1211675"/>
                <a:gd name="connsiteY452" fmla="*/ 348901 h 771525"/>
                <a:gd name="connsiteX453" fmla="*/ 993458 w 1211675"/>
                <a:gd name="connsiteY453" fmla="*/ 344233 h 771525"/>
                <a:gd name="connsiteX454" fmla="*/ 1000506 w 1211675"/>
                <a:gd name="connsiteY454" fmla="*/ 346996 h 771525"/>
                <a:gd name="connsiteX455" fmla="*/ 1005173 w 1211675"/>
                <a:gd name="connsiteY455" fmla="*/ 340995 h 771525"/>
                <a:gd name="connsiteX456" fmla="*/ 1005364 w 1211675"/>
                <a:gd name="connsiteY456" fmla="*/ 341090 h 771525"/>
                <a:gd name="connsiteX457" fmla="*/ 1030224 w 1211675"/>
                <a:gd name="connsiteY457" fmla="*/ 323469 h 771525"/>
                <a:gd name="connsiteX458" fmla="*/ 1038701 w 1211675"/>
                <a:gd name="connsiteY458" fmla="*/ 321564 h 771525"/>
                <a:gd name="connsiteX459" fmla="*/ 1047274 w 1211675"/>
                <a:gd name="connsiteY459" fmla="*/ 312039 h 771525"/>
                <a:gd name="connsiteX460" fmla="*/ 1048417 w 1211675"/>
                <a:gd name="connsiteY460" fmla="*/ 301943 h 771525"/>
                <a:gd name="connsiteX461" fmla="*/ 1057275 w 1211675"/>
                <a:gd name="connsiteY461" fmla="*/ 298609 h 771525"/>
                <a:gd name="connsiteX462" fmla="*/ 1063085 w 1211675"/>
                <a:gd name="connsiteY462" fmla="*/ 306705 h 771525"/>
                <a:gd name="connsiteX463" fmla="*/ 1080135 w 1211675"/>
                <a:gd name="connsiteY463" fmla="*/ 310134 h 771525"/>
                <a:gd name="connsiteX464" fmla="*/ 1084040 w 1211675"/>
                <a:gd name="connsiteY464" fmla="*/ 304324 h 771525"/>
                <a:gd name="connsiteX465" fmla="*/ 1077468 w 1211675"/>
                <a:gd name="connsiteY465" fmla="*/ 294799 h 771525"/>
                <a:gd name="connsiteX466" fmla="*/ 1094803 w 1211675"/>
                <a:gd name="connsiteY466" fmla="*/ 293370 h 771525"/>
                <a:gd name="connsiteX467" fmla="*/ 1102233 w 1211675"/>
                <a:gd name="connsiteY467" fmla="*/ 283369 h 771525"/>
                <a:gd name="connsiteX468" fmla="*/ 1108424 w 1211675"/>
                <a:gd name="connsiteY468" fmla="*/ 285750 h 771525"/>
                <a:gd name="connsiteX469" fmla="*/ 1112234 w 1211675"/>
                <a:gd name="connsiteY469" fmla="*/ 282416 h 771525"/>
                <a:gd name="connsiteX470" fmla="*/ 1113377 w 1211675"/>
                <a:gd name="connsiteY470" fmla="*/ 269462 h 771525"/>
                <a:gd name="connsiteX471" fmla="*/ 1119568 w 1211675"/>
                <a:gd name="connsiteY471" fmla="*/ 271367 h 771525"/>
                <a:gd name="connsiteX472" fmla="*/ 1121569 w 1211675"/>
                <a:gd name="connsiteY472" fmla="*/ 283845 h 771525"/>
                <a:gd name="connsiteX473" fmla="*/ 1127760 w 1211675"/>
                <a:gd name="connsiteY473" fmla="*/ 282416 h 771525"/>
                <a:gd name="connsiteX474" fmla="*/ 1127951 w 1211675"/>
                <a:gd name="connsiteY474" fmla="*/ 282130 h 771525"/>
                <a:gd name="connsiteX475" fmla="*/ 1125379 w 1211675"/>
                <a:gd name="connsiteY475" fmla="*/ 275654 h 771525"/>
                <a:gd name="connsiteX476" fmla="*/ 1132332 w 1211675"/>
                <a:gd name="connsiteY476" fmla="*/ 268033 h 771525"/>
                <a:gd name="connsiteX477" fmla="*/ 1136618 w 1211675"/>
                <a:gd name="connsiteY477" fmla="*/ 269938 h 771525"/>
                <a:gd name="connsiteX478" fmla="*/ 1141285 w 1211675"/>
                <a:gd name="connsiteY478" fmla="*/ 259461 h 771525"/>
                <a:gd name="connsiteX479" fmla="*/ 1138618 w 1211675"/>
                <a:gd name="connsiteY479" fmla="*/ 255651 h 771525"/>
                <a:gd name="connsiteX480" fmla="*/ 1141667 w 1211675"/>
                <a:gd name="connsiteY480" fmla="*/ 244697 h 771525"/>
                <a:gd name="connsiteX481" fmla="*/ 1134332 w 1211675"/>
                <a:gd name="connsiteY481" fmla="*/ 224123 h 771525"/>
                <a:gd name="connsiteX482" fmla="*/ 1144334 w 1211675"/>
                <a:gd name="connsiteY482" fmla="*/ 221742 h 771525"/>
                <a:gd name="connsiteX483" fmla="*/ 1153668 w 1211675"/>
                <a:gd name="connsiteY483" fmla="*/ 213551 h 771525"/>
                <a:gd name="connsiteX484" fmla="*/ 1175671 w 1211675"/>
                <a:gd name="connsiteY484" fmla="*/ 222218 h 771525"/>
                <a:gd name="connsiteX485" fmla="*/ 1180338 w 1211675"/>
                <a:gd name="connsiteY485" fmla="*/ 218885 h 771525"/>
                <a:gd name="connsiteX486" fmla="*/ 1177290 w 1211675"/>
                <a:gd name="connsiteY486" fmla="*/ 210217 h 771525"/>
                <a:gd name="connsiteX487" fmla="*/ 1186529 w 1211675"/>
                <a:gd name="connsiteY487" fmla="*/ 205930 h 771525"/>
                <a:gd name="connsiteX488" fmla="*/ 1186148 w 1211675"/>
                <a:gd name="connsiteY488" fmla="*/ 197834 h 771525"/>
                <a:gd name="connsiteX489" fmla="*/ 1194244 w 1211675"/>
                <a:gd name="connsiteY489" fmla="*/ 189738 h 771525"/>
                <a:gd name="connsiteX490" fmla="*/ 1191577 w 1211675"/>
                <a:gd name="connsiteY490" fmla="*/ 182594 h 771525"/>
                <a:gd name="connsiteX491" fmla="*/ 1197388 w 1211675"/>
                <a:gd name="connsiteY491" fmla="*/ 178784 h 771525"/>
                <a:gd name="connsiteX492" fmla="*/ 1198912 w 1211675"/>
                <a:gd name="connsiteY492" fmla="*/ 164878 h 771525"/>
                <a:gd name="connsiteX493" fmla="*/ 1209008 w 1211675"/>
                <a:gd name="connsiteY493" fmla="*/ 160592 h 771525"/>
                <a:gd name="connsiteX494" fmla="*/ 1211675 w 1211675"/>
                <a:gd name="connsiteY494" fmla="*/ 154876 h 771525"/>
                <a:gd name="connsiteX495" fmla="*/ 1207865 w 1211675"/>
                <a:gd name="connsiteY495" fmla="*/ 1476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Lst>
              <a:rect l="l" t="t" r="r" b="b"/>
              <a:pathLst>
                <a:path w="1211675" h="771525">
                  <a:moveTo>
                    <a:pt x="1207865" y="147638"/>
                  </a:moveTo>
                  <a:lnTo>
                    <a:pt x="1210913" y="140970"/>
                  </a:lnTo>
                  <a:lnTo>
                    <a:pt x="1206246" y="137160"/>
                  </a:lnTo>
                  <a:lnTo>
                    <a:pt x="1190816" y="140970"/>
                  </a:lnTo>
                  <a:lnTo>
                    <a:pt x="1186529" y="147256"/>
                  </a:lnTo>
                  <a:lnTo>
                    <a:pt x="1179957" y="142399"/>
                  </a:lnTo>
                  <a:lnTo>
                    <a:pt x="1169099" y="147638"/>
                  </a:lnTo>
                  <a:lnTo>
                    <a:pt x="1166812" y="154876"/>
                  </a:lnTo>
                  <a:lnTo>
                    <a:pt x="1152525" y="155829"/>
                  </a:lnTo>
                  <a:lnTo>
                    <a:pt x="1147096" y="152971"/>
                  </a:lnTo>
                  <a:lnTo>
                    <a:pt x="1135856" y="155829"/>
                  </a:lnTo>
                  <a:lnTo>
                    <a:pt x="1128903" y="145828"/>
                  </a:lnTo>
                  <a:lnTo>
                    <a:pt x="1134332" y="139065"/>
                  </a:lnTo>
                  <a:lnTo>
                    <a:pt x="1128141" y="132397"/>
                  </a:lnTo>
                  <a:lnTo>
                    <a:pt x="1129665" y="124778"/>
                  </a:lnTo>
                  <a:lnTo>
                    <a:pt x="1118426" y="124778"/>
                  </a:lnTo>
                  <a:lnTo>
                    <a:pt x="1109186" y="114776"/>
                  </a:lnTo>
                  <a:lnTo>
                    <a:pt x="1095185" y="112871"/>
                  </a:lnTo>
                  <a:lnTo>
                    <a:pt x="1092518" y="106585"/>
                  </a:lnTo>
                  <a:lnTo>
                    <a:pt x="1082421" y="111347"/>
                  </a:lnTo>
                  <a:lnTo>
                    <a:pt x="1068895" y="104680"/>
                  </a:lnTo>
                  <a:lnTo>
                    <a:pt x="1069277" y="93726"/>
                  </a:lnTo>
                  <a:lnTo>
                    <a:pt x="1063847" y="88773"/>
                  </a:lnTo>
                  <a:lnTo>
                    <a:pt x="1063466" y="79629"/>
                  </a:lnTo>
                  <a:lnTo>
                    <a:pt x="1055370" y="69437"/>
                  </a:lnTo>
                  <a:lnTo>
                    <a:pt x="1056132" y="62389"/>
                  </a:lnTo>
                  <a:lnTo>
                    <a:pt x="1046131" y="45244"/>
                  </a:lnTo>
                  <a:lnTo>
                    <a:pt x="1048417" y="39243"/>
                  </a:lnTo>
                  <a:lnTo>
                    <a:pt x="1036796" y="29623"/>
                  </a:lnTo>
                  <a:lnTo>
                    <a:pt x="1038701" y="21526"/>
                  </a:lnTo>
                  <a:lnTo>
                    <a:pt x="1020509" y="8668"/>
                  </a:lnTo>
                  <a:lnTo>
                    <a:pt x="1013936" y="14002"/>
                  </a:lnTo>
                  <a:lnTo>
                    <a:pt x="983361" y="0"/>
                  </a:lnTo>
                  <a:lnTo>
                    <a:pt x="934307" y="7525"/>
                  </a:lnTo>
                  <a:lnTo>
                    <a:pt x="918401" y="20479"/>
                  </a:lnTo>
                  <a:lnTo>
                    <a:pt x="919162" y="29051"/>
                  </a:lnTo>
                  <a:lnTo>
                    <a:pt x="926497" y="25813"/>
                  </a:lnTo>
                  <a:lnTo>
                    <a:pt x="933831" y="28004"/>
                  </a:lnTo>
                  <a:lnTo>
                    <a:pt x="931926" y="34480"/>
                  </a:lnTo>
                  <a:lnTo>
                    <a:pt x="933831" y="42481"/>
                  </a:lnTo>
                  <a:lnTo>
                    <a:pt x="919543" y="53245"/>
                  </a:lnTo>
                  <a:lnTo>
                    <a:pt x="902494" y="86106"/>
                  </a:lnTo>
                  <a:lnTo>
                    <a:pt x="907923" y="89345"/>
                  </a:lnTo>
                  <a:lnTo>
                    <a:pt x="905637" y="97060"/>
                  </a:lnTo>
                  <a:lnTo>
                    <a:pt x="892111" y="99441"/>
                  </a:lnTo>
                  <a:lnTo>
                    <a:pt x="875443" y="111347"/>
                  </a:lnTo>
                  <a:lnTo>
                    <a:pt x="854107" y="103251"/>
                  </a:lnTo>
                  <a:lnTo>
                    <a:pt x="836009" y="133350"/>
                  </a:lnTo>
                  <a:lnTo>
                    <a:pt x="836390" y="141446"/>
                  </a:lnTo>
                  <a:lnTo>
                    <a:pt x="829056" y="144304"/>
                  </a:lnTo>
                  <a:lnTo>
                    <a:pt x="830580" y="150590"/>
                  </a:lnTo>
                  <a:lnTo>
                    <a:pt x="837914" y="156781"/>
                  </a:lnTo>
                  <a:lnTo>
                    <a:pt x="843725" y="149638"/>
                  </a:lnTo>
                  <a:lnTo>
                    <a:pt x="850297" y="152495"/>
                  </a:lnTo>
                  <a:lnTo>
                    <a:pt x="856107" y="149162"/>
                  </a:lnTo>
                  <a:lnTo>
                    <a:pt x="865727" y="155353"/>
                  </a:lnTo>
                  <a:lnTo>
                    <a:pt x="875443" y="146780"/>
                  </a:lnTo>
                  <a:lnTo>
                    <a:pt x="890492" y="145828"/>
                  </a:lnTo>
                  <a:lnTo>
                    <a:pt x="894398" y="151543"/>
                  </a:lnTo>
                  <a:lnTo>
                    <a:pt x="902113" y="153924"/>
                  </a:lnTo>
                  <a:lnTo>
                    <a:pt x="902875" y="159163"/>
                  </a:lnTo>
                  <a:lnTo>
                    <a:pt x="912971" y="170117"/>
                  </a:lnTo>
                  <a:lnTo>
                    <a:pt x="917638" y="172498"/>
                  </a:lnTo>
                  <a:lnTo>
                    <a:pt x="918019" y="179260"/>
                  </a:lnTo>
                  <a:lnTo>
                    <a:pt x="911828" y="182118"/>
                  </a:lnTo>
                  <a:lnTo>
                    <a:pt x="897922" y="177355"/>
                  </a:lnTo>
                  <a:lnTo>
                    <a:pt x="892493" y="180689"/>
                  </a:lnTo>
                  <a:lnTo>
                    <a:pt x="883920" y="177355"/>
                  </a:lnTo>
                  <a:lnTo>
                    <a:pt x="874300" y="184499"/>
                  </a:lnTo>
                  <a:lnTo>
                    <a:pt x="867346" y="180689"/>
                  </a:lnTo>
                  <a:lnTo>
                    <a:pt x="865727" y="187833"/>
                  </a:lnTo>
                  <a:lnTo>
                    <a:pt x="855726" y="184975"/>
                  </a:lnTo>
                  <a:lnTo>
                    <a:pt x="843343" y="196405"/>
                  </a:lnTo>
                  <a:lnTo>
                    <a:pt x="846010" y="201644"/>
                  </a:lnTo>
                  <a:lnTo>
                    <a:pt x="834390" y="209740"/>
                  </a:lnTo>
                  <a:lnTo>
                    <a:pt x="820484" y="211646"/>
                  </a:lnTo>
                  <a:lnTo>
                    <a:pt x="814292" y="208312"/>
                  </a:lnTo>
                  <a:lnTo>
                    <a:pt x="808863" y="211169"/>
                  </a:lnTo>
                  <a:lnTo>
                    <a:pt x="806958" y="218885"/>
                  </a:lnTo>
                  <a:lnTo>
                    <a:pt x="791432" y="227933"/>
                  </a:lnTo>
                  <a:lnTo>
                    <a:pt x="773240" y="224599"/>
                  </a:lnTo>
                  <a:lnTo>
                    <a:pt x="768668" y="218408"/>
                  </a:lnTo>
                  <a:lnTo>
                    <a:pt x="757047" y="219361"/>
                  </a:lnTo>
                  <a:lnTo>
                    <a:pt x="749332" y="236029"/>
                  </a:lnTo>
                  <a:lnTo>
                    <a:pt x="759333" y="246602"/>
                  </a:lnTo>
                  <a:lnTo>
                    <a:pt x="761714" y="252317"/>
                  </a:lnTo>
                  <a:lnTo>
                    <a:pt x="755523" y="254222"/>
                  </a:lnTo>
                  <a:lnTo>
                    <a:pt x="751618" y="258508"/>
                  </a:lnTo>
                  <a:lnTo>
                    <a:pt x="740378" y="261366"/>
                  </a:lnTo>
                  <a:lnTo>
                    <a:pt x="729139" y="274701"/>
                  </a:lnTo>
                  <a:lnTo>
                    <a:pt x="717613" y="277654"/>
                  </a:lnTo>
                  <a:lnTo>
                    <a:pt x="710184" y="283845"/>
                  </a:lnTo>
                  <a:lnTo>
                    <a:pt x="673799" y="285750"/>
                  </a:lnTo>
                  <a:lnTo>
                    <a:pt x="669226" y="281464"/>
                  </a:lnTo>
                  <a:lnTo>
                    <a:pt x="625888" y="299561"/>
                  </a:lnTo>
                  <a:lnTo>
                    <a:pt x="621220" y="304800"/>
                  </a:lnTo>
                  <a:lnTo>
                    <a:pt x="611505" y="301943"/>
                  </a:lnTo>
                  <a:lnTo>
                    <a:pt x="611886" y="296228"/>
                  </a:lnTo>
                  <a:lnTo>
                    <a:pt x="598360" y="299561"/>
                  </a:lnTo>
                  <a:lnTo>
                    <a:pt x="578644" y="288131"/>
                  </a:lnTo>
                  <a:lnTo>
                    <a:pt x="571309" y="291941"/>
                  </a:lnTo>
                  <a:lnTo>
                    <a:pt x="563118" y="289560"/>
                  </a:lnTo>
                  <a:lnTo>
                    <a:pt x="558927" y="281464"/>
                  </a:lnTo>
                  <a:lnTo>
                    <a:pt x="526447" y="276130"/>
                  </a:lnTo>
                  <a:lnTo>
                    <a:pt x="510921" y="280988"/>
                  </a:lnTo>
                  <a:lnTo>
                    <a:pt x="463296" y="272796"/>
                  </a:lnTo>
                  <a:lnTo>
                    <a:pt x="450913" y="276130"/>
                  </a:lnTo>
                  <a:lnTo>
                    <a:pt x="441674" y="265652"/>
                  </a:lnTo>
                  <a:lnTo>
                    <a:pt x="441674" y="260413"/>
                  </a:lnTo>
                  <a:lnTo>
                    <a:pt x="435864" y="245078"/>
                  </a:lnTo>
                  <a:lnTo>
                    <a:pt x="430054" y="244221"/>
                  </a:lnTo>
                  <a:lnTo>
                    <a:pt x="431959" y="235553"/>
                  </a:lnTo>
                  <a:lnTo>
                    <a:pt x="419957" y="237935"/>
                  </a:lnTo>
                  <a:lnTo>
                    <a:pt x="393287" y="220313"/>
                  </a:lnTo>
                  <a:lnTo>
                    <a:pt x="370046" y="221742"/>
                  </a:lnTo>
                  <a:lnTo>
                    <a:pt x="353473" y="215551"/>
                  </a:lnTo>
                  <a:lnTo>
                    <a:pt x="342614" y="216979"/>
                  </a:lnTo>
                  <a:lnTo>
                    <a:pt x="336423" y="206407"/>
                  </a:lnTo>
                  <a:lnTo>
                    <a:pt x="344519" y="196882"/>
                  </a:lnTo>
                  <a:lnTo>
                    <a:pt x="341852" y="188786"/>
                  </a:lnTo>
                  <a:lnTo>
                    <a:pt x="346043" y="180213"/>
                  </a:lnTo>
                  <a:lnTo>
                    <a:pt x="341852" y="172498"/>
                  </a:lnTo>
                  <a:lnTo>
                    <a:pt x="335280" y="169164"/>
                  </a:lnTo>
                  <a:lnTo>
                    <a:pt x="333756" y="160115"/>
                  </a:lnTo>
                  <a:lnTo>
                    <a:pt x="325564" y="149162"/>
                  </a:lnTo>
                  <a:lnTo>
                    <a:pt x="319754" y="151543"/>
                  </a:lnTo>
                  <a:lnTo>
                    <a:pt x="315087" y="144304"/>
                  </a:lnTo>
                  <a:lnTo>
                    <a:pt x="305467" y="147256"/>
                  </a:lnTo>
                  <a:lnTo>
                    <a:pt x="285369" y="134303"/>
                  </a:lnTo>
                  <a:lnTo>
                    <a:pt x="286131" y="130492"/>
                  </a:lnTo>
                  <a:lnTo>
                    <a:pt x="279940" y="126683"/>
                  </a:lnTo>
                  <a:lnTo>
                    <a:pt x="282988" y="123825"/>
                  </a:lnTo>
                  <a:lnTo>
                    <a:pt x="281368" y="118777"/>
                  </a:lnTo>
                  <a:lnTo>
                    <a:pt x="273939" y="120777"/>
                  </a:lnTo>
                  <a:lnTo>
                    <a:pt x="262223" y="120777"/>
                  </a:lnTo>
                  <a:lnTo>
                    <a:pt x="259556" y="124016"/>
                  </a:lnTo>
                  <a:lnTo>
                    <a:pt x="261366" y="128111"/>
                  </a:lnTo>
                  <a:lnTo>
                    <a:pt x="256699" y="134779"/>
                  </a:lnTo>
                  <a:lnTo>
                    <a:pt x="240697" y="137636"/>
                  </a:lnTo>
                  <a:lnTo>
                    <a:pt x="235553" y="148495"/>
                  </a:lnTo>
                  <a:lnTo>
                    <a:pt x="239173" y="163449"/>
                  </a:lnTo>
                  <a:lnTo>
                    <a:pt x="235553" y="170497"/>
                  </a:lnTo>
                  <a:lnTo>
                    <a:pt x="229362" y="171450"/>
                  </a:lnTo>
                  <a:lnTo>
                    <a:pt x="219837" y="177737"/>
                  </a:lnTo>
                  <a:lnTo>
                    <a:pt x="220123" y="171069"/>
                  </a:lnTo>
                  <a:lnTo>
                    <a:pt x="200215" y="172021"/>
                  </a:lnTo>
                  <a:lnTo>
                    <a:pt x="187071" y="166688"/>
                  </a:lnTo>
                  <a:lnTo>
                    <a:pt x="171831" y="207073"/>
                  </a:lnTo>
                  <a:lnTo>
                    <a:pt x="179070" y="209931"/>
                  </a:lnTo>
                  <a:lnTo>
                    <a:pt x="176689" y="218504"/>
                  </a:lnTo>
                  <a:lnTo>
                    <a:pt x="171831" y="215074"/>
                  </a:lnTo>
                  <a:lnTo>
                    <a:pt x="162592" y="217551"/>
                  </a:lnTo>
                  <a:lnTo>
                    <a:pt x="161544" y="210598"/>
                  </a:lnTo>
                  <a:lnTo>
                    <a:pt x="122587" y="222313"/>
                  </a:lnTo>
                  <a:lnTo>
                    <a:pt x="126683" y="227171"/>
                  </a:lnTo>
                  <a:lnTo>
                    <a:pt x="135731" y="227457"/>
                  </a:lnTo>
                  <a:lnTo>
                    <a:pt x="133445" y="241840"/>
                  </a:lnTo>
                  <a:lnTo>
                    <a:pt x="140113" y="257365"/>
                  </a:lnTo>
                  <a:lnTo>
                    <a:pt x="141637" y="265938"/>
                  </a:lnTo>
                  <a:lnTo>
                    <a:pt x="132874" y="268510"/>
                  </a:lnTo>
                  <a:lnTo>
                    <a:pt x="137541" y="272320"/>
                  </a:lnTo>
                  <a:lnTo>
                    <a:pt x="129540" y="276130"/>
                  </a:lnTo>
                  <a:lnTo>
                    <a:pt x="131826" y="292703"/>
                  </a:lnTo>
                  <a:lnTo>
                    <a:pt x="123825" y="293370"/>
                  </a:lnTo>
                  <a:lnTo>
                    <a:pt x="121253" y="296894"/>
                  </a:lnTo>
                  <a:lnTo>
                    <a:pt x="94202" y="308610"/>
                  </a:lnTo>
                  <a:lnTo>
                    <a:pt x="90011" y="316325"/>
                  </a:lnTo>
                  <a:lnTo>
                    <a:pt x="76676" y="319469"/>
                  </a:lnTo>
                  <a:lnTo>
                    <a:pt x="63532" y="318802"/>
                  </a:lnTo>
                  <a:lnTo>
                    <a:pt x="55245" y="333470"/>
                  </a:lnTo>
                  <a:lnTo>
                    <a:pt x="40767" y="335089"/>
                  </a:lnTo>
                  <a:lnTo>
                    <a:pt x="38767" y="326803"/>
                  </a:lnTo>
                  <a:lnTo>
                    <a:pt x="31718" y="330327"/>
                  </a:lnTo>
                  <a:lnTo>
                    <a:pt x="23241" y="330327"/>
                  </a:lnTo>
                  <a:lnTo>
                    <a:pt x="24289" y="335756"/>
                  </a:lnTo>
                  <a:lnTo>
                    <a:pt x="14002" y="341281"/>
                  </a:lnTo>
                  <a:lnTo>
                    <a:pt x="9811" y="340138"/>
                  </a:lnTo>
                  <a:lnTo>
                    <a:pt x="4667" y="346520"/>
                  </a:lnTo>
                  <a:lnTo>
                    <a:pt x="7525" y="351854"/>
                  </a:lnTo>
                  <a:lnTo>
                    <a:pt x="4381" y="354997"/>
                  </a:lnTo>
                  <a:lnTo>
                    <a:pt x="381" y="355949"/>
                  </a:lnTo>
                  <a:lnTo>
                    <a:pt x="381" y="355949"/>
                  </a:lnTo>
                  <a:lnTo>
                    <a:pt x="0" y="360331"/>
                  </a:lnTo>
                  <a:lnTo>
                    <a:pt x="5143" y="366427"/>
                  </a:lnTo>
                  <a:lnTo>
                    <a:pt x="1333" y="368427"/>
                  </a:lnTo>
                  <a:lnTo>
                    <a:pt x="6763" y="378333"/>
                  </a:lnTo>
                  <a:lnTo>
                    <a:pt x="12383" y="371951"/>
                  </a:lnTo>
                  <a:lnTo>
                    <a:pt x="24289" y="377762"/>
                  </a:lnTo>
                  <a:lnTo>
                    <a:pt x="23527" y="386810"/>
                  </a:lnTo>
                  <a:lnTo>
                    <a:pt x="27146" y="391478"/>
                  </a:lnTo>
                  <a:lnTo>
                    <a:pt x="25813" y="396145"/>
                  </a:lnTo>
                  <a:lnTo>
                    <a:pt x="31528" y="401764"/>
                  </a:lnTo>
                  <a:lnTo>
                    <a:pt x="25432" y="405289"/>
                  </a:lnTo>
                  <a:lnTo>
                    <a:pt x="16478" y="408432"/>
                  </a:lnTo>
                  <a:lnTo>
                    <a:pt x="18193" y="411289"/>
                  </a:lnTo>
                  <a:lnTo>
                    <a:pt x="34385" y="412242"/>
                  </a:lnTo>
                  <a:lnTo>
                    <a:pt x="35909" y="416338"/>
                  </a:lnTo>
                  <a:lnTo>
                    <a:pt x="42386" y="416338"/>
                  </a:lnTo>
                  <a:lnTo>
                    <a:pt x="47720" y="426244"/>
                  </a:lnTo>
                  <a:lnTo>
                    <a:pt x="44672" y="430625"/>
                  </a:lnTo>
                  <a:lnTo>
                    <a:pt x="49339" y="432721"/>
                  </a:lnTo>
                  <a:lnTo>
                    <a:pt x="50863" y="437960"/>
                  </a:lnTo>
                  <a:lnTo>
                    <a:pt x="58864" y="434435"/>
                  </a:lnTo>
                  <a:lnTo>
                    <a:pt x="59341" y="438817"/>
                  </a:lnTo>
                  <a:lnTo>
                    <a:pt x="76105" y="444341"/>
                  </a:lnTo>
                  <a:lnTo>
                    <a:pt x="85630" y="443103"/>
                  </a:lnTo>
                  <a:lnTo>
                    <a:pt x="89059" y="442627"/>
                  </a:lnTo>
                  <a:lnTo>
                    <a:pt x="101155" y="434435"/>
                  </a:lnTo>
                  <a:lnTo>
                    <a:pt x="116396" y="432721"/>
                  </a:lnTo>
                  <a:lnTo>
                    <a:pt x="118967" y="438817"/>
                  </a:lnTo>
                  <a:lnTo>
                    <a:pt x="126683" y="445484"/>
                  </a:lnTo>
                  <a:lnTo>
                    <a:pt x="130588" y="441198"/>
                  </a:lnTo>
                  <a:lnTo>
                    <a:pt x="134684" y="443770"/>
                  </a:lnTo>
                  <a:lnTo>
                    <a:pt x="128492" y="463010"/>
                  </a:lnTo>
                  <a:lnTo>
                    <a:pt x="123634" y="462724"/>
                  </a:lnTo>
                  <a:lnTo>
                    <a:pt x="121253" y="468058"/>
                  </a:lnTo>
                  <a:lnTo>
                    <a:pt x="116396" y="468058"/>
                  </a:lnTo>
                  <a:lnTo>
                    <a:pt x="116586" y="477107"/>
                  </a:lnTo>
                  <a:lnTo>
                    <a:pt x="106108" y="477964"/>
                  </a:lnTo>
                  <a:lnTo>
                    <a:pt x="107823" y="485204"/>
                  </a:lnTo>
                  <a:lnTo>
                    <a:pt x="103822" y="490823"/>
                  </a:lnTo>
                  <a:lnTo>
                    <a:pt x="103822" y="490823"/>
                  </a:lnTo>
                  <a:lnTo>
                    <a:pt x="108680" y="495205"/>
                  </a:lnTo>
                  <a:lnTo>
                    <a:pt x="114586" y="496633"/>
                  </a:lnTo>
                  <a:lnTo>
                    <a:pt x="114300" y="501587"/>
                  </a:lnTo>
                  <a:lnTo>
                    <a:pt x="117158" y="506825"/>
                  </a:lnTo>
                  <a:lnTo>
                    <a:pt x="107347" y="514160"/>
                  </a:lnTo>
                  <a:lnTo>
                    <a:pt x="102679" y="512350"/>
                  </a:lnTo>
                  <a:lnTo>
                    <a:pt x="101155" y="506539"/>
                  </a:lnTo>
                  <a:lnTo>
                    <a:pt x="94202" y="508635"/>
                  </a:lnTo>
                  <a:lnTo>
                    <a:pt x="96488" y="517017"/>
                  </a:lnTo>
                  <a:lnTo>
                    <a:pt x="101441" y="523494"/>
                  </a:lnTo>
                  <a:lnTo>
                    <a:pt x="101632" y="538067"/>
                  </a:lnTo>
                  <a:lnTo>
                    <a:pt x="107633" y="533972"/>
                  </a:lnTo>
                  <a:lnTo>
                    <a:pt x="117634" y="546830"/>
                  </a:lnTo>
                  <a:lnTo>
                    <a:pt x="123349" y="543878"/>
                  </a:lnTo>
                  <a:lnTo>
                    <a:pt x="130778" y="550069"/>
                  </a:lnTo>
                  <a:lnTo>
                    <a:pt x="129826" y="554736"/>
                  </a:lnTo>
                  <a:lnTo>
                    <a:pt x="145256" y="562070"/>
                  </a:lnTo>
                  <a:lnTo>
                    <a:pt x="149161" y="567785"/>
                  </a:lnTo>
                  <a:lnTo>
                    <a:pt x="154305" y="559118"/>
                  </a:lnTo>
                  <a:lnTo>
                    <a:pt x="167164" y="558832"/>
                  </a:lnTo>
                  <a:lnTo>
                    <a:pt x="169259" y="565595"/>
                  </a:lnTo>
                  <a:lnTo>
                    <a:pt x="176689" y="568357"/>
                  </a:lnTo>
                  <a:lnTo>
                    <a:pt x="183166" y="574357"/>
                  </a:lnTo>
                  <a:lnTo>
                    <a:pt x="191452" y="576072"/>
                  </a:lnTo>
                  <a:lnTo>
                    <a:pt x="197834" y="585597"/>
                  </a:lnTo>
                  <a:lnTo>
                    <a:pt x="205645" y="582073"/>
                  </a:lnTo>
                  <a:lnTo>
                    <a:pt x="209455" y="583692"/>
                  </a:lnTo>
                  <a:lnTo>
                    <a:pt x="210788" y="590264"/>
                  </a:lnTo>
                  <a:lnTo>
                    <a:pt x="221837" y="597694"/>
                  </a:lnTo>
                  <a:lnTo>
                    <a:pt x="228790" y="595789"/>
                  </a:lnTo>
                  <a:lnTo>
                    <a:pt x="228029" y="602361"/>
                  </a:lnTo>
                  <a:lnTo>
                    <a:pt x="238887" y="603409"/>
                  </a:lnTo>
                  <a:lnTo>
                    <a:pt x="245364" y="612172"/>
                  </a:lnTo>
                  <a:lnTo>
                    <a:pt x="247936" y="606171"/>
                  </a:lnTo>
                  <a:lnTo>
                    <a:pt x="254127" y="612172"/>
                  </a:lnTo>
                  <a:lnTo>
                    <a:pt x="256413" y="606743"/>
                  </a:lnTo>
                  <a:lnTo>
                    <a:pt x="268796" y="612743"/>
                  </a:lnTo>
                  <a:lnTo>
                    <a:pt x="279368" y="613601"/>
                  </a:lnTo>
                  <a:lnTo>
                    <a:pt x="282988" y="610838"/>
                  </a:lnTo>
                  <a:lnTo>
                    <a:pt x="286512" y="611696"/>
                  </a:lnTo>
                  <a:lnTo>
                    <a:pt x="286607" y="611600"/>
                  </a:lnTo>
                  <a:lnTo>
                    <a:pt x="287369" y="609695"/>
                  </a:lnTo>
                  <a:lnTo>
                    <a:pt x="296894" y="606743"/>
                  </a:lnTo>
                  <a:lnTo>
                    <a:pt x="301371" y="609410"/>
                  </a:lnTo>
                  <a:lnTo>
                    <a:pt x="299275" y="620649"/>
                  </a:lnTo>
                  <a:lnTo>
                    <a:pt x="302514" y="623411"/>
                  </a:lnTo>
                  <a:lnTo>
                    <a:pt x="302895" y="623697"/>
                  </a:lnTo>
                  <a:lnTo>
                    <a:pt x="309848" y="613791"/>
                  </a:lnTo>
                  <a:lnTo>
                    <a:pt x="314230" y="611600"/>
                  </a:lnTo>
                  <a:lnTo>
                    <a:pt x="316325" y="605885"/>
                  </a:lnTo>
                  <a:lnTo>
                    <a:pt x="325564" y="602647"/>
                  </a:lnTo>
                  <a:lnTo>
                    <a:pt x="332327" y="603695"/>
                  </a:lnTo>
                  <a:lnTo>
                    <a:pt x="332042" y="607790"/>
                  </a:lnTo>
                  <a:lnTo>
                    <a:pt x="345948" y="610553"/>
                  </a:lnTo>
                  <a:lnTo>
                    <a:pt x="350615" y="606743"/>
                  </a:lnTo>
                  <a:lnTo>
                    <a:pt x="357854" y="610267"/>
                  </a:lnTo>
                  <a:lnTo>
                    <a:pt x="356425" y="614648"/>
                  </a:lnTo>
                  <a:lnTo>
                    <a:pt x="356425" y="614648"/>
                  </a:lnTo>
                  <a:lnTo>
                    <a:pt x="371284" y="613601"/>
                  </a:lnTo>
                  <a:lnTo>
                    <a:pt x="379000" y="609410"/>
                  </a:lnTo>
                  <a:lnTo>
                    <a:pt x="376142" y="606457"/>
                  </a:lnTo>
                  <a:lnTo>
                    <a:pt x="385477" y="602647"/>
                  </a:lnTo>
                  <a:lnTo>
                    <a:pt x="388525" y="595789"/>
                  </a:lnTo>
                  <a:lnTo>
                    <a:pt x="399383" y="593884"/>
                  </a:lnTo>
                  <a:lnTo>
                    <a:pt x="408908" y="585311"/>
                  </a:lnTo>
                  <a:lnTo>
                    <a:pt x="417385" y="581215"/>
                  </a:lnTo>
                  <a:lnTo>
                    <a:pt x="419195" y="585311"/>
                  </a:lnTo>
                  <a:lnTo>
                    <a:pt x="431863" y="587788"/>
                  </a:lnTo>
                  <a:lnTo>
                    <a:pt x="433673" y="583121"/>
                  </a:lnTo>
                  <a:lnTo>
                    <a:pt x="444532" y="578834"/>
                  </a:lnTo>
                  <a:lnTo>
                    <a:pt x="450151" y="582358"/>
                  </a:lnTo>
                  <a:lnTo>
                    <a:pt x="444722" y="586454"/>
                  </a:lnTo>
                  <a:lnTo>
                    <a:pt x="446532" y="590836"/>
                  </a:lnTo>
                  <a:lnTo>
                    <a:pt x="453009" y="587502"/>
                  </a:lnTo>
                  <a:lnTo>
                    <a:pt x="455295" y="593027"/>
                  </a:lnTo>
                  <a:lnTo>
                    <a:pt x="447389" y="599313"/>
                  </a:lnTo>
                  <a:lnTo>
                    <a:pt x="451199" y="602075"/>
                  </a:lnTo>
                  <a:lnTo>
                    <a:pt x="456914" y="599885"/>
                  </a:lnTo>
                  <a:lnTo>
                    <a:pt x="469773" y="604838"/>
                  </a:lnTo>
                  <a:lnTo>
                    <a:pt x="473869" y="598551"/>
                  </a:lnTo>
                  <a:lnTo>
                    <a:pt x="483679" y="605028"/>
                  </a:lnTo>
                  <a:lnTo>
                    <a:pt x="488633" y="619887"/>
                  </a:lnTo>
                  <a:lnTo>
                    <a:pt x="491204" y="615220"/>
                  </a:lnTo>
                  <a:lnTo>
                    <a:pt x="497110" y="617411"/>
                  </a:lnTo>
                  <a:lnTo>
                    <a:pt x="498634" y="637889"/>
                  </a:lnTo>
                  <a:lnTo>
                    <a:pt x="494538" y="648557"/>
                  </a:lnTo>
                  <a:lnTo>
                    <a:pt x="496634" y="655701"/>
                  </a:lnTo>
                  <a:lnTo>
                    <a:pt x="492252" y="654939"/>
                  </a:lnTo>
                  <a:lnTo>
                    <a:pt x="490157" y="661702"/>
                  </a:lnTo>
                  <a:lnTo>
                    <a:pt x="485489" y="659321"/>
                  </a:lnTo>
                  <a:lnTo>
                    <a:pt x="482917" y="668274"/>
                  </a:lnTo>
                  <a:lnTo>
                    <a:pt x="478060" y="666369"/>
                  </a:lnTo>
                  <a:lnTo>
                    <a:pt x="478822" y="675989"/>
                  </a:lnTo>
                  <a:lnTo>
                    <a:pt x="473392" y="678752"/>
                  </a:lnTo>
                  <a:lnTo>
                    <a:pt x="477012" y="688848"/>
                  </a:lnTo>
                  <a:lnTo>
                    <a:pt x="474917" y="698754"/>
                  </a:lnTo>
                  <a:lnTo>
                    <a:pt x="486061" y="690467"/>
                  </a:lnTo>
                  <a:lnTo>
                    <a:pt x="493300" y="691039"/>
                  </a:lnTo>
                  <a:lnTo>
                    <a:pt x="500443" y="689991"/>
                  </a:lnTo>
                  <a:lnTo>
                    <a:pt x="497110" y="697325"/>
                  </a:lnTo>
                  <a:lnTo>
                    <a:pt x="501206" y="710184"/>
                  </a:lnTo>
                  <a:lnTo>
                    <a:pt x="512064" y="711613"/>
                  </a:lnTo>
                  <a:lnTo>
                    <a:pt x="514636" y="716471"/>
                  </a:lnTo>
                  <a:lnTo>
                    <a:pt x="509016" y="719233"/>
                  </a:lnTo>
                  <a:lnTo>
                    <a:pt x="510254" y="725043"/>
                  </a:lnTo>
                  <a:lnTo>
                    <a:pt x="505682" y="731901"/>
                  </a:lnTo>
                  <a:lnTo>
                    <a:pt x="521113" y="735139"/>
                  </a:lnTo>
                  <a:lnTo>
                    <a:pt x="525780" y="746951"/>
                  </a:lnTo>
                  <a:lnTo>
                    <a:pt x="530447" y="743903"/>
                  </a:lnTo>
                  <a:lnTo>
                    <a:pt x="534543" y="746379"/>
                  </a:lnTo>
                  <a:lnTo>
                    <a:pt x="539401" y="741140"/>
                  </a:lnTo>
                  <a:lnTo>
                    <a:pt x="545592" y="739521"/>
                  </a:lnTo>
                  <a:lnTo>
                    <a:pt x="546926" y="744950"/>
                  </a:lnTo>
                  <a:lnTo>
                    <a:pt x="547878" y="753047"/>
                  </a:lnTo>
                  <a:lnTo>
                    <a:pt x="558260" y="754380"/>
                  </a:lnTo>
                  <a:lnTo>
                    <a:pt x="557022" y="748284"/>
                  </a:lnTo>
                  <a:lnTo>
                    <a:pt x="558260" y="741616"/>
                  </a:lnTo>
                  <a:lnTo>
                    <a:pt x="552736" y="730758"/>
                  </a:lnTo>
                  <a:lnTo>
                    <a:pt x="556641" y="725329"/>
                  </a:lnTo>
                  <a:lnTo>
                    <a:pt x="560737" y="727520"/>
                  </a:lnTo>
                  <a:lnTo>
                    <a:pt x="564737" y="727138"/>
                  </a:lnTo>
                  <a:lnTo>
                    <a:pt x="567214" y="726853"/>
                  </a:lnTo>
                  <a:lnTo>
                    <a:pt x="571119" y="719328"/>
                  </a:lnTo>
                  <a:lnTo>
                    <a:pt x="578263" y="722566"/>
                  </a:lnTo>
                  <a:lnTo>
                    <a:pt x="582359" y="727043"/>
                  </a:lnTo>
                  <a:lnTo>
                    <a:pt x="588074" y="719042"/>
                  </a:lnTo>
                  <a:lnTo>
                    <a:pt x="592550" y="722566"/>
                  </a:lnTo>
                  <a:lnTo>
                    <a:pt x="595217" y="719328"/>
                  </a:lnTo>
                  <a:lnTo>
                    <a:pt x="601123" y="725138"/>
                  </a:lnTo>
                  <a:lnTo>
                    <a:pt x="603313" y="718376"/>
                  </a:lnTo>
                  <a:lnTo>
                    <a:pt x="607028" y="717328"/>
                  </a:lnTo>
                  <a:lnTo>
                    <a:pt x="608457" y="721423"/>
                  </a:lnTo>
                  <a:lnTo>
                    <a:pt x="618649" y="716280"/>
                  </a:lnTo>
                  <a:lnTo>
                    <a:pt x="617887" y="711898"/>
                  </a:lnTo>
                  <a:lnTo>
                    <a:pt x="627602" y="706946"/>
                  </a:lnTo>
                  <a:lnTo>
                    <a:pt x="632079" y="712946"/>
                  </a:lnTo>
                  <a:lnTo>
                    <a:pt x="636937" y="713804"/>
                  </a:lnTo>
                  <a:lnTo>
                    <a:pt x="638746" y="716756"/>
                  </a:lnTo>
                  <a:lnTo>
                    <a:pt x="644938" y="714565"/>
                  </a:lnTo>
                  <a:lnTo>
                    <a:pt x="647319" y="717899"/>
                  </a:lnTo>
                  <a:lnTo>
                    <a:pt x="657320" y="716756"/>
                  </a:lnTo>
                  <a:lnTo>
                    <a:pt x="656082" y="723614"/>
                  </a:lnTo>
                  <a:lnTo>
                    <a:pt x="651891" y="725519"/>
                  </a:lnTo>
                  <a:lnTo>
                    <a:pt x="655034" y="735139"/>
                  </a:lnTo>
                  <a:lnTo>
                    <a:pt x="667131" y="740093"/>
                  </a:lnTo>
                  <a:lnTo>
                    <a:pt x="670751" y="743617"/>
                  </a:lnTo>
                  <a:lnTo>
                    <a:pt x="676942" y="740569"/>
                  </a:lnTo>
                  <a:lnTo>
                    <a:pt x="681895" y="745427"/>
                  </a:lnTo>
                  <a:lnTo>
                    <a:pt x="703326" y="748379"/>
                  </a:lnTo>
                  <a:lnTo>
                    <a:pt x="719518" y="746570"/>
                  </a:lnTo>
                  <a:lnTo>
                    <a:pt x="714566" y="756761"/>
                  </a:lnTo>
                  <a:lnTo>
                    <a:pt x="715899" y="771525"/>
                  </a:lnTo>
                  <a:lnTo>
                    <a:pt x="726472" y="766096"/>
                  </a:lnTo>
                  <a:lnTo>
                    <a:pt x="723328" y="754856"/>
                  </a:lnTo>
                  <a:lnTo>
                    <a:pt x="730091" y="747236"/>
                  </a:lnTo>
                  <a:lnTo>
                    <a:pt x="752856" y="745903"/>
                  </a:lnTo>
                  <a:lnTo>
                    <a:pt x="779621" y="737521"/>
                  </a:lnTo>
                  <a:lnTo>
                    <a:pt x="782002" y="731139"/>
                  </a:lnTo>
                  <a:lnTo>
                    <a:pt x="784288" y="735044"/>
                  </a:lnTo>
                  <a:lnTo>
                    <a:pt x="783241" y="723805"/>
                  </a:lnTo>
                  <a:lnTo>
                    <a:pt x="790861" y="731901"/>
                  </a:lnTo>
                  <a:lnTo>
                    <a:pt x="787908" y="712565"/>
                  </a:lnTo>
                  <a:lnTo>
                    <a:pt x="804386" y="724186"/>
                  </a:lnTo>
                  <a:lnTo>
                    <a:pt x="827818" y="716471"/>
                  </a:lnTo>
                  <a:lnTo>
                    <a:pt x="835438" y="720280"/>
                  </a:lnTo>
                  <a:lnTo>
                    <a:pt x="848963" y="716089"/>
                  </a:lnTo>
                  <a:lnTo>
                    <a:pt x="849344" y="710089"/>
                  </a:lnTo>
                  <a:lnTo>
                    <a:pt x="854964" y="709803"/>
                  </a:lnTo>
                  <a:lnTo>
                    <a:pt x="849630" y="705898"/>
                  </a:lnTo>
                  <a:lnTo>
                    <a:pt x="862870" y="701707"/>
                  </a:lnTo>
                  <a:lnTo>
                    <a:pt x="882301" y="679323"/>
                  </a:lnTo>
                  <a:lnTo>
                    <a:pt x="891921" y="681704"/>
                  </a:lnTo>
                  <a:lnTo>
                    <a:pt x="890302" y="675132"/>
                  </a:lnTo>
                  <a:lnTo>
                    <a:pt x="898493" y="675132"/>
                  </a:lnTo>
                  <a:lnTo>
                    <a:pt x="896493" y="667417"/>
                  </a:lnTo>
                  <a:lnTo>
                    <a:pt x="905827" y="667417"/>
                  </a:lnTo>
                  <a:lnTo>
                    <a:pt x="901922" y="663416"/>
                  </a:lnTo>
                  <a:lnTo>
                    <a:pt x="904494" y="660749"/>
                  </a:lnTo>
                  <a:lnTo>
                    <a:pt x="911257" y="662940"/>
                  </a:lnTo>
                  <a:lnTo>
                    <a:pt x="909352" y="656368"/>
                  </a:lnTo>
                  <a:lnTo>
                    <a:pt x="912685" y="651605"/>
                  </a:lnTo>
                  <a:lnTo>
                    <a:pt x="904113" y="647414"/>
                  </a:lnTo>
                  <a:lnTo>
                    <a:pt x="915638" y="643890"/>
                  </a:lnTo>
                  <a:lnTo>
                    <a:pt x="926878" y="627412"/>
                  </a:lnTo>
                  <a:lnTo>
                    <a:pt x="923830" y="623792"/>
                  </a:lnTo>
                  <a:lnTo>
                    <a:pt x="929259" y="623792"/>
                  </a:lnTo>
                  <a:lnTo>
                    <a:pt x="946594" y="604076"/>
                  </a:lnTo>
                  <a:lnTo>
                    <a:pt x="951833" y="602361"/>
                  </a:lnTo>
                  <a:lnTo>
                    <a:pt x="941070" y="591979"/>
                  </a:lnTo>
                  <a:lnTo>
                    <a:pt x="951357" y="591979"/>
                  </a:lnTo>
                  <a:lnTo>
                    <a:pt x="946690" y="585026"/>
                  </a:lnTo>
                  <a:lnTo>
                    <a:pt x="954310" y="580835"/>
                  </a:lnTo>
                  <a:lnTo>
                    <a:pt x="957358" y="585883"/>
                  </a:lnTo>
                  <a:lnTo>
                    <a:pt x="957929" y="576263"/>
                  </a:lnTo>
                  <a:lnTo>
                    <a:pt x="947357" y="577691"/>
                  </a:lnTo>
                  <a:lnTo>
                    <a:pt x="957834" y="569500"/>
                  </a:lnTo>
                  <a:lnTo>
                    <a:pt x="938498" y="567023"/>
                  </a:lnTo>
                  <a:lnTo>
                    <a:pt x="932878" y="561404"/>
                  </a:lnTo>
                  <a:lnTo>
                    <a:pt x="921639" y="563308"/>
                  </a:lnTo>
                  <a:lnTo>
                    <a:pt x="946499" y="550640"/>
                  </a:lnTo>
                  <a:lnTo>
                    <a:pt x="956024" y="554164"/>
                  </a:lnTo>
                  <a:lnTo>
                    <a:pt x="954500" y="534543"/>
                  </a:lnTo>
                  <a:lnTo>
                    <a:pt x="933355" y="530733"/>
                  </a:lnTo>
                  <a:lnTo>
                    <a:pt x="916305" y="521113"/>
                  </a:lnTo>
                  <a:lnTo>
                    <a:pt x="937451" y="527018"/>
                  </a:lnTo>
                  <a:lnTo>
                    <a:pt x="956310" y="528638"/>
                  </a:lnTo>
                  <a:lnTo>
                    <a:pt x="935165" y="508445"/>
                  </a:lnTo>
                  <a:lnTo>
                    <a:pt x="936498" y="499872"/>
                  </a:lnTo>
                  <a:lnTo>
                    <a:pt x="923639" y="470726"/>
                  </a:lnTo>
                  <a:lnTo>
                    <a:pt x="902779" y="461772"/>
                  </a:lnTo>
                  <a:lnTo>
                    <a:pt x="904494" y="453866"/>
                  </a:lnTo>
                  <a:lnTo>
                    <a:pt x="932212" y="428149"/>
                  </a:lnTo>
                  <a:lnTo>
                    <a:pt x="937832" y="421005"/>
                  </a:lnTo>
                  <a:lnTo>
                    <a:pt x="931545" y="416623"/>
                  </a:lnTo>
                  <a:lnTo>
                    <a:pt x="957262" y="410528"/>
                  </a:lnTo>
                  <a:lnTo>
                    <a:pt x="967931" y="415195"/>
                  </a:lnTo>
                  <a:lnTo>
                    <a:pt x="972121" y="401574"/>
                  </a:lnTo>
                  <a:lnTo>
                    <a:pt x="949738" y="401193"/>
                  </a:lnTo>
                  <a:lnTo>
                    <a:pt x="933164" y="391858"/>
                  </a:lnTo>
                  <a:lnTo>
                    <a:pt x="913733" y="407194"/>
                  </a:lnTo>
                  <a:lnTo>
                    <a:pt x="897541" y="402717"/>
                  </a:lnTo>
                  <a:lnTo>
                    <a:pt x="872966" y="378333"/>
                  </a:lnTo>
                  <a:lnTo>
                    <a:pt x="899351" y="366713"/>
                  </a:lnTo>
                  <a:lnTo>
                    <a:pt x="942118" y="320421"/>
                  </a:lnTo>
                  <a:lnTo>
                    <a:pt x="955643" y="319278"/>
                  </a:lnTo>
                  <a:lnTo>
                    <a:pt x="955929" y="343281"/>
                  </a:lnTo>
                  <a:lnTo>
                    <a:pt x="942118" y="372046"/>
                  </a:lnTo>
                  <a:lnTo>
                    <a:pt x="966216" y="356330"/>
                  </a:lnTo>
                  <a:lnTo>
                    <a:pt x="980027" y="351854"/>
                  </a:lnTo>
                  <a:lnTo>
                    <a:pt x="982694" y="347377"/>
                  </a:lnTo>
                  <a:lnTo>
                    <a:pt x="988790" y="348901"/>
                  </a:lnTo>
                  <a:lnTo>
                    <a:pt x="993458" y="344233"/>
                  </a:lnTo>
                  <a:lnTo>
                    <a:pt x="1000506" y="346996"/>
                  </a:lnTo>
                  <a:lnTo>
                    <a:pt x="1005173" y="340995"/>
                  </a:lnTo>
                  <a:lnTo>
                    <a:pt x="1005364" y="341090"/>
                  </a:lnTo>
                  <a:lnTo>
                    <a:pt x="1030224" y="323469"/>
                  </a:lnTo>
                  <a:lnTo>
                    <a:pt x="1038701" y="321564"/>
                  </a:lnTo>
                  <a:lnTo>
                    <a:pt x="1047274" y="312039"/>
                  </a:lnTo>
                  <a:lnTo>
                    <a:pt x="1048417" y="301943"/>
                  </a:lnTo>
                  <a:lnTo>
                    <a:pt x="1057275" y="298609"/>
                  </a:lnTo>
                  <a:lnTo>
                    <a:pt x="1063085" y="306705"/>
                  </a:lnTo>
                  <a:lnTo>
                    <a:pt x="1080135" y="310134"/>
                  </a:lnTo>
                  <a:lnTo>
                    <a:pt x="1084040" y="304324"/>
                  </a:lnTo>
                  <a:lnTo>
                    <a:pt x="1077468" y="294799"/>
                  </a:lnTo>
                  <a:lnTo>
                    <a:pt x="1094803" y="293370"/>
                  </a:lnTo>
                  <a:lnTo>
                    <a:pt x="1102233" y="283369"/>
                  </a:lnTo>
                  <a:lnTo>
                    <a:pt x="1108424" y="285750"/>
                  </a:lnTo>
                  <a:lnTo>
                    <a:pt x="1112234" y="282416"/>
                  </a:lnTo>
                  <a:lnTo>
                    <a:pt x="1113377" y="269462"/>
                  </a:lnTo>
                  <a:lnTo>
                    <a:pt x="1119568" y="271367"/>
                  </a:lnTo>
                  <a:lnTo>
                    <a:pt x="1121569" y="283845"/>
                  </a:lnTo>
                  <a:lnTo>
                    <a:pt x="1127760" y="282416"/>
                  </a:lnTo>
                  <a:lnTo>
                    <a:pt x="1127951" y="282130"/>
                  </a:lnTo>
                  <a:lnTo>
                    <a:pt x="1125379" y="275654"/>
                  </a:lnTo>
                  <a:lnTo>
                    <a:pt x="1132332" y="268033"/>
                  </a:lnTo>
                  <a:lnTo>
                    <a:pt x="1136618" y="269938"/>
                  </a:lnTo>
                  <a:lnTo>
                    <a:pt x="1141285" y="259461"/>
                  </a:lnTo>
                  <a:lnTo>
                    <a:pt x="1138618" y="255651"/>
                  </a:lnTo>
                  <a:lnTo>
                    <a:pt x="1141667" y="244697"/>
                  </a:lnTo>
                  <a:lnTo>
                    <a:pt x="1134332" y="224123"/>
                  </a:lnTo>
                  <a:lnTo>
                    <a:pt x="1144334" y="221742"/>
                  </a:lnTo>
                  <a:lnTo>
                    <a:pt x="1153668" y="213551"/>
                  </a:lnTo>
                  <a:lnTo>
                    <a:pt x="1175671" y="222218"/>
                  </a:lnTo>
                  <a:lnTo>
                    <a:pt x="1180338" y="218885"/>
                  </a:lnTo>
                  <a:lnTo>
                    <a:pt x="1177290" y="210217"/>
                  </a:lnTo>
                  <a:lnTo>
                    <a:pt x="1186529" y="205930"/>
                  </a:lnTo>
                  <a:lnTo>
                    <a:pt x="1186148" y="197834"/>
                  </a:lnTo>
                  <a:lnTo>
                    <a:pt x="1194244" y="189738"/>
                  </a:lnTo>
                  <a:lnTo>
                    <a:pt x="1191577" y="182594"/>
                  </a:lnTo>
                  <a:lnTo>
                    <a:pt x="1197388" y="178784"/>
                  </a:lnTo>
                  <a:lnTo>
                    <a:pt x="1198912" y="164878"/>
                  </a:lnTo>
                  <a:lnTo>
                    <a:pt x="1209008" y="160592"/>
                  </a:lnTo>
                  <a:lnTo>
                    <a:pt x="1211675" y="154876"/>
                  </a:lnTo>
                  <a:lnTo>
                    <a:pt x="1207865" y="14763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2" name="Freeform: Shape 2732">
              <a:extLst>
                <a:ext uri="{FF2B5EF4-FFF2-40B4-BE49-F238E27FC236}">
                  <a16:creationId xmlns:a16="http://schemas.microsoft.com/office/drawing/2014/main" id="{FE591D8D-CC34-7C93-BE19-475F13CD224E}"/>
                </a:ext>
              </a:extLst>
            </p:cNvPr>
            <p:cNvSpPr/>
            <p:nvPr/>
          </p:nvSpPr>
          <p:spPr>
            <a:xfrm>
              <a:off x="3896772" y="4209319"/>
              <a:ext cx="45529" cy="36766"/>
            </a:xfrm>
            <a:custGeom>
              <a:avLst/>
              <a:gdLst>
                <a:gd name="connsiteX0" fmla="*/ 45530 w 45529"/>
                <a:gd name="connsiteY0" fmla="*/ 381 h 36766"/>
                <a:gd name="connsiteX1" fmla="*/ 18193 w 45529"/>
                <a:gd name="connsiteY1" fmla="*/ 0 h 36766"/>
                <a:gd name="connsiteX2" fmla="*/ 0 w 45529"/>
                <a:gd name="connsiteY2" fmla="*/ 13525 h 36766"/>
                <a:gd name="connsiteX3" fmla="*/ 667 w 45529"/>
                <a:gd name="connsiteY3" fmla="*/ 30004 h 36766"/>
                <a:gd name="connsiteX4" fmla="*/ 18764 w 45529"/>
                <a:gd name="connsiteY4" fmla="*/ 36766 h 36766"/>
                <a:gd name="connsiteX5" fmla="*/ 37338 w 45529"/>
                <a:gd name="connsiteY5" fmla="*/ 24289 h 36766"/>
                <a:gd name="connsiteX6" fmla="*/ 45530 w 45529"/>
                <a:gd name="connsiteY6" fmla="*/ 381 h 3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9" h="36766">
                  <a:moveTo>
                    <a:pt x="45530" y="381"/>
                  </a:moveTo>
                  <a:lnTo>
                    <a:pt x="18193" y="0"/>
                  </a:lnTo>
                  <a:lnTo>
                    <a:pt x="0" y="13525"/>
                  </a:lnTo>
                  <a:lnTo>
                    <a:pt x="667" y="30004"/>
                  </a:lnTo>
                  <a:lnTo>
                    <a:pt x="18764" y="36766"/>
                  </a:lnTo>
                  <a:lnTo>
                    <a:pt x="37338" y="24289"/>
                  </a:lnTo>
                  <a:lnTo>
                    <a:pt x="45530" y="38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3" name="Freeform: Shape 2733">
              <a:extLst>
                <a:ext uri="{FF2B5EF4-FFF2-40B4-BE49-F238E27FC236}">
                  <a16:creationId xmlns:a16="http://schemas.microsoft.com/office/drawing/2014/main" id="{1701D816-D194-58C5-3DB0-A08845DAC900}"/>
                </a:ext>
              </a:extLst>
            </p:cNvPr>
            <p:cNvSpPr/>
            <p:nvPr/>
          </p:nvSpPr>
          <p:spPr>
            <a:xfrm>
              <a:off x="4155376" y="3992530"/>
              <a:ext cx="11049" cy="7239"/>
            </a:xfrm>
            <a:custGeom>
              <a:avLst/>
              <a:gdLst>
                <a:gd name="connsiteX0" fmla="*/ 11049 w 11049"/>
                <a:gd name="connsiteY0" fmla="*/ 7239 h 7239"/>
                <a:gd name="connsiteX1" fmla="*/ 5620 w 11049"/>
                <a:gd name="connsiteY1" fmla="*/ 0 h 7239"/>
                <a:gd name="connsiteX2" fmla="*/ 0 w 11049"/>
                <a:gd name="connsiteY2" fmla="*/ 5239 h 7239"/>
                <a:gd name="connsiteX3" fmla="*/ 11049 w 11049"/>
                <a:gd name="connsiteY3" fmla="*/ 7239 h 7239"/>
              </a:gdLst>
              <a:ahLst/>
              <a:cxnLst>
                <a:cxn ang="0">
                  <a:pos x="connsiteX0" y="connsiteY0"/>
                </a:cxn>
                <a:cxn ang="0">
                  <a:pos x="connsiteX1" y="connsiteY1"/>
                </a:cxn>
                <a:cxn ang="0">
                  <a:pos x="connsiteX2" y="connsiteY2"/>
                </a:cxn>
                <a:cxn ang="0">
                  <a:pos x="connsiteX3" y="connsiteY3"/>
                </a:cxn>
              </a:cxnLst>
              <a:rect l="l" t="t" r="r" b="b"/>
              <a:pathLst>
                <a:path w="11049" h="7239">
                  <a:moveTo>
                    <a:pt x="11049" y="7239"/>
                  </a:moveTo>
                  <a:lnTo>
                    <a:pt x="5620" y="0"/>
                  </a:lnTo>
                  <a:lnTo>
                    <a:pt x="0" y="5239"/>
                  </a:lnTo>
                  <a:lnTo>
                    <a:pt x="11049" y="7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4" name="Freeform: Shape 2734">
              <a:extLst>
                <a:ext uri="{FF2B5EF4-FFF2-40B4-BE49-F238E27FC236}">
                  <a16:creationId xmlns:a16="http://schemas.microsoft.com/office/drawing/2014/main" id="{B2625D06-6C9B-8021-75F8-28165C32BC73}"/>
                </a:ext>
              </a:extLst>
            </p:cNvPr>
            <p:cNvSpPr/>
            <p:nvPr/>
          </p:nvSpPr>
          <p:spPr>
            <a:xfrm>
              <a:off x="3770661" y="4315713"/>
              <a:ext cx="106394" cy="87725"/>
            </a:xfrm>
            <a:custGeom>
              <a:avLst/>
              <a:gdLst>
                <a:gd name="connsiteX0" fmla="*/ 30861 w 106394"/>
                <a:gd name="connsiteY0" fmla="*/ 68390 h 87725"/>
                <a:gd name="connsiteX1" fmla="*/ 31337 w 106394"/>
                <a:gd name="connsiteY1" fmla="*/ 81534 h 87725"/>
                <a:gd name="connsiteX2" fmla="*/ 42196 w 106394"/>
                <a:gd name="connsiteY2" fmla="*/ 87725 h 87725"/>
                <a:gd name="connsiteX3" fmla="*/ 42196 w 106394"/>
                <a:gd name="connsiteY3" fmla="*/ 87725 h 87725"/>
                <a:gd name="connsiteX4" fmla="*/ 45529 w 106394"/>
                <a:gd name="connsiteY4" fmla="*/ 84677 h 87725"/>
                <a:gd name="connsiteX5" fmla="*/ 51721 w 106394"/>
                <a:gd name="connsiteY5" fmla="*/ 86487 h 87725"/>
                <a:gd name="connsiteX6" fmla="*/ 56388 w 106394"/>
                <a:gd name="connsiteY6" fmla="*/ 82010 h 87725"/>
                <a:gd name="connsiteX7" fmla="*/ 55054 w 106394"/>
                <a:gd name="connsiteY7" fmla="*/ 76962 h 87725"/>
                <a:gd name="connsiteX8" fmla="*/ 66961 w 106394"/>
                <a:gd name="connsiteY8" fmla="*/ 73819 h 87725"/>
                <a:gd name="connsiteX9" fmla="*/ 71628 w 106394"/>
                <a:gd name="connsiteY9" fmla="*/ 79629 h 87725"/>
                <a:gd name="connsiteX10" fmla="*/ 78772 w 106394"/>
                <a:gd name="connsiteY10" fmla="*/ 76200 h 87725"/>
                <a:gd name="connsiteX11" fmla="*/ 72866 w 106394"/>
                <a:gd name="connsiteY11" fmla="*/ 70961 h 87725"/>
                <a:gd name="connsiteX12" fmla="*/ 70580 w 106394"/>
                <a:gd name="connsiteY12" fmla="*/ 63818 h 87725"/>
                <a:gd name="connsiteX13" fmla="*/ 74200 w 106394"/>
                <a:gd name="connsiteY13" fmla="*/ 59912 h 87725"/>
                <a:gd name="connsiteX14" fmla="*/ 82677 w 106394"/>
                <a:gd name="connsiteY14" fmla="*/ 62008 h 87725"/>
                <a:gd name="connsiteX15" fmla="*/ 82677 w 106394"/>
                <a:gd name="connsiteY15" fmla="*/ 55912 h 87725"/>
                <a:gd name="connsiteX16" fmla="*/ 98108 w 106394"/>
                <a:gd name="connsiteY16" fmla="*/ 48578 h 87725"/>
                <a:gd name="connsiteX17" fmla="*/ 101441 w 106394"/>
                <a:gd name="connsiteY17" fmla="*/ 51149 h 87725"/>
                <a:gd name="connsiteX18" fmla="*/ 105061 w 106394"/>
                <a:gd name="connsiteY18" fmla="*/ 47244 h 87725"/>
                <a:gd name="connsiteX19" fmla="*/ 102775 w 106394"/>
                <a:gd name="connsiteY19" fmla="*/ 35052 h 87725"/>
                <a:gd name="connsiteX20" fmla="*/ 106394 w 106394"/>
                <a:gd name="connsiteY20" fmla="*/ 25527 h 87725"/>
                <a:gd name="connsiteX21" fmla="*/ 102298 w 106394"/>
                <a:gd name="connsiteY21" fmla="*/ 18669 h 87725"/>
                <a:gd name="connsiteX22" fmla="*/ 100679 w 106394"/>
                <a:gd name="connsiteY22" fmla="*/ 8382 h 87725"/>
                <a:gd name="connsiteX23" fmla="*/ 104870 w 106394"/>
                <a:gd name="connsiteY23" fmla="*/ 4667 h 87725"/>
                <a:gd name="connsiteX24" fmla="*/ 104013 w 106394"/>
                <a:gd name="connsiteY24" fmla="*/ 0 h 87725"/>
                <a:gd name="connsiteX25" fmla="*/ 104013 w 106394"/>
                <a:gd name="connsiteY25" fmla="*/ 0 h 87725"/>
                <a:gd name="connsiteX26" fmla="*/ 90297 w 106394"/>
                <a:gd name="connsiteY26" fmla="*/ 8382 h 87725"/>
                <a:gd name="connsiteX27" fmla="*/ 84677 w 106394"/>
                <a:gd name="connsiteY27" fmla="*/ 2858 h 87725"/>
                <a:gd name="connsiteX28" fmla="*/ 78677 w 106394"/>
                <a:gd name="connsiteY28" fmla="*/ 6858 h 87725"/>
                <a:gd name="connsiteX29" fmla="*/ 72771 w 106394"/>
                <a:gd name="connsiteY29" fmla="*/ 7334 h 87725"/>
                <a:gd name="connsiteX30" fmla="*/ 77438 w 106394"/>
                <a:gd name="connsiteY30" fmla="*/ 14764 h 87725"/>
                <a:gd name="connsiteX31" fmla="*/ 74104 w 106394"/>
                <a:gd name="connsiteY31" fmla="*/ 18383 h 87725"/>
                <a:gd name="connsiteX32" fmla="*/ 67913 w 106394"/>
                <a:gd name="connsiteY32" fmla="*/ 13145 h 87725"/>
                <a:gd name="connsiteX33" fmla="*/ 60674 w 106394"/>
                <a:gd name="connsiteY33" fmla="*/ 13145 h 87725"/>
                <a:gd name="connsiteX34" fmla="*/ 57817 w 106394"/>
                <a:gd name="connsiteY34" fmla="*/ 7620 h 87725"/>
                <a:gd name="connsiteX35" fmla="*/ 54578 w 106394"/>
                <a:gd name="connsiteY35" fmla="*/ 11335 h 87725"/>
                <a:gd name="connsiteX36" fmla="*/ 48387 w 106394"/>
                <a:gd name="connsiteY36" fmla="*/ 5810 h 87725"/>
                <a:gd name="connsiteX37" fmla="*/ 44482 w 106394"/>
                <a:gd name="connsiteY37" fmla="*/ 7334 h 87725"/>
                <a:gd name="connsiteX38" fmla="*/ 26765 w 106394"/>
                <a:gd name="connsiteY38" fmla="*/ 7334 h 87725"/>
                <a:gd name="connsiteX39" fmla="*/ 13145 w 106394"/>
                <a:gd name="connsiteY39" fmla="*/ 11716 h 87725"/>
                <a:gd name="connsiteX40" fmla="*/ 8192 w 106394"/>
                <a:gd name="connsiteY40" fmla="*/ 22765 h 87725"/>
                <a:gd name="connsiteX41" fmla="*/ 0 w 106394"/>
                <a:gd name="connsiteY41" fmla="*/ 23908 h 87725"/>
                <a:gd name="connsiteX42" fmla="*/ 4286 w 106394"/>
                <a:gd name="connsiteY42" fmla="*/ 40958 h 87725"/>
                <a:gd name="connsiteX43" fmla="*/ 11621 w 106394"/>
                <a:gd name="connsiteY43" fmla="*/ 45720 h 87725"/>
                <a:gd name="connsiteX44" fmla="*/ 9335 w 106394"/>
                <a:gd name="connsiteY44" fmla="*/ 51245 h 87725"/>
                <a:gd name="connsiteX45" fmla="*/ 13526 w 106394"/>
                <a:gd name="connsiteY45" fmla="*/ 63913 h 87725"/>
                <a:gd name="connsiteX46" fmla="*/ 13526 w 106394"/>
                <a:gd name="connsiteY46" fmla="*/ 63913 h 87725"/>
                <a:gd name="connsiteX47" fmla="*/ 23622 w 106394"/>
                <a:gd name="connsiteY47" fmla="*/ 74009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6394" h="87725">
                  <a:moveTo>
                    <a:pt x="30861" y="68390"/>
                  </a:moveTo>
                  <a:lnTo>
                    <a:pt x="31337" y="81534"/>
                  </a:lnTo>
                  <a:lnTo>
                    <a:pt x="42196" y="87725"/>
                  </a:lnTo>
                  <a:lnTo>
                    <a:pt x="42196" y="87725"/>
                  </a:lnTo>
                  <a:lnTo>
                    <a:pt x="45529" y="84677"/>
                  </a:lnTo>
                  <a:lnTo>
                    <a:pt x="51721" y="86487"/>
                  </a:lnTo>
                  <a:lnTo>
                    <a:pt x="56388" y="82010"/>
                  </a:lnTo>
                  <a:lnTo>
                    <a:pt x="55054" y="76962"/>
                  </a:lnTo>
                  <a:lnTo>
                    <a:pt x="66961" y="73819"/>
                  </a:lnTo>
                  <a:lnTo>
                    <a:pt x="71628" y="79629"/>
                  </a:lnTo>
                  <a:lnTo>
                    <a:pt x="78772" y="76200"/>
                  </a:lnTo>
                  <a:lnTo>
                    <a:pt x="72866" y="70961"/>
                  </a:lnTo>
                  <a:lnTo>
                    <a:pt x="70580" y="63818"/>
                  </a:lnTo>
                  <a:lnTo>
                    <a:pt x="74200" y="59912"/>
                  </a:lnTo>
                  <a:lnTo>
                    <a:pt x="82677" y="62008"/>
                  </a:lnTo>
                  <a:lnTo>
                    <a:pt x="82677" y="55912"/>
                  </a:lnTo>
                  <a:lnTo>
                    <a:pt x="98108" y="48578"/>
                  </a:lnTo>
                  <a:lnTo>
                    <a:pt x="101441" y="51149"/>
                  </a:lnTo>
                  <a:lnTo>
                    <a:pt x="105061" y="47244"/>
                  </a:lnTo>
                  <a:cubicBezTo>
                    <a:pt x="105061" y="47244"/>
                    <a:pt x="103061" y="35147"/>
                    <a:pt x="102775" y="35052"/>
                  </a:cubicBezTo>
                  <a:cubicBezTo>
                    <a:pt x="102489" y="34957"/>
                    <a:pt x="106394" y="25527"/>
                    <a:pt x="106394" y="25527"/>
                  </a:cubicBezTo>
                  <a:lnTo>
                    <a:pt x="102298" y="18669"/>
                  </a:lnTo>
                  <a:lnTo>
                    <a:pt x="100679" y="8382"/>
                  </a:lnTo>
                  <a:lnTo>
                    <a:pt x="104870" y="4667"/>
                  </a:lnTo>
                  <a:lnTo>
                    <a:pt x="104013" y="0"/>
                  </a:lnTo>
                  <a:lnTo>
                    <a:pt x="104013" y="0"/>
                  </a:lnTo>
                  <a:lnTo>
                    <a:pt x="90297" y="8382"/>
                  </a:lnTo>
                  <a:lnTo>
                    <a:pt x="84677" y="2858"/>
                  </a:lnTo>
                  <a:lnTo>
                    <a:pt x="78677" y="6858"/>
                  </a:lnTo>
                  <a:lnTo>
                    <a:pt x="72771" y="7334"/>
                  </a:lnTo>
                  <a:lnTo>
                    <a:pt x="77438" y="14764"/>
                  </a:lnTo>
                  <a:lnTo>
                    <a:pt x="74104" y="18383"/>
                  </a:lnTo>
                  <a:lnTo>
                    <a:pt x="67913" y="13145"/>
                  </a:lnTo>
                  <a:lnTo>
                    <a:pt x="60674" y="13145"/>
                  </a:lnTo>
                  <a:lnTo>
                    <a:pt x="57817" y="7620"/>
                  </a:lnTo>
                  <a:lnTo>
                    <a:pt x="54578" y="11335"/>
                  </a:lnTo>
                  <a:lnTo>
                    <a:pt x="48387" y="5810"/>
                  </a:lnTo>
                  <a:lnTo>
                    <a:pt x="44482" y="7334"/>
                  </a:lnTo>
                  <a:lnTo>
                    <a:pt x="26765" y="7334"/>
                  </a:lnTo>
                  <a:lnTo>
                    <a:pt x="13145" y="11716"/>
                  </a:lnTo>
                  <a:lnTo>
                    <a:pt x="8192" y="22765"/>
                  </a:lnTo>
                  <a:lnTo>
                    <a:pt x="0" y="23908"/>
                  </a:lnTo>
                  <a:lnTo>
                    <a:pt x="4286" y="40958"/>
                  </a:lnTo>
                  <a:lnTo>
                    <a:pt x="11621" y="45720"/>
                  </a:lnTo>
                  <a:lnTo>
                    <a:pt x="9335" y="51245"/>
                  </a:lnTo>
                  <a:lnTo>
                    <a:pt x="13526" y="63913"/>
                  </a:lnTo>
                  <a:lnTo>
                    <a:pt x="13526" y="63913"/>
                  </a:lnTo>
                  <a:lnTo>
                    <a:pt x="23622" y="7400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5" name="Freeform: Shape 2735">
              <a:extLst>
                <a:ext uri="{FF2B5EF4-FFF2-40B4-BE49-F238E27FC236}">
                  <a16:creationId xmlns:a16="http://schemas.microsoft.com/office/drawing/2014/main" id="{AAE70FF9-1D14-3F3A-C59F-138AE5869C62}"/>
                </a:ext>
              </a:extLst>
            </p:cNvPr>
            <p:cNvSpPr/>
            <p:nvPr/>
          </p:nvSpPr>
          <p:spPr>
            <a:xfrm>
              <a:off x="4004119" y="4514310"/>
              <a:ext cx="14858" cy="16764"/>
            </a:xfrm>
            <a:custGeom>
              <a:avLst/>
              <a:gdLst>
                <a:gd name="connsiteX0" fmla="*/ 0 w 14858"/>
                <a:gd name="connsiteY0" fmla="*/ 5239 h 16764"/>
                <a:gd name="connsiteX1" fmla="*/ 0 w 14858"/>
                <a:gd name="connsiteY1" fmla="*/ 5239 h 16764"/>
                <a:gd name="connsiteX2" fmla="*/ 11239 w 14858"/>
                <a:gd name="connsiteY2" fmla="*/ 16764 h 16764"/>
                <a:gd name="connsiteX3" fmla="*/ 14859 w 14858"/>
                <a:gd name="connsiteY3" fmla="*/ 12287 h 16764"/>
                <a:gd name="connsiteX4" fmla="*/ 14859 w 14858"/>
                <a:gd name="connsiteY4" fmla="*/ 0 h 16764"/>
                <a:gd name="connsiteX5" fmla="*/ 286 w 14858"/>
                <a:gd name="connsiteY5" fmla="*/ 4477 h 16764"/>
                <a:gd name="connsiteX6" fmla="*/ 0 w 14858"/>
                <a:gd name="connsiteY6" fmla="*/ 5239 h 1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8" h="16764">
                  <a:moveTo>
                    <a:pt x="0" y="5239"/>
                  </a:moveTo>
                  <a:lnTo>
                    <a:pt x="0" y="5239"/>
                  </a:lnTo>
                  <a:lnTo>
                    <a:pt x="11239" y="16764"/>
                  </a:lnTo>
                  <a:lnTo>
                    <a:pt x="14859" y="12287"/>
                  </a:lnTo>
                  <a:lnTo>
                    <a:pt x="14859" y="0"/>
                  </a:lnTo>
                  <a:lnTo>
                    <a:pt x="286" y="4477"/>
                  </a:lnTo>
                  <a:lnTo>
                    <a:pt x="0" y="5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6" name="Freeform: Shape 2736">
              <a:extLst>
                <a:ext uri="{FF2B5EF4-FFF2-40B4-BE49-F238E27FC236}">
                  <a16:creationId xmlns:a16="http://schemas.microsoft.com/office/drawing/2014/main" id="{9B0A15D8-F401-49C5-32F9-933FF07BE893}"/>
                </a:ext>
              </a:extLst>
            </p:cNvPr>
            <p:cNvSpPr/>
            <p:nvPr/>
          </p:nvSpPr>
          <p:spPr>
            <a:xfrm>
              <a:off x="4022883" y="4513167"/>
              <a:ext cx="8667" cy="11430"/>
            </a:xfrm>
            <a:custGeom>
              <a:avLst/>
              <a:gdLst>
                <a:gd name="connsiteX0" fmla="*/ 0 w 8667"/>
                <a:gd name="connsiteY0" fmla="*/ 0 h 11430"/>
                <a:gd name="connsiteX1" fmla="*/ 0 w 8667"/>
                <a:gd name="connsiteY1" fmla="*/ 0 h 11430"/>
                <a:gd name="connsiteX2" fmla="*/ 381 w 8667"/>
                <a:gd name="connsiteY2" fmla="*/ 953 h 11430"/>
                <a:gd name="connsiteX3" fmla="*/ 2096 w 8667"/>
                <a:gd name="connsiteY3" fmla="*/ 10859 h 11430"/>
                <a:gd name="connsiteX4" fmla="*/ 8668 w 8667"/>
                <a:gd name="connsiteY4" fmla="*/ 11430 h 11430"/>
                <a:gd name="connsiteX5" fmla="*/ 5620 w 8667"/>
                <a:gd name="connsiteY5" fmla="*/ 2191 h 11430"/>
                <a:gd name="connsiteX6" fmla="*/ 5620 w 8667"/>
                <a:gd name="connsiteY6" fmla="*/ 2191 h 11430"/>
                <a:gd name="connsiteX7" fmla="*/ 4096 w 8667"/>
                <a:gd name="connsiteY7" fmla="*/ 4096 h 11430"/>
                <a:gd name="connsiteX8" fmla="*/ 0 w 8667"/>
                <a:gd name="connsiteY8" fmla="*/ 0 h 1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 h="11430">
                  <a:moveTo>
                    <a:pt x="0" y="0"/>
                  </a:moveTo>
                  <a:lnTo>
                    <a:pt x="0" y="0"/>
                  </a:lnTo>
                  <a:lnTo>
                    <a:pt x="381" y="953"/>
                  </a:lnTo>
                  <a:lnTo>
                    <a:pt x="2096" y="10859"/>
                  </a:lnTo>
                  <a:lnTo>
                    <a:pt x="8668" y="11430"/>
                  </a:lnTo>
                  <a:lnTo>
                    <a:pt x="5620" y="2191"/>
                  </a:lnTo>
                  <a:lnTo>
                    <a:pt x="5620" y="2191"/>
                  </a:lnTo>
                  <a:lnTo>
                    <a:pt x="4096" y="4096"/>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7" name="Freeform: Shape 2737">
              <a:extLst>
                <a:ext uri="{FF2B5EF4-FFF2-40B4-BE49-F238E27FC236}">
                  <a16:creationId xmlns:a16="http://schemas.microsoft.com/office/drawing/2014/main" id="{32E93DB5-10F6-053D-A645-981F4A111A5A}"/>
                </a:ext>
              </a:extLst>
            </p:cNvPr>
            <p:cNvSpPr/>
            <p:nvPr/>
          </p:nvSpPr>
          <p:spPr>
            <a:xfrm>
              <a:off x="3501866" y="4033869"/>
              <a:ext cx="68103" cy="34766"/>
            </a:xfrm>
            <a:custGeom>
              <a:avLst/>
              <a:gdLst>
                <a:gd name="connsiteX0" fmla="*/ 65342 w 68103"/>
                <a:gd name="connsiteY0" fmla="*/ 24860 h 34766"/>
                <a:gd name="connsiteX1" fmla="*/ 67913 w 68103"/>
                <a:gd name="connsiteY1" fmla="*/ 22384 h 34766"/>
                <a:gd name="connsiteX2" fmla="*/ 65627 w 68103"/>
                <a:gd name="connsiteY2" fmla="*/ 18002 h 34766"/>
                <a:gd name="connsiteX3" fmla="*/ 60484 w 68103"/>
                <a:gd name="connsiteY3" fmla="*/ 19145 h 34766"/>
                <a:gd name="connsiteX4" fmla="*/ 56579 w 68103"/>
                <a:gd name="connsiteY4" fmla="*/ 14764 h 34766"/>
                <a:gd name="connsiteX5" fmla="*/ 57531 w 68103"/>
                <a:gd name="connsiteY5" fmla="*/ 12002 h 34766"/>
                <a:gd name="connsiteX6" fmla="*/ 58960 w 68103"/>
                <a:gd name="connsiteY6" fmla="*/ 7620 h 34766"/>
                <a:gd name="connsiteX7" fmla="*/ 51721 w 68103"/>
                <a:gd name="connsiteY7" fmla="*/ 4096 h 34766"/>
                <a:gd name="connsiteX8" fmla="*/ 47054 w 68103"/>
                <a:gd name="connsiteY8" fmla="*/ 7906 h 34766"/>
                <a:gd name="connsiteX9" fmla="*/ 33147 w 68103"/>
                <a:gd name="connsiteY9" fmla="*/ 5144 h 34766"/>
                <a:gd name="connsiteX10" fmla="*/ 33433 w 68103"/>
                <a:gd name="connsiteY10" fmla="*/ 1048 h 34766"/>
                <a:gd name="connsiteX11" fmla="*/ 26670 w 68103"/>
                <a:gd name="connsiteY11" fmla="*/ 0 h 34766"/>
                <a:gd name="connsiteX12" fmla="*/ 17431 w 68103"/>
                <a:gd name="connsiteY12" fmla="*/ 3238 h 34766"/>
                <a:gd name="connsiteX13" fmla="*/ 15335 w 68103"/>
                <a:gd name="connsiteY13" fmla="*/ 8954 h 34766"/>
                <a:gd name="connsiteX14" fmla="*/ 10954 w 68103"/>
                <a:gd name="connsiteY14" fmla="*/ 11144 h 34766"/>
                <a:gd name="connsiteX15" fmla="*/ 4001 w 68103"/>
                <a:gd name="connsiteY15" fmla="*/ 21050 h 34766"/>
                <a:gd name="connsiteX16" fmla="*/ 3620 w 68103"/>
                <a:gd name="connsiteY16" fmla="*/ 20765 h 34766"/>
                <a:gd name="connsiteX17" fmla="*/ 3620 w 68103"/>
                <a:gd name="connsiteY17" fmla="*/ 21050 h 34766"/>
                <a:gd name="connsiteX18" fmla="*/ 0 w 68103"/>
                <a:gd name="connsiteY18" fmla="*/ 24289 h 34766"/>
                <a:gd name="connsiteX19" fmla="*/ 8001 w 68103"/>
                <a:gd name="connsiteY19" fmla="*/ 32004 h 34766"/>
                <a:gd name="connsiteX20" fmla="*/ 12668 w 68103"/>
                <a:gd name="connsiteY20" fmla="*/ 30099 h 34766"/>
                <a:gd name="connsiteX21" fmla="*/ 21431 w 68103"/>
                <a:gd name="connsiteY21" fmla="*/ 34766 h 34766"/>
                <a:gd name="connsiteX22" fmla="*/ 27623 w 68103"/>
                <a:gd name="connsiteY22" fmla="*/ 33338 h 34766"/>
                <a:gd name="connsiteX23" fmla="*/ 32480 w 68103"/>
                <a:gd name="connsiteY23" fmla="*/ 28670 h 34766"/>
                <a:gd name="connsiteX24" fmla="*/ 39529 w 68103"/>
                <a:gd name="connsiteY24" fmla="*/ 32861 h 34766"/>
                <a:gd name="connsiteX25" fmla="*/ 59627 w 68103"/>
                <a:gd name="connsiteY25" fmla="*/ 31718 h 34766"/>
                <a:gd name="connsiteX26" fmla="*/ 68104 w 68103"/>
                <a:gd name="connsiteY26" fmla="*/ 29909 h 34766"/>
                <a:gd name="connsiteX27" fmla="*/ 65342 w 68103"/>
                <a:gd name="connsiteY27" fmla="*/ 24860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103" h="34766">
                  <a:moveTo>
                    <a:pt x="65342" y="24860"/>
                  </a:moveTo>
                  <a:lnTo>
                    <a:pt x="67913" y="22384"/>
                  </a:lnTo>
                  <a:lnTo>
                    <a:pt x="65627" y="18002"/>
                  </a:lnTo>
                  <a:lnTo>
                    <a:pt x="60484" y="19145"/>
                  </a:lnTo>
                  <a:lnTo>
                    <a:pt x="56579" y="14764"/>
                  </a:lnTo>
                  <a:lnTo>
                    <a:pt x="57531" y="12002"/>
                  </a:lnTo>
                  <a:lnTo>
                    <a:pt x="58960" y="7620"/>
                  </a:lnTo>
                  <a:lnTo>
                    <a:pt x="51721" y="4096"/>
                  </a:lnTo>
                  <a:lnTo>
                    <a:pt x="47054" y="7906"/>
                  </a:lnTo>
                  <a:lnTo>
                    <a:pt x="33147" y="5144"/>
                  </a:lnTo>
                  <a:lnTo>
                    <a:pt x="33433" y="1048"/>
                  </a:lnTo>
                  <a:lnTo>
                    <a:pt x="26670" y="0"/>
                  </a:lnTo>
                  <a:lnTo>
                    <a:pt x="17431" y="3238"/>
                  </a:lnTo>
                  <a:lnTo>
                    <a:pt x="15335" y="8954"/>
                  </a:lnTo>
                  <a:lnTo>
                    <a:pt x="10954" y="11144"/>
                  </a:lnTo>
                  <a:lnTo>
                    <a:pt x="4001" y="21050"/>
                  </a:lnTo>
                  <a:lnTo>
                    <a:pt x="3620" y="20765"/>
                  </a:lnTo>
                  <a:lnTo>
                    <a:pt x="3620" y="21050"/>
                  </a:lnTo>
                  <a:lnTo>
                    <a:pt x="0" y="24289"/>
                  </a:lnTo>
                  <a:lnTo>
                    <a:pt x="8001" y="32004"/>
                  </a:lnTo>
                  <a:lnTo>
                    <a:pt x="12668" y="30099"/>
                  </a:lnTo>
                  <a:lnTo>
                    <a:pt x="21431" y="34766"/>
                  </a:lnTo>
                  <a:lnTo>
                    <a:pt x="27623" y="33338"/>
                  </a:lnTo>
                  <a:lnTo>
                    <a:pt x="32480" y="28670"/>
                  </a:lnTo>
                  <a:lnTo>
                    <a:pt x="39529" y="32861"/>
                  </a:lnTo>
                  <a:lnTo>
                    <a:pt x="59627" y="31718"/>
                  </a:lnTo>
                  <a:lnTo>
                    <a:pt x="68104" y="29909"/>
                  </a:lnTo>
                  <a:lnTo>
                    <a:pt x="65342" y="2486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8" name="Freeform: Shape 2738">
              <a:extLst>
                <a:ext uri="{FF2B5EF4-FFF2-40B4-BE49-F238E27FC236}">
                  <a16:creationId xmlns:a16="http://schemas.microsoft.com/office/drawing/2014/main" id="{E0402D6B-FBDA-E695-0928-4E31573371CD}"/>
                </a:ext>
              </a:extLst>
            </p:cNvPr>
            <p:cNvSpPr/>
            <p:nvPr/>
          </p:nvSpPr>
          <p:spPr>
            <a:xfrm>
              <a:off x="2745295" y="4069683"/>
              <a:ext cx="8382" cy="17049"/>
            </a:xfrm>
            <a:custGeom>
              <a:avLst/>
              <a:gdLst>
                <a:gd name="connsiteX0" fmla="*/ 0 w 8382"/>
                <a:gd name="connsiteY0" fmla="*/ 0 h 17049"/>
                <a:gd name="connsiteX1" fmla="*/ 8382 w 8382"/>
                <a:gd name="connsiteY1" fmla="*/ 2572 h 17049"/>
                <a:gd name="connsiteX2" fmla="*/ 0 w 8382"/>
                <a:gd name="connsiteY2" fmla="*/ 17050 h 17049"/>
                <a:gd name="connsiteX3" fmla="*/ 0 w 8382"/>
                <a:gd name="connsiteY3" fmla="*/ 0 h 17049"/>
              </a:gdLst>
              <a:ahLst/>
              <a:cxnLst>
                <a:cxn ang="0">
                  <a:pos x="connsiteX0" y="connsiteY0"/>
                </a:cxn>
                <a:cxn ang="0">
                  <a:pos x="connsiteX1" y="connsiteY1"/>
                </a:cxn>
                <a:cxn ang="0">
                  <a:pos x="connsiteX2" y="connsiteY2"/>
                </a:cxn>
                <a:cxn ang="0">
                  <a:pos x="connsiteX3" y="connsiteY3"/>
                </a:cxn>
              </a:cxnLst>
              <a:rect l="l" t="t" r="r" b="b"/>
              <a:pathLst>
                <a:path w="8382" h="17049">
                  <a:moveTo>
                    <a:pt x="0" y="0"/>
                  </a:moveTo>
                  <a:lnTo>
                    <a:pt x="8382" y="2572"/>
                  </a:lnTo>
                  <a:lnTo>
                    <a:pt x="0" y="17050"/>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49" name="Freeform: Shape 2739">
              <a:extLst>
                <a:ext uri="{FF2B5EF4-FFF2-40B4-BE49-F238E27FC236}">
                  <a16:creationId xmlns:a16="http://schemas.microsoft.com/office/drawing/2014/main" id="{F53F8779-865A-CE1F-1470-D4F222561155}"/>
                </a:ext>
              </a:extLst>
            </p:cNvPr>
            <p:cNvSpPr/>
            <p:nvPr/>
          </p:nvSpPr>
          <p:spPr>
            <a:xfrm>
              <a:off x="3489864" y="4071969"/>
              <a:ext cx="90296" cy="115728"/>
            </a:xfrm>
            <a:custGeom>
              <a:avLst/>
              <a:gdLst>
                <a:gd name="connsiteX0" fmla="*/ 88963 w 90296"/>
                <a:gd name="connsiteY0" fmla="*/ 95726 h 115728"/>
                <a:gd name="connsiteX1" fmla="*/ 87440 w 90296"/>
                <a:gd name="connsiteY1" fmla="*/ 78772 h 115728"/>
                <a:gd name="connsiteX2" fmla="*/ 84582 w 90296"/>
                <a:gd name="connsiteY2" fmla="*/ 73819 h 115728"/>
                <a:gd name="connsiteX3" fmla="*/ 82010 w 90296"/>
                <a:gd name="connsiteY3" fmla="*/ 58769 h 115728"/>
                <a:gd name="connsiteX4" fmla="*/ 76391 w 90296"/>
                <a:gd name="connsiteY4" fmla="*/ 58769 h 115728"/>
                <a:gd name="connsiteX5" fmla="*/ 76391 w 90296"/>
                <a:gd name="connsiteY5" fmla="*/ 62579 h 115728"/>
                <a:gd name="connsiteX6" fmla="*/ 73533 w 90296"/>
                <a:gd name="connsiteY6" fmla="*/ 65913 h 115728"/>
                <a:gd name="connsiteX7" fmla="*/ 73724 w 90296"/>
                <a:gd name="connsiteY7" fmla="*/ 72771 h 115728"/>
                <a:gd name="connsiteX8" fmla="*/ 69913 w 90296"/>
                <a:gd name="connsiteY8" fmla="*/ 75248 h 115728"/>
                <a:gd name="connsiteX9" fmla="*/ 66008 w 90296"/>
                <a:gd name="connsiteY9" fmla="*/ 68104 h 115728"/>
                <a:gd name="connsiteX10" fmla="*/ 64199 w 90296"/>
                <a:gd name="connsiteY10" fmla="*/ 70866 h 115728"/>
                <a:gd name="connsiteX11" fmla="*/ 60103 w 90296"/>
                <a:gd name="connsiteY11" fmla="*/ 60674 h 115728"/>
                <a:gd name="connsiteX12" fmla="*/ 63151 w 90296"/>
                <a:gd name="connsiteY12" fmla="*/ 52197 h 115728"/>
                <a:gd name="connsiteX13" fmla="*/ 74295 w 90296"/>
                <a:gd name="connsiteY13" fmla="*/ 50292 h 115728"/>
                <a:gd name="connsiteX14" fmla="*/ 74581 w 90296"/>
                <a:gd name="connsiteY14" fmla="*/ 45911 h 115728"/>
                <a:gd name="connsiteX15" fmla="*/ 78962 w 90296"/>
                <a:gd name="connsiteY15" fmla="*/ 44863 h 115728"/>
                <a:gd name="connsiteX16" fmla="*/ 80963 w 90296"/>
                <a:gd name="connsiteY16" fmla="*/ 34957 h 115728"/>
                <a:gd name="connsiteX17" fmla="*/ 83820 w 90296"/>
                <a:gd name="connsiteY17" fmla="*/ 37148 h 115728"/>
                <a:gd name="connsiteX18" fmla="*/ 88201 w 90296"/>
                <a:gd name="connsiteY18" fmla="*/ 34100 h 115728"/>
                <a:gd name="connsiteX19" fmla="*/ 79915 w 90296"/>
                <a:gd name="connsiteY19" fmla="*/ 27527 h 115728"/>
                <a:gd name="connsiteX20" fmla="*/ 67818 w 90296"/>
                <a:gd name="connsiteY20" fmla="*/ 29813 h 115728"/>
                <a:gd name="connsiteX21" fmla="*/ 60865 w 90296"/>
                <a:gd name="connsiteY21" fmla="*/ 27051 h 115728"/>
                <a:gd name="connsiteX22" fmla="*/ 45911 w 90296"/>
                <a:gd name="connsiteY22" fmla="*/ 29528 h 115728"/>
                <a:gd name="connsiteX23" fmla="*/ 34290 w 90296"/>
                <a:gd name="connsiteY23" fmla="*/ 25622 h 115728"/>
                <a:gd name="connsiteX24" fmla="*/ 35338 w 90296"/>
                <a:gd name="connsiteY24" fmla="*/ 13335 h 115728"/>
                <a:gd name="connsiteX25" fmla="*/ 30194 w 90296"/>
                <a:gd name="connsiteY25" fmla="*/ 5905 h 115728"/>
                <a:gd name="connsiteX26" fmla="*/ 27622 w 90296"/>
                <a:gd name="connsiteY26" fmla="*/ 11430 h 115728"/>
                <a:gd name="connsiteX27" fmla="*/ 20860 w 90296"/>
                <a:gd name="connsiteY27" fmla="*/ 8382 h 115728"/>
                <a:gd name="connsiteX28" fmla="*/ 16764 w 90296"/>
                <a:gd name="connsiteY28" fmla="*/ 191 h 115728"/>
                <a:gd name="connsiteX29" fmla="*/ 14954 w 90296"/>
                <a:gd name="connsiteY29" fmla="*/ 5905 h 115728"/>
                <a:gd name="connsiteX30" fmla="*/ 7620 w 90296"/>
                <a:gd name="connsiteY30" fmla="*/ 0 h 115728"/>
                <a:gd name="connsiteX31" fmla="*/ 7429 w 90296"/>
                <a:gd name="connsiteY31" fmla="*/ 4286 h 115728"/>
                <a:gd name="connsiteX32" fmla="*/ 3620 w 90296"/>
                <a:gd name="connsiteY32" fmla="*/ 7049 h 115728"/>
                <a:gd name="connsiteX33" fmla="*/ 2858 w 90296"/>
                <a:gd name="connsiteY33" fmla="*/ 14192 h 115728"/>
                <a:gd name="connsiteX34" fmla="*/ 18288 w 90296"/>
                <a:gd name="connsiteY34" fmla="*/ 24860 h 115728"/>
                <a:gd name="connsiteX35" fmla="*/ 18288 w 90296"/>
                <a:gd name="connsiteY35" fmla="*/ 28670 h 115728"/>
                <a:gd name="connsiteX36" fmla="*/ 6667 w 90296"/>
                <a:gd name="connsiteY36" fmla="*/ 28956 h 115728"/>
                <a:gd name="connsiteX37" fmla="*/ 4667 w 90296"/>
                <a:gd name="connsiteY37" fmla="*/ 34957 h 115728"/>
                <a:gd name="connsiteX38" fmla="*/ 0 w 90296"/>
                <a:gd name="connsiteY38" fmla="*/ 33052 h 115728"/>
                <a:gd name="connsiteX39" fmla="*/ 476 w 90296"/>
                <a:gd name="connsiteY39" fmla="*/ 42672 h 115728"/>
                <a:gd name="connsiteX40" fmla="*/ 11335 w 90296"/>
                <a:gd name="connsiteY40" fmla="*/ 46482 h 115728"/>
                <a:gd name="connsiteX41" fmla="*/ 12859 w 90296"/>
                <a:gd name="connsiteY41" fmla="*/ 54102 h 115728"/>
                <a:gd name="connsiteX42" fmla="*/ 9525 w 90296"/>
                <a:gd name="connsiteY42" fmla="*/ 56102 h 115728"/>
                <a:gd name="connsiteX43" fmla="*/ 8763 w 90296"/>
                <a:gd name="connsiteY43" fmla="*/ 60198 h 115728"/>
                <a:gd name="connsiteX44" fmla="*/ 12383 w 90296"/>
                <a:gd name="connsiteY44" fmla="*/ 63437 h 115728"/>
                <a:gd name="connsiteX45" fmla="*/ 11621 w 90296"/>
                <a:gd name="connsiteY45" fmla="*/ 67532 h 115728"/>
                <a:gd name="connsiteX46" fmla="*/ 18002 w 90296"/>
                <a:gd name="connsiteY46" fmla="*/ 69152 h 115728"/>
                <a:gd name="connsiteX47" fmla="*/ 14478 w 90296"/>
                <a:gd name="connsiteY47" fmla="*/ 73533 h 115728"/>
                <a:gd name="connsiteX48" fmla="*/ 18859 w 90296"/>
                <a:gd name="connsiteY48" fmla="*/ 96203 h 115728"/>
                <a:gd name="connsiteX49" fmla="*/ 18859 w 90296"/>
                <a:gd name="connsiteY49" fmla="*/ 96298 h 115728"/>
                <a:gd name="connsiteX50" fmla="*/ 43053 w 90296"/>
                <a:gd name="connsiteY50" fmla="*/ 96774 h 115728"/>
                <a:gd name="connsiteX51" fmla="*/ 49625 w 90296"/>
                <a:gd name="connsiteY51" fmla="*/ 87249 h 115728"/>
                <a:gd name="connsiteX52" fmla="*/ 45434 w 90296"/>
                <a:gd name="connsiteY52" fmla="*/ 69152 h 115728"/>
                <a:gd name="connsiteX53" fmla="*/ 22574 w 90296"/>
                <a:gd name="connsiteY53" fmla="*/ 54007 h 115728"/>
                <a:gd name="connsiteX54" fmla="*/ 48006 w 90296"/>
                <a:gd name="connsiteY54" fmla="*/ 64008 h 115728"/>
                <a:gd name="connsiteX55" fmla="*/ 53150 w 90296"/>
                <a:gd name="connsiteY55" fmla="*/ 79343 h 115728"/>
                <a:gd name="connsiteX56" fmla="*/ 66294 w 90296"/>
                <a:gd name="connsiteY56" fmla="*/ 79058 h 115728"/>
                <a:gd name="connsiteX57" fmla="*/ 71723 w 90296"/>
                <a:gd name="connsiteY57" fmla="*/ 90011 h 115728"/>
                <a:gd name="connsiteX58" fmla="*/ 72200 w 90296"/>
                <a:gd name="connsiteY58" fmla="*/ 92012 h 115728"/>
                <a:gd name="connsiteX59" fmla="*/ 77724 w 90296"/>
                <a:gd name="connsiteY59" fmla="*/ 112490 h 115728"/>
                <a:gd name="connsiteX60" fmla="*/ 80772 w 90296"/>
                <a:gd name="connsiteY60" fmla="*/ 115729 h 115728"/>
                <a:gd name="connsiteX61" fmla="*/ 80963 w 90296"/>
                <a:gd name="connsiteY61" fmla="*/ 108585 h 115728"/>
                <a:gd name="connsiteX62" fmla="*/ 84392 w 90296"/>
                <a:gd name="connsiteY62" fmla="*/ 106680 h 115728"/>
                <a:gd name="connsiteX63" fmla="*/ 90297 w 90296"/>
                <a:gd name="connsiteY63" fmla="*/ 109728 h 115728"/>
                <a:gd name="connsiteX64" fmla="*/ 88963 w 90296"/>
                <a:gd name="connsiteY64" fmla="*/ 95726 h 11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0296" h="115728">
                  <a:moveTo>
                    <a:pt x="88963" y="95726"/>
                  </a:moveTo>
                  <a:lnTo>
                    <a:pt x="87440" y="78772"/>
                  </a:lnTo>
                  <a:lnTo>
                    <a:pt x="84582" y="73819"/>
                  </a:lnTo>
                  <a:lnTo>
                    <a:pt x="82010" y="58769"/>
                  </a:lnTo>
                  <a:lnTo>
                    <a:pt x="76391" y="58769"/>
                  </a:lnTo>
                  <a:lnTo>
                    <a:pt x="76391" y="62579"/>
                  </a:lnTo>
                  <a:lnTo>
                    <a:pt x="73533" y="65913"/>
                  </a:lnTo>
                  <a:lnTo>
                    <a:pt x="73724" y="72771"/>
                  </a:lnTo>
                  <a:lnTo>
                    <a:pt x="69913" y="75248"/>
                  </a:lnTo>
                  <a:lnTo>
                    <a:pt x="66008" y="68104"/>
                  </a:lnTo>
                  <a:lnTo>
                    <a:pt x="64199" y="70866"/>
                  </a:lnTo>
                  <a:lnTo>
                    <a:pt x="60103" y="60674"/>
                  </a:lnTo>
                  <a:lnTo>
                    <a:pt x="63151" y="52197"/>
                  </a:lnTo>
                  <a:lnTo>
                    <a:pt x="74295" y="50292"/>
                  </a:lnTo>
                  <a:lnTo>
                    <a:pt x="74581" y="45911"/>
                  </a:lnTo>
                  <a:lnTo>
                    <a:pt x="78962" y="44863"/>
                  </a:lnTo>
                  <a:lnTo>
                    <a:pt x="80963" y="34957"/>
                  </a:lnTo>
                  <a:lnTo>
                    <a:pt x="83820" y="37148"/>
                  </a:lnTo>
                  <a:lnTo>
                    <a:pt x="88201" y="34100"/>
                  </a:lnTo>
                  <a:lnTo>
                    <a:pt x="79915" y="27527"/>
                  </a:lnTo>
                  <a:lnTo>
                    <a:pt x="67818" y="29813"/>
                  </a:lnTo>
                  <a:lnTo>
                    <a:pt x="60865" y="27051"/>
                  </a:lnTo>
                  <a:lnTo>
                    <a:pt x="45911" y="29528"/>
                  </a:lnTo>
                  <a:lnTo>
                    <a:pt x="34290" y="25622"/>
                  </a:lnTo>
                  <a:lnTo>
                    <a:pt x="35338" y="13335"/>
                  </a:lnTo>
                  <a:lnTo>
                    <a:pt x="30194" y="5905"/>
                  </a:lnTo>
                  <a:lnTo>
                    <a:pt x="27622" y="11430"/>
                  </a:lnTo>
                  <a:lnTo>
                    <a:pt x="20860" y="8382"/>
                  </a:lnTo>
                  <a:lnTo>
                    <a:pt x="16764" y="191"/>
                  </a:lnTo>
                  <a:lnTo>
                    <a:pt x="14954" y="5905"/>
                  </a:lnTo>
                  <a:lnTo>
                    <a:pt x="7620" y="0"/>
                  </a:lnTo>
                  <a:lnTo>
                    <a:pt x="7429" y="4286"/>
                  </a:lnTo>
                  <a:lnTo>
                    <a:pt x="3620" y="7049"/>
                  </a:lnTo>
                  <a:lnTo>
                    <a:pt x="2858" y="14192"/>
                  </a:lnTo>
                  <a:lnTo>
                    <a:pt x="18288" y="24860"/>
                  </a:lnTo>
                  <a:lnTo>
                    <a:pt x="18288" y="28670"/>
                  </a:lnTo>
                  <a:lnTo>
                    <a:pt x="6667" y="28956"/>
                  </a:lnTo>
                  <a:lnTo>
                    <a:pt x="4667" y="34957"/>
                  </a:lnTo>
                  <a:lnTo>
                    <a:pt x="0" y="33052"/>
                  </a:lnTo>
                  <a:lnTo>
                    <a:pt x="476" y="42672"/>
                  </a:lnTo>
                  <a:lnTo>
                    <a:pt x="11335" y="46482"/>
                  </a:lnTo>
                  <a:lnTo>
                    <a:pt x="12859" y="54102"/>
                  </a:lnTo>
                  <a:lnTo>
                    <a:pt x="9525" y="56102"/>
                  </a:lnTo>
                  <a:lnTo>
                    <a:pt x="8763" y="60198"/>
                  </a:lnTo>
                  <a:lnTo>
                    <a:pt x="12383" y="63437"/>
                  </a:lnTo>
                  <a:lnTo>
                    <a:pt x="11621" y="67532"/>
                  </a:lnTo>
                  <a:lnTo>
                    <a:pt x="18002" y="69152"/>
                  </a:lnTo>
                  <a:lnTo>
                    <a:pt x="14478" y="73533"/>
                  </a:lnTo>
                  <a:lnTo>
                    <a:pt x="18859" y="96203"/>
                  </a:lnTo>
                  <a:lnTo>
                    <a:pt x="18859" y="96298"/>
                  </a:lnTo>
                  <a:lnTo>
                    <a:pt x="43053" y="96774"/>
                  </a:lnTo>
                  <a:lnTo>
                    <a:pt x="49625" y="87249"/>
                  </a:lnTo>
                  <a:lnTo>
                    <a:pt x="45434" y="69152"/>
                  </a:lnTo>
                  <a:lnTo>
                    <a:pt x="22574" y="54007"/>
                  </a:lnTo>
                  <a:lnTo>
                    <a:pt x="48006" y="64008"/>
                  </a:lnTo>
                  <a:lnTo>
                    <a:pt x="53150" y="79343"/>
                  </a:lnTo>
                  <a:lnTo>
                    <a:pt x="66294" y="79058"/>
                  </a:lnTo>
                  <a:lnTo>
                    <a:pt x="71723" y="90011"/>
                  </a:lnTo>
                  <a:lnTo>
                    <a:pt x="72200" y="92012"/>
                  </a:lnTo>
                  <a:lnTo>
                    <a:pt x="77724" y="112490"/>
                  </a:lnTo>
                  <a:lnTo>
                    <a:pt x="80772" y="115729"/>
                  </a:lnTo>
                  <a:lnTo>
                    <a:pt x="80963" y="108585"/>
                  </a:lnTo>
                  <a:lnTo>
                    <a:pt x="84392" y="106680"/>
                  </a:lnTo>
                  <a:lnTo>
                    <a:pt x="90297" y="109728"/>
                  </a:lnTo>
                  <a:lnTo>
                    <a:pt x="88963" y="9572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0" name="Freeform: Shape 2740">
              <a:extLst>
                <a:ext uri="{FF2B5EF4-FFF2-40B4-BE49-F238E27FC236}">
                  <a16:creationId xmlns:a16="http://schemas.microsoft.com/office/drawing/2014/main" id="{31F95E59-F9DB-AA85-E86B-EE64CDFABFD6}"/>
                </a:ext>
              </a:extLst>
            </p:cNvPr>
            <p:cNvSpPr/>
            <p:nvPr/>
          </p:nvSpPr>
          <p:spPr>
            <a:xfrm>
              <a:off x="2636138" y="3727354"/>
              <a:ext cx="103441" cy="83058"/>
            </a:xfrm>
            <a:custGeom>
              <a:avLst/>
              <a:gdLst>
                <a:gd name="connsiteX0" fmla="*/ 40767 w 103441"/>
                <a:gd name="connsiteY0" fmla="*/ 66389 h 83058"/>
                <a:gd name="connsiteX1" fmla="*/ 42958 w 103441"/>
                <a:gd name="connsiteY1" fmla="*/ 61817 h 83058"/>
                <a:gd name="connsiteX2" fmla="*/ 58007 w 103441"/>
                <a:gd name="connsiteY2" fmla="*/ 53626 h 83058"/>
                <a:gd name="connsiteX3" fmla="*/ 67247 w 103441"/>
                <a:gd name="connsiteY3" fmla="*/ 60960 h 83058"/>
                <a:gd name="connsiteX4" fmla="*/ 60674 w 103441"/>
                <a:gd name="connsiteY4" fmla="*/ 63627 h 83058"/>
                <a:gd name="connsiteX5" fmla="*/ 65342 w 103441"/>
                <a:gd name="connsiteY5" fmla="*/ 68866 h 83058"/>
                <a:gd name="connsiteX6" fmla="*/ 58674 w 103441"/>
                <a:gd name="connsiteY6" fmla="*/ 72200 h 83058"/>
                <a:gd name="connsiteX7" fmla="*/ 64865 w 103441"/>
                <a:gd name="connsiteY7" fmla="*/ 78010 h 83058"/>
                <a:gd name="connsiteX8" fmla="*/ 67437 w 103441"/>
                <a:gd name="connsiteY8" fmla="*/ 75152 h 83058"/>
                <a:gd name="connsiteX9" fmla="*/ 71247 w 103441"/>
                <a:gd name="connsiteY9" fmla="*/ 83058 h 83058"/>
                <a:gd name="connsiteX10" fmla="*/ 75819 w 103441"/>
                <a:gd name="connsiteY10" fmla="*/ 81915 h 83058"/>
                <a:gd name="connsiteX11" fmla="*/ 76391 w 103441"/>
                <a:gd name="connsiteY11" fmla="*/ 61341 h 83058"/>
                <a:gd name="connsiteX12" fmla="*/ 84868 w 103441"/>
                <a:gd name="connsiteY12" fmla="*/ 66580 h 83058"/>
                <a:gd name="connsiteX13" fmla="*/ 89535 w 103441"/>
                <a:gd name="connsiteY13" fmla="*/ 40672 h 83058"/>
                <a:gd name="connsiteX14" fmla="*/ 103442 w 103441"/>
                <a:gd name="connsiteY14" fmla="*/ 34862 h 83058"/>
                <a:gd name="connsiteX15" fmla="*/ 83344 w 103441"/>
                <a:gd name="connsiteY15" fmla="*/ 22479 h 83058"/>
                <a:gd name="connsiteX16" fmla="*/ 70771 w 103441"/>
                <a:gd name="connsiteY16" fmla="*/ 2381 h 83058"/>
                <a:gd name="connsiteX17" fmla="*/ 70580 w 103441"/>
                <a:gd name="connsiteY17" fmla="*/ 2286 h 83058"/>
                <a:gd name="connsiteX18" fmla="*/ 66294 w 103441"/>
                <a:gd name="connsiteY18" fmla="*/ 8858 h 83058"/>
                <a:gd name="connsiteX19" fmla="*/ 60389 w 103441"/>
                <a:gd name="connsiteY19" fmla="*/ 11335 h 83058"/>
                <a:gd name="connsiteX20" fmla="*/ 57722 w 103441"/>
                <a:gd name="connsiteY20" fmla="*/ 17812 h 83058"/>
                <a:gd name="connsiteX21" fmla="*/ 45815 w 103441"/>
                <a:gd name="connsiteY21" fmla="*/ 16193 h 83058"/>
                <a:gd name="connsiteX22" fmla="*/ 43148 w 103441"/>
                <a:gd name="connsiteY22" fmla="*/ 10382 h 83058"/>
                <a:gd name="connsiteX23" fmla="*/ 33623 w 103441"/>
                <a:gd name="connsiteY23" fmla="*/ 2000 h 83058"/>
                <a:gd name="connsiteX24" fmla="*/ 28861 w 103441"/>
                <a:gd name="connsiteY24" fmla="*/ 0 h 83058"/>
                <a:gd name="connsiteX25" fmla="*/ 22765 w 103441"/>
                <a:gd name="connsiteY25" fmla="*/ 5525 h 83058"/>
                <a:gd name="connsiteX26" fmla="*/ 34481 w 103441"/>
                <a:gd name="connsiteY26" fmla="*/ 15335 h 83058"/>
                <a:gd name="connsiteX27" fmla="*/ 29908 w 103441"/>
                <a:gd name="connsiteY27" fmla="*/ 22384 h 83058"/>
                <a:gd name="connsiteX28" fmla="*/ 24003 w 103441"/>
                <a:gd name="connsiteY28" fmla="*/ 17812 h 83058"/>
                <a:gd name="connsiteX29" fmla="*/ 14573 w 103441"/>
                <a:gd name="connsiteY29" fmla="*/ 18193 h 83058"/>
                <a:gd name="connsiteX30" fmla="*/ 13240 w 103441"/>
                <a:gd name="connsiteY30" fmla="*/ 12192 h 83058"/>
                <a:gd name="connsiteX31" fmla="*/ 6191 w 103441"/>
                <a:gd name="connsiteY31" fmla="*/ 11335 h 83058"/>
                <a:gd name="connsiteX32" fmla="*/ 0 w 103441"/>
                <a:gd name="connsiteY32" fmla="*/ 15335 h 83058"/>
                <a:gd name="connsiteX33" fmla="*/ 0 w 103441"/>
                <a:gd name="connsiteY33" fmla="*/ 15335 h 83058"/>
                <a:gd name="connsiteX34" fmla="*/ 4763 w 103441"/>
                <a:gd name="connsiteY34" fmla="*/ 17812 h 83058"/>
                <a:gd name="connsiteX35" fmla="*/ 3239 w 103441"/>
                <a:gd name="connsiteY35" fmla="*/ 21431 h 83058"/>
                <a:gd name="connsiteX36" fmla="*/ 11811 w 103441"/>
                <a:gd name="connsiteY36" fmla="*/ 26384 h 83058"/>
                <a:gd name="connsiteX37" fmla="*/ 7144 w 103441"/>
                <a:gd name="connsiteY37" fmla="*/ 31242 h 83058"/>
                <a:gd name="connsiteX38" fmla="*/ 18764 w 103441"/>
                <a:gd name="connsiteY38" fmla="*/ 40672 h 83058"/>
                <a:gd name="connsiteX39" fmla="*/ 17717 w 103441"/>
                <a:gd name="connsiteY39" fmla="*/ 44863 h 83058"/>
                <a:gd name="connsiteX40" fmla="*/ 12764 w 103441"/>
                <a:gd name="connsiteY40" fmla="*/ 47530 h 83058"/>
                <a:gd name="connsiteX41" fmla="*/ 24575 w 103441"/>
                <a:gd name="connsiteY41" fmla="*/ 55150 h 83058"/>
                <a:gd name="connsiteX42" fmla="*/ 32575 w 103441"/>
                <a:gd name="connsiteY42" fmla="*/ 56483 h 83058"/>
                <a:gd name="connsiteX43" fmla="*/ 28289 w 103441"/>
                <a:gd name="connsiteY43" fmla="*/ 60198 h 83058"/>
                <a:gd name="connsiteX44" fmla="*/ 31623 w 103441"/>
                <a:gd name="connsiteY44" fmla="*/ 62770 h 83058"/>
                <a:gd name="connsiteX45" fmla="*/ 28575 w 103441"/>
                <a:gd name="connsiteY45" fmla="*/ 66199 h 83058"/>
                <a:gd name="connsiteX46" fmla="*/ 29908 w 103441"/>
                <a:gd name="connsiteY46" fmla="*/ 72962 h 83058"/>
                <a:gd name="connsiteX47" fmla="*/ 36481 w 103441"/>
                <a:gd name="connsiteY47" fmla="*/ 66104 h 83058"/>
                <a:gd name="connsiteX48" fmla="*/ 40767 w 103441"/>
                <a:gd name="connsiteY48" fmla="*/ 66389 h 8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3441" h="83058">
                  <a:moveTo>
                    <a:pt x="40767" y="66389"/>
                  </a:moveTo>
                  <a:lnTo>
                    <a:pt x="42958" y="61817"/>
                  </a:lnTo>
                  <a:lnTo>
                    <a:pt x="58007" y="53626"/>
                  </a:lnTo>
                  <a:lnTo>
                    <a:pt x="67247" y="60960"/>
                  </a:lnTo>
                  <a:lnTo>
                    <a:pt x="60674" y="63627"/>
                  </a:lnTo>
                  <a:lnTo>
                    <a:pt x="65342" y="68866"/>
                  </a:lnTo>
                  <a:lnTo>
                    <a:pt x="58674" y="72200"/>
                  </a:lnTo>
                  <a:lnTo>
                    <a:pt x="64865" y="78010"/>
                  </a:lnTo>
                  <a:lnTo>
                    <a:pt x="67437" y="75152"/>
                  </a:lnTo>
                  <a:lnTo>
                    <a:pt x="71247" y="83058"/>
                  </a:lnTo>
                  <a:lnTo>
                    <a:pt x="75819" y="81915"/>
                  </a:lnTo>
                  <a:lnTo>
                    <a:pt x="76391" y="61341"/>
                  </a:lnTo>
                  <a:lnTo>
                    <a:pt x="84868" y="66580"/>
                  </a:lnTo>
                  <a:lnTo>
                    <a:pt x="89535" y="40672"/>
                  </a:lnTo>
                  <a:lnTo>
                    <a:pt x="103442" y="34862"/>
                  </a:lnTo>
                  <a:lnTo>
                    <a:pt x="83344" y="22479"/>
                  </a:lnTo>
                  <a:lnTo>
                    <a:pt x="70771" y="2381"/>
                  </a:lnTo>
                  <a:lnTo>
                    <a:pt x="70580" y="2286"/>
                  </a:lnTo>
                  <a:lnTo>
                    <a:pt x="66294" y="8858"/>
                  </a:lnTo>
                  <a:lnTo>
                    <a:pt x="60389" y="11335"/>
                  </a:lnTo>
                  <a:lnTo>
                    <a:pt x="57722" y="17812"/>
                  </a:lnTo>
                  <a:lnTo>
                    <a:pt x="45815" y="16193"/>
                  </a:lnTo>
                  <a:lnTo>
                    <a:pt x="43148" y="10382"/>
                  </a:lnTo>
                  <a:lnTo>
                    <a:pt x="33623" y="2000"/>
                  </a:lnTo>
                  <a:lnTo>
                    <a:pt x="28861" y="0"/>
                  </a:lnTo>
                  <a:lnTo>
                    <a:pt x="22765" y="5525"/>
                  </a:lnTo>
                  <a:lnTo>
                    <a:pt x="34481" y="15335"/>
                  </a:lnTo>
                  <a:lnTo>
                    <a:pt x="29908" y="22384"/>
                  </a:lnTo>
                  <a:lnTo>
                    <a:pt x="24003" y="17812"/>
                  </a:lnTo>
                  <a:lnTo>
                    <a:pt x="14573" y="18193"/>
                  </a:lnTo>
                  <a:lnTo>
                    <a:pt x="13240" y="12192"/>
                  </a:lnTo>
                  <a:lnTo>
                    <a:pt x="6191" y="11335"/>
                  </a:lnTo>
                  <a:lnTo>
                    <a:pt x="0" y="15335"/>
                  </a:lnTo>
                  <a:lnTo>
                    <a:pt x="0" y="15335"/>
                  </a:lnTo>
                  <a:lnTo>
                    <a:pt x="4763" y="17812"/>
                  </a:lnTo>
                  <a:lnTo>
                    <a:pt x="3239" y="21431"/>
                  </a:lnTo>
                  <a:lnTo>
                    <a:pt x="11811" y="26384"/>
                  </a:lnTo>
                  <a:lnTo>
                    <a:pt x="7144" y="31242"/>
                  </a:lnTo>
                  <a:lnTo>
                    <a:pt x="18764" y="40672"/>
                  </a:lnTo>
                  <a:lnTo>
                    <a:pt x="17717" y="44863"/>
                  </a:lnTo>
                  <a:lnTo>
                    <a:pt x="12764" y="47530"/>
                  </a:lnTo>
                  <a:lnTo>
                    <a:pt x="24575" y="55150"/>
                  </a:lnTo>
                  <a:lnTo>
                    <a:pt x="32575" y="56483"/>
                  </a:lnTo>
                  <a:lnTo>
                    <a:pt x="28289" y="60198"/>
                  </a:lnTo>
                  <a:lnTo>
                    <a:pt x="31623" y="62770"/>
                  </a:lnTo>
                  <a:lnTo>
                    <a:pt x="28575" y="66199"/>
                  </a:lnTo>
                  <a:lnTo>
                    <a:pt x="29908" y="72962"/>
                  </a:lnTo>
                  <a:lnTo>
                    <a:pt x="36481" y="66104"/>
                  </a:lnTo>
                  <a:lnTo>
                    <a:pt x="40767" y="6638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1" name="Freeform: Shape 2741">
              <a:extLst>
                <a:ext uri="{FF2B5EF4-FFF2-40B4-BE49-F238E27FC236}">
                  <a16:creationId xmlns:a16="http://schemas.microsoft.com/office/drawing/2014/main" id="{4B966C05-75FE-F964-38AE-7855393E4933}"/>
                </a:ext>
              </a:extLst>
            </p:cNvPr>
            <p:cNvSpPr/>
            <p:nvPr/>
          </p:nvSpPr>
          <p:spPr>
            <a:xfrm>
              <a:off x="2630138" y="3777170"/>
              <a:ext cx="29051" cy="24669"/>
            </a:xfrm>
            <a:custGeom>
              <a:avLst/>
              <a:gdLst>
                <a:gd name="connsiteX0" fmla="*/ 25336 w 29051"/>
                <a:gd name="connsiteY0" fmla="*/ 16669 h 24669"/>
                <a:gd name="connsiteX1" fmla="*/ 26384 w 29051"/>
                <a:gd name="connsiteY1" fmla="*/ 13430 h 24669"/>
                <a:gd name="connsiteX2" fmla="*/ 21812 w 29051"/>
                <a:gd name="connsiteY2" fmla="*/ 11811 h 24669"/>
                <a:gd name="connsiteX3" fmla="*/ 21812 w 29051"/>
                <a:gd name="connsiteY3" fmla="*/ 6763 h 24669"/>
                <a:gd name="connsiteX4" fmla="*/ 15050 w 29051"/>
                <a:gd name="connsiteY4" fmla="*/ 8382 h 24669"/>
                <a:gd name="connsiteX5" fmla="*/ 9715 w 29051"/>
                <a:gd name="connsiteY5" fmla="*/ 5429 h 24669"/>
                <a:gd name="connsiteX6" fmla="*/ 7620 w 29051"/>
                <a:gd name="connsiteY6" fmla="*/ 2191 h 24669"/>
                <a:gd name="connsiteX7" fmla="*/ 2000 w 29051"/>
                <a:gd name="connsiteY7" fmla="*/ 0 h 24669"/>
                <a:gd name="connsiteX8" fmla="*/ 0 w 29051"/>
                <a:gd name="connsiteY8" fmla="*/ 4381 h 24669"/>
                <a:gd name="connsiteX9" fmla="*/ 3429 w 29051"/>
                <a:gd name="connsiteY9" fmla="*/ 6667 h 24669"/>
                <a:gd name="connsiteX10" fmla="*/ 4953 w 29051"/>
                <a:gd name="connsiteY10" fmla="*/ 11811 h 24669"/>
                <a:gd name="connsiteX11" fmla="*/ 12192 w 29051"/>
                <a:gd name="connsiteY11" fmla="*/ 16002 h 24669"/>
                <a:gd name="connsiteX12" fmla="*/ 13621 w 29051"/>
                <a:gd name="connsiteY12" fmla="*/ 20479 h 24669"/>
                <a:gd name="connsiteX13" fmla="*/ 27622 w 29051"/>
                <a:gd name="connsiteY13" fmla="*/ 24670 h 24669"/>
                <a:gd name="connsiteX14" fmla="*/ 29051 w 29051"/>
                <a:gd name="connsiteY14" fmla="*/ 23717 h 24669"/>
                <a:gd name="connsiteX15" fmla="*/ 25336 w 29051"/>
                <a:gd name="connsiteY15" fmla="*/ 16669 h 2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051" h="24669">
                  <a:moveTo>
                    <a:pt x="25336" y="16669"/>
                  </a:moveTo>
                  <a:lnTo>
                    <a:pt x="26384" y="13430"/>
                  </a:lnTo>
                  <a:lnTo>
                    <a:pt x="21812" y="11811"/>
                  </a:lnTo>
                  <a:lnTo>
                    <a:pt x="21812" y="6763"/>
                  </a:lnTo>
                  <a:lnTo>
                    <a:pt x="15050" y="8382"/>
                  </a:lnTo>
                  <a:lnTo>
                    <a:pt x="9715" y="5429"/>
                  </a:lnTo>
                  <a:lnTo>
                    <a:pt x="7620" y="2191"/>
                  </a:lnTo>
                  <a:lnTo>
                    <a:pt x="2000" y="0"/>
                  </a:lnTo>
                  <a:lnTo>
                    <a:pt x="0" y="4381"/>
                  </a:lnTo>
                  <a:lnTo>
                    <a:pt x="3429" y="6667"/>
                  </a:lnTo>
                  <a:lnTo>
                    <a:pt x="4953" y="11811"/>
                  </a:lnTo>
                  <a:lnTo>
                    <a:pt x="12192" y="16002"/>
                  </a:lnTo>
                  <a:lnTo>
                    <a:pt x="13621" y="20479"/>
                  </a:lnTo>
                  <a:lnTo>
                    <a:pt x="27622" y="24670"/>
                  </a:lnTo>
                  <a:lnTo>
                    <a:pt x="29051" y="23717"/>
                  </a:lnTo>
                  <a:lnTo>
                    <a:pt x="25336" y="1666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2" name="Freeform: Shape 2742">
              <a:extLst>
                <a:ext uri="{FF2B5EF4-FFF2-40B4-BE49-F238E27FC236}">
                  <a16:creationId xmlns:a16="http://schemas.microsoft.com/office/drawing/2014/main" id="{5A3E1D5C-46D3-56E0-C261-6DD4B84167EB}"/>
                </a:ext>
              </a:extLst>
            </p:cNvPr>
            <p:cNvSpPr/>
            <p:nvPr/>
          </p:nvSpPr>
          <p:spPr>
            <a:xfrm>
              <a:off x="2605373" y="3742690"/>
              <a:ext cx="63341" cy="58197"/>
            </a:xfrm>
            <a:custGeom>
              <a:avLst/>
              <a:gdLst>
                <a:gd name="connsiteX0" fmla="*/ 5620 w 63341"/>
                <a:gd name="connsiteY0" fmla="*/ 15145 h 58197"/>
                <a:gd name="connsiteX1" fmla="*/ 2286 w 63341"/>
                <a:gd name="connsiteY1" fmla="*/ 21622 h 58197"/>
                <a:gd name="connsiteX2" fmla="*/ 3620 w 63341"/>
                <a:gd name="connsiteY2" fmla="*/ 28861 h 58197"/>
                <a:gd name="connsiteX3" fmla="*/ 10858 w 63341"/>
                <a:gd name="connsiteY3" fmla="*/ 31432 h 58197"/>
                <a:gd name="connsiteX4" fmla="*/ 16192 w 63341"/>
                <a:gd name="connsiteY4" fmla="*/ 30671 h 58197"/>
                <a:gd name="connsiteX5" fmla="*/ 26765 w 63341"/>
                <a:gd name="connsiteY5" fmla="*/ 34480 h 58197"/>
                <a:gd name="connsiteX6" fmla="*/ 32385 w 63341"/>
                <a:gd name="connsiteY6" fmla="*/ 36671 h 58197"/>
                <a:gd name="connsiteX7" fmla="*/ 34480 w 63341"/>
                <a:gd name="connsiteY7" fmla="*/ 39909 h 58197"/>
                <a:gd name="connsiteX8" fmla="*/ 39815 w 63341"/>
                <a:gd name="connsiteY8" fmla="*/ 42863 h 58197"/>
                <a:gd name="connsiteX9" fmla="*/ 46577 w 63341"/>
                <a:gd name="connsiteY9" fmla="*/ 41243 h 58197"/>
                <a:gd name="connsiteX10" fmla="*/ 46577 w 63341"/>
                <a:gd name="connsiteY10" fmla="*/ 46291 h 58197"/>
                <a:gd name="connsiteX11" fmla="*/ 51149 w 63341"/>
                <a:gd name="connsiteY11" fmla="*/ 47911 h 58197"/>
                <a:gd name="connsiteX12" fmla="*/ 50101 w 63341"/>
                <a:gd name="connsiteY12" fmla="*/ 51149 h 58197"/>
                <a:gd name="connsiteX13" fmla="*/ 53816 w 63341"/>
                <a:gd name="connsiteY13" fmla="*/ 58198 h 58197"/>
                <a:gd name="connsiteX14" fmla="*/ 53816 w 63341"/>
                <a:gd name="connsiteY14" fmla="*/ 58198 h 58197"/>
                <a:gd name="connsiteX15" fmla="*/ 56388 w 63341"/>
                <a:gd name="connsiteY15" fmla="*/ 56483 h 58197"/>
                <a:gd name="connsiteX16" fmla="*/ 60674 w 63341"/>
                <a:gd name="connsiteY16" fmla="*/ 57626 h 58197"/>
                <a:gd name="connsiteX17" fmla="*/ 59341 w 63341"/>
                <a:gd name="connsiteY17" fmla="*/ 50863 h 58197"/>
                <a:gd name="connsiteX18" fmla="*/ 62389 w 63341"/>
                <a:gd name="connsiteY18" fmla="*/ 47434 h 58197"/>
                <a:gd name="connsiteX19" fmla="*/ 59055 w 63341"/>
                <a:gd name="connsiteY19" fmla="*/ 44863 h 58197"/>
                <a:gd name="connsiteX20" fmla="*/ 63341 w 63341"/>
                <a:gd name="connsiteY20" fmla="*/ 41148 h 58197"/>
                <a:gd name="connsiteX21" fmla="*/ 55340 w 63341"/>
                <a:gd name="connsiteY21" fmla="*/ 39814 h 58197"/>
                <a:gd name="connsiteX22" fmla="*/ 43529 w 63341"/>
                <a:gd name="connsiteY22" fmla="*/ 32194 h 58197"/>
                <a:gd name="connsiteX23" fmla="*/ 48482 w 63341"/>
                <a:gd name="connsiteY23" fmla="*/ 29527 h 58197"/>
                <a:gd name="connsiteX24" fmla="*/ 49530 w 63341"/>
                <a:gd name="connsiteY24" fmla="*/ 25336 h 58197"/>
                <a:gd name="connsiteX25" fmla="*/ 37909 w 63341"/>
                <a:gd name="connsiteY25" fmla="*/ 15907 h 58197"/>
                <a:gd name="connsiteX26" fmla="*/ 42577 w 63341"/>
                <a:gd name="connsiteY26" fmla="*/ 11049 h 58197"/>
                <a:gd name="connsiteX27" fmla="*/ 34004 w 63341"/>
                <a:gd name="connsiteY27" fmla="*/ 6096 h 58197"/>
                <a:gd name="connsiteX28" fmla="*/ 35528 w 63341"/>
                <a:gd name="connsiteY28" fmla="*/ 2476 h 58197"/>
                <a:gd name="connsiteX29" fmla="*/ 30766 w 63341"/>
                <a:gd name="connsiteY29" fmla="*/ 0 h 58197"/>
                <a:gd name="connsiteX30" fmla="*/ 30766 w 63341"/>
                <a:gd name="connsiteY30" fmla="*/ 0 h 58197"/>
                <a:gd name="connsiteX31" fmla="*/ 27718 w 63341"/>
                <a:gd name="connsiteY31" fmla="*/ 2096 h 58197"/>
                <a:gd name="connsiteX32" fmla="*/ 14478 w 63341"/>
                <a:gd name="connsiteY32" fmla="*/ 1619 h 58197"/>
                <a:gd name="connsiteX33" fmla="*/ 286 w 63341"/>
                <a:gd name="connsiteY33" fmla="*/ 4477 h 58197"/>
                <a:gd name="connsiteX34" fmla="*/ 0 w 63341"/>
                <a:gd name="connsiteY34" fmla="*/ 9620 h 58197"/>
                <a:gd name="connsiteX35" fmla="*/ 5620 w 63341"/>
                <a:gd name="connsiteY35" fmla="*/ 15145 h 5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341" h="58197">
                  <a:moveTo>
                    <a:pt x="5620" y="15145"/>
                  </a:moveTo>
                  <a:lnTo>
                    <a:pt x="2286" y="21622"/>
                  </a:lnTo>
                  <a:lnTo>
                    <a:pt x="3620" y="28861"/>
                  </a:lnTo>
                  <a:lnTo>
                    <a:pt x="10858" y="31432"/>
                  </a:lnTo>
                  <a:lnTo>
                    <a:pt x="16192" y="30671"/>
                  </a:lnTo>
                  <a:lnTo>
                    <a:pt x="26765" y="34480"/>
                  </a:lnTo>
                  <a:lnTo>
                    <a:pt x="32385" y="36671"/>
                  </a:lnTo>
                  <a:lnTo>
                    <a:pt x="34480" y="39909"/>
                  </a:lnTo>
                  <a:lnTo>
                    <a:pt x="39815" y="42863"/>
                  </a:lnTo>
                  <a:lnTo>
                    <a:pt x="46577" y="41243"/>
                  </a:lnTo>
                  <a:lnTo>
                    <a:pt x="46577" y="46291"/>
                  </a:lnTo>
                  <a:lnTo>
                    <a:pt x="51149" y="47911"/>
                  </a:lnTo>
                  <a:lnTo>
                    <a:pt x="50101" y="51149"/>
                  </a:lnTo>
                  <a:lnTo>
                    <a:pt x="53816" y="58198"/>
                  </a:lnTo>
                  <a:lnTo>
                    <a:pt x="53816" y="58198"/>
                  </a:lnTo>
                  <a:lnTo>
                    <a:pt x="56388" y="56483"/>
                  </a:lnTo>
                  <a:lnTo>
                    <a:pt x="60674" y="57626"/>
                  </a:lnTo>
                  <a:lnTo>
                    <a:pt x="59341" y="50863"/>
                  </a:lnTo>
                  <a:lnTo>
                    <a:pt x="62389" y="47434"/>
                  </a:lnTo>
                  <a:lnTo>
                    <a:pt x="59055" y="44863"/>
                  </a:lnTo>
                  <a:lnTo>
                    <a:pt x="63341" y="41148"/>
                  </a:lnTo>
                  <a:lnTo>
                    <a:pt x="55340" y="39814"/>
                  </a:lnTo>
                  <a:lnTo>
                    <a:pt x="43529" y="32194"/>
                  </a:lnTo>
                  <a:lnTo>
                    <a:pt x="48482" y="29527"/>
                  </a:lnTo>
                  <a:lnTo>
                    <a:pt x="49530" y="25336"/>
                  </a:lnTo>
                  <a:lnTo>
                    <a:pt x="37909" y="15907"/>
                  </a:lnTo>
                  <a:lnTo>
                    <a:pt x="42577" y="11049"/>
                  </a:lnTo>
                  <a:lnTo>
                    <a:pt x="34004" y="6096"/>
                  </a:lnTo>
                  <a:lnTo>
                    <a:pt x="35528" y="2476"/>
                  </a:lnTo>
                  <a:lnTo>
                    <a:pt x="30766" y="0"/>
                  </a:lnTo>
                  <a:lnTo>
                    <a:pt x="30766" y="0"/>
                  </a:lnTo>
                  <a:lnTo>
                    <a:pt x="27718" y="2096"/>
                  </a:lnTo>
                  <a:lnTo>
                    <a:pt x="14478" y="1619"/>
                  </a:lnTo>
                  <a:lnTo>
                    <a:pt x="286" y="4477"/>
                  </a:lnTo>
                  <a:lnTo>
                    <a:pt x="0" y="9620"/>
                  </a:lnTo>
                  <a:lnTo>
                    <a:pt x="5620" y="1514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3" name="Freeform: Shape 2743">
              <a:extLst>
                <a:ext uri="{FF2B5EF4-FFF2-40B4-BE49-F238E27FC236}">
                  <a16:creationId xmlns:a16="http://schemas.microsoft.com/office/drawing/2014/main" id="{7D222F05-BFAB-A34E-CA16-EDEE42893AE5}"/>
                </a:ext>
              </a:extLst>
            </p:cNvPr>
            <p:cNvSpPr/>
            <p:nvPr/>
          </p:nvSpPr>
          <p:spPr>
            <a:xfrm>
              <a:off x="2943129" y="3808507"/>
              <a:ext cx="285273" cy="204406"/>
            </a:xfrm>
            <a:custGeom>
              <a:avLst/>
              <a:gdLst>
                <a:gd name="connsiteX0" fmla="*/ 285274 w 285273"/>
                <a:gd name="connsiteY0" fmla="*/ 28004 h 204406"/>
                <a:gd name="connsiteX1" fmla="*/ 278416 w 285273"/>
                <a:gd name="connsiteY1" fmla="*/ 22289 h 204406"/>
                <a:gd name="connsiteX2" fmla="*/ 260223 w 285273"/>
                <a:gd name="connsiteY2" fmla="*/ 26575 h 204406"/>
                <a:gd name="connsiteX3" fmla="*/ 263176 w 285273"/>
                <a:gd name="connsiteY3" fmla="*/ 20479 h 204406"/>
                <a:gd name="connsiteX4" fmla="*/ 250603 w 285273"/>
                <a:gd name="connsiteY4" fmla="*/ 21336 h 204406"/>
                <a:gd name="connsiteX5" fmla="*/ 239459 w 285273"/>
                <a:gd name="connsiteY5" fmla="*/ 32480 h 204406"/>
                <a:gd name="connsiteX6" fmla="*/ 232124 w 285273"/>
                <a:gd name="connsiteY6" fmla="*/ 32480 h 204406"/>
                <a:gd name="connsiteX7" fmla="*/ 220218 w 285273"/>
                <a:gd name="connsiteY7" fmla="*/ 39243 h 204406"/>
                <a:gd name="connsiteX8" fmla="*/ 216598 w 285273"/>
                <a:gd name="connsiteY8" fmla="*/ 28766 h 204406"/>
                <a:gd name="connsiteX9" fmla="*/ 219646 w 285273"/>
                <a:gd name="connsiteY9" fmla="*/ 10763 h 204406"/>
                <a:gd name="connsiteX10" fmla="*/ 212979 w 285273"/>
                <a:gd name="connsiteY10" fmla="*/ 12668 h 204406"/>
                <a:gd name="connsiteX11" fmla="*/ 212979 w 285273"/>
                <a:gd name="connsiteY11" fmla="*/ 2953 h 204406"/>
                <a:gd name="connsiteX12" fmla="*/ 202406 w 285273"/>
                <a:gd name="connsiteY12" fmla="*/ 0 h 204406"/>
                <a:gd name="connsiteX13" fmla="*/ 197834 w 285273"/>
                <a:gd name="connsiteY13" fmla="*/ 7049 h 204406"/>
                <a:gd name="connsiteX14" fmla="*/ 190309 w 285273"/>
                <a:gd name="connsiteY14" fmla="*/ 10954 h 204406"/>
                <a:gd name="connsiteX15" fmla="*/ 193548 w 285273"/>
                <a:gd name="connsiteY15" fmla="*/ 16764 h 204406"/>
                <a:gd name="connsiteX16" fmla="*/ 190500 w 285273"/>
                <a:gd name="connsiteY16" fmla="*/ 21336 h 204406"/>
                <a:gd name="connsiteX17" fmla="*/ 179927 w 285273"/>
                <a:gd name="connsiteY17" fmla="*/ 19622 h 204406"/>
                <a:gd name="connsiteX18" fmla="*/ 175641 w 285273"/>
                <a:gd name="connsiteY18" fmla="*/ 23146 h 204406"/>
                <a:gd name="connsiteX19" fmla="*/ 176975 w 285273"/>
                <a:gd name="connsiteY19" fmla="*/ 28004 h 204406"/>
                <a:gd name="connsiteX20" fmla="*/ 173355 w 285273"/>
                <a:gd name="connsiteY20" fmla="*/ 32480 h 204406"/>
                <a:gd name="connsiteX21" fmla="*/ 165068 w 285273"/>
                <a:gd name="connsiteY21" fmla="*/ 26099 h 204406"/>
                <a:gd name="connsiteX22" fmla="*/ 148590 w 285273"/>
                <a:gd name="connsiteY22" fmla="*/ 36671 h 204406"/>
                <a:gd name="connsiteX23" fmla="*/ 143637 w 285273"/>
                <a:gd name="connsiteY23" fmla="*/ 28766 h 204406"/>
                <a:gd name="connsiteX24" fmla="*/ 133731 w 285273"/>
                <a:gd name="connsiteY24" fmla="*/ 29147 h 204406"/>
                <a:gd name="connsiteX25" fmla="*/ 128778 w 285273"/>
                <a:gd name="connsiteY25" fmla="*/ 24670 h 204406"/>
                <a:gd name="connsiteX26" fmla="*/ 119158 w 285273"/>
                <a:gd name="connsiteY26" fmla="*/ 25718 h 204406"/>
                <a:gd name="connsiteX27" fmla="*/ 114586 w 285273"/>
                <a:gd name="connsiteY27" fmla="*/ 26099 h 204406"/>
                <a:gd name="connsiteX28" fmla="*/ 102679 w 285273"/>
                <a:gd name="connsiteY28" fmla="*/ 19622 h 204406"/>
                <a:gd name="connsiteX29" fmla="*/ 101346 w 285273"/>
                <a:gd name="connsiteY29" fmla="*/ 27623 h 204406"/>
                <a:gd name="connsiteX30" fmla="*/ 86201 w 285273"/>
                <a:gd name="connsiteY30" fmla="*/ 29147 h 204406"/>
                <a:gd name="connsiteX31" fmla="*/ 81248 w 285273"/>
                <a:gd name="connsiteY31" fmla="*/ 38291 h 204406"/>
                <a:gd name="connsiteX32" fmla="*/ 81534 w 285273"/>
                <a:gd name="connsiteY32" fmla="*/ 45244 h 204406"/>
                <a:gd name="connsiteX33" fmla="*/ 70390 w 285273"/>
                <a:gd name="connsiteY33" fmla="*/ 55721 h 204406"/>
                <a:gd name="connsiteX34" fmla="*/ 51530 w 285273"/>
                <a:gd name="connsiteY34" fmla="*/ 59817 h 204406"/>
                <a:gd name="connsiteX35" fmla="*/ 51530 w 285273"/>
                <a:gd name="connsiteY35" fmla="*/ 67247 h 204406"/>
                <a:gd name="connsiteX36" fmla="*/ 35338 w 285273"/>
                <a:gd name="connsiteY36" fmla="*/ 76105 h 204406"/>
                <a:gd name="connsiteX37" fmla="*/ 31528 w 285273"/>
                <a:gd name="connsiteY37" fmla="*/ 67628 h 204406"/>
                <a:gd name="connsiteX38" fmla="*/ 22860 w 285273"/>
                <a:gd name="connsiteY38" fmla="*/ 68294 h 204406"/>
                <a:gd name="connsiteX39" fmla="*/ 15240 w 285273"/>
                <a:gd name="connsiteY39" fmla="*/ 64675 h 204406"/>
                <a:gd name="connsiteX40" fmla="*/ 13811 w 285273"/>
                <a:gd name="connsiteY40" fmla="*/ 64294 h 204406"/>
                <a:gd name="connsiteX41" fmla="*/ 10001 w 285273"/>
                <a:gd name="connsiteY41" fmla="*/ 74771 h 204406"/>
                <a:gd name="connsiteX42" fmla="*/ 10954 w 285273"/>
                <a:gd name="connsiteY42" fmla="*/ 82201 h 204406"/>
                <a:gd name="connsiteX43" fmla="*/ 4286 w 285273"/>
                <a:gd name="connsiteY43" fmla="*/ 88583 h 204406"/>
                <a:gd name="connsiteX44" fmla="*/ 7906 w 285273"/>
                <a:gd name="connsiteY44" fmla="*/ 93441 h 204406"/>
                <a:gd name="connsiteX45" fmla="*/ 0 w 285273"/>
                <a:gd name="connsiteY45" fmla="*/ 97155 h 204406"/>
                <a:gd name="connsiteX46" fmla="*/ 0 w 285273"/>
                <a:gd name="connsiteY46" fmla="*/ 108395 h 204406"/>
                <a:gd name="connsiteX47" fmla="*/ 8287 w 285273"/>
                <a:gd name="connsiteY47" fmla="*/ 111728 h 204406"/>
                <a:gd name="connsiteX48" fmla="*/ 1333 w 285273"/>
                <a:gd name="connsiteY48" fmla="*/ 121444 h 204406"/>
                <a:gd name="connsiteX49" fmla="*/ 6667 w 285273"/>
                <a:gd name="connsiteY49" fmla="*/ 140113 h 204406"/>
                <a:gd name="connsiteX50" fmla="*/ 6667 w 285273"/>
                <a:gd name="connsiteY50" fmla="*/ 156591 h 204406"/>
                <a:gd name="connsiteX51" fmla="*/ 23813 w 285273"/>
                <a:gd name="connsiteY51" fmla="*/ 159163 h 204406"/>
                <a:gd name="connsiteX52" fmla="*/ 25813 w 285273"/>
                <a:gd name="connsiteY52" fmla="*/ 171164 h 204406"/>
                <a:gd name="connsiteX53" fmla="*/ 6953 w 285273"/>
                <a:gd name="connsiteY53" fmla="*/ 192977 h 204406"/>
                <a:gd name="connsiteX54" fmla="*/ 38957 w 285273"/>
                <a:gd name="connsiteY54" fmla="*/ 202787 h 204406"/>
                <a:gd name="connsiteX55" fmla="*/ 60769 w 285273"/>
                <a:gd name="connsiteY55" fmla="*/ 199454 h 204406"/>
                <a:gd name="connsiteX56" fmla="*/ 72295 w 285273"/>
                <a:gd name="connsiteY56" fmla="*/ 204407 h 204406"/>
                <a:gd name="connsiteX57" fmla="*/ 75057 w 285273"/>
                <a:gd name="connsiteY57" fmla="*/ 198977 h 204406"/>
                <a:gd name="connsiteX58" fmla="*/ 91630 w 285273"/>
                <a:gd name="connsiteY58" fmla="*/ 199454 h 204406"/>
                <a:gd name="connsiteX59" fmla="*/ 115919 w 285273"/>
                <a:gd name="connsiteY59" fmla="*/ 191548 h 204406"/>
                <a:gd name="connsiteX60" fmla="*/ 114490 w 285273"/>
                <a:gd name="connsiteY60" fmla="*/ 185357 h 204406"/>
                <a:gd name="connsiteX61" fmla="*/ 116586 w 285273"/>
                <a:gd name="connsiteY61" fmla="*/ 168878 h 204406"/>
                <a:gd name="connsiteX62" fmla="*/ 128016 w 285273"/>
                <a:gd name="connsiteY62" fmla="*/ 159353 h 204406"/>
                <a:gd name="connsiteX63" fmla="*/ 130397 w 285273"/>
                <a:gd name="connsiteY63" fmla="*/ 162973 h 204406"/>
                <a:gd name="connsiteX64" fmla="*/ 145351 w 285273"/>
                <a:gd name="connsiteY64" fmla="*/ 160306 h 204406"/>
                <a:gd name="connsiteX65" fmla="*/ 140017 w 285273"/>
                <a:gd name="connsiteY65" fmla="*/ 155829 h 204406"/>
                <a:gd name="connsiteX66" fmla="*/ 151543 w 285273"/>
                <a:gd name="connsiteY66" fmla="*/ 149066 h 204406"/>
                <a:gd name="connsiteX67" fmla="*/ 161068 w 285273"/>
                <a:gd name="connsiteY67" fmla="*/ 148685 h 204406"/>
                <a:gd name="connsiteX68" fmla="*/ 165830 w 285273"/>
                <a:gd name="connsiteY68" fmla="*/ 156496 h 204406"/>
                <a:gd name="connsiteX69" fmla="*/ 174688 w 285273"/>
                <a:gd name="connsiteY69" fmla="*/ 146495 h 204406"/>
                <a:gd name="connsiteX70" fmla="*/ 173069 w 285273"/>
                <a:gd name="connsiteY70" fmla="*/ 135255 h 204406"/>
                <a:gd name="connsiteX71" fmla="*/ 179356 w 285273"/>
                <a:gd name="connsiteY71" fmla="*/ 121063 h 204406"/>
                <a:gd name="connsiteX72" fmla="*/ 188119 w 285273"/>
                <a:gd name="connsiteY72" fmla="*/ 122682 h 204406"/>
                <a:gd name="connsiteX73" fmla="*/ 193834 w 285273"/>
                <a:gd name="connsiteY73" fmla="*/ 114014 h 204406"/>
                <a:gd name="connsiteX74" fmla="*/ 185738 w 285273"/>
                <a:gd name="connsiteY74" fmla="*/ 106490 h 204406"/>
                <a:gd name="connsiteX75" fmla="*/ 186500 w 285273"/>
                <a:gd name="connsiteY75" fmla="*/ 98489 h 204406"/>
                <a:gd name="connsiteX76" fmla="*/ 198787 w 285273"/>
                <a:gd name="connsiteY76" fmla="*/ 100108 h 204406"/>
                <a:gd name="connsiteX77" fmla="*/ 210217 w 285273"/>
                <a:gd name="connsiteY77" fmla="*/ 99822 h 204406"/>
                <a:gd name="connsiteX78" fmla="*/ 210693 w 285273"/>
                <a:gd name="connsiteY78" fmla="*/ 92297 h 204406"/>
                <a:gd name="connsiteX79" fmla="*/ 207359 w 285273"/>
                <a:gd name="connsiteY79" fmla="*/ 88964 h 204406"/>
                <a:gd name="connsiteX80" fmla="*/ 221551 w 285273"/>
                <a:gd name="connsiteY80" fmla="*/ 74771 h 204406"/>
                <a:gd name="connsiteX81" fmla="*/ 218599 w 285273"/>
                <a:gd name="connsiteY81" fmla="*/ 70580 h 204406"/>
                <a:gd name="connsiteX82" fmla="*/ 219646 w 285273"/>
                <a:gd name="connsiteY82" fmla="*/ 64008 h 204406"/>
                <a:gd name="connsiteX83" fmla="*/ 211360 w 285273"/>
                <a:gd name="connsiteY83" fmla="*/ 54578 h 204406"/>
                <a:gd name="connsiteX84" fmla="*/ 228886 w 285273"/>
                <a:gd name="connsiteY84" fmla="*/ 42577 h 204406"/>
                <a:gd name="connsiteX85" fmla="*/ 247174 w 285273"/>
                <a:gd name="connsiteY85" fmla="*/ 38005 h 204406"/>
                <a:gd name="connsiteX86" fmla="*/ 257365 w 285273"/>
                <a:gd name="connsiteY86" fmla="*/ 38195 h 204406"/>
                <a:gd name="connsiteX87" fmla="*/ 267652 w 285273"/>
                <a:gd name="connsiteY87" fmla="*/ 38291 h 204406"/>
                <a:gd name="connsiteX88" fmla="*/ 278035 w 285273"/>
                <a:gd name="connsiteY88" fmla="*/ 34004 h 204406"/>
                <a:gd name="connsiteX89" fmla="*/ 276320 w 285273"/>
                <a:gd name="connsiteY89" fmla="*/ 31147 h 204406"/>
                <a:gd name="connsiteX90" fmla="*/ 285274 w 285273"/>
                <a:gd name="connsiteY90" fmla="*/ 28004 h 20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85273" h="204406">
                  <a:moveTo>
                    <a:pt x="285274" y="28004"/>
                  </a:moveTo>
                  <a:lnTo>
                    <a:pt x="278416" y="22289"/>
                  </a:lnTo>
                  <a:lnTo>
                    <a:pt x="260223" y="26575"/>
                  </a:lnTo>
                  <a:lnTo>
                    <a:pt x="263176" y="20479"/>
                  </a:lnTo>
                  <a:lnTo>
                    <a:pt x="250603" y="21336"/>
                  </a:lnTo>
                  <a:lnTo>
                    <a:pt x="239459" y="32480"/>
                  </a:lnTo>
                  <a:lnTo>
                    <a:pt x="232124" y="32480"/>
                  </a:lnTo>
                  <a:lnTo>
                    <a:pt x="220218" y="39243"/>
                  </a:lnTo>
                  <a:lnTo>
                    <a:pt x="216598" y="28766"/>
                  </a:lnTo>
                  <a:lnTo>
                    <a:pt x="219646" y="10763"/>
                  </a:lnTo>
                  <a:lnTo>
                    <a:pt x="212979" y="12668"/>
                  </a:lnTo>
                  <a:lnTo>
                    <a:pt x="212979" y="2953"/>
                  </a:lnTo>
                  <a:lnTo>
                    <a:pt x="202406" y="0"/>
                  </a:lnTo>
                  <a:lnTo>
                    <a:pt x="197834" y="7049"/>
                  </a:lnTo>
                  <a:lnTo>
                    <a:pt x="190309" y="10954"/>
                  </a:lnTo>
                  <a:lnTo>
                    <a:pt x="193548" y="16764"/>
                  </a:lnTo>
                  <a:lnTo>
                    <a:pt x="190500" y="21336"/>
                  </a:lnTo>
                  <a:lnTo>
                    <a:pt x="179927" y="19622"/>
                  </a:lnTo>
                  <a:lnTo>
                    <a:pt x="175641" y="23146"/>
                  </a:lnTo>
                  <a:lnTo>
                    <a:pt x="176975" y="28004"/>
                  </a:lnTo>
                  <a:lnTo>
                    <a:pt x="173355" y="32480"/>
                  </a:lnTo>
                  <a:lnTo>
                    <a:pt x="165068" y="26099"/>
                  </a:lnTo>
                  <a:lnTo>
                    <a:pt x="148590" y="36671"/>
                  </a:lnTo>
                  <a:lnTo>
                    <a:pt x="143637" y="28766"/>
                  </a:lnTo>
                  <a:lnTo>
                    <a:pt x="133731" y="29147"/>
                  </a:lnTo>
                  <a:lnTo>
                    <a:pt x="128778" y="24670"/>
                  </a:lnTo>
                  <a:lnTo>
                    <a:pt x="119158" y="25718"/>
                  </a:lnTo>
                  <a:lnTo>
                    <a:pt x="114586" y="26099"/>
                  </a:lnTo>
                  <a:lnTo>
                    <a:pt x="102679" y="19622"/>
                  </a:lnTo>
                  <a:lnTo>
                    <a:pt x="101346" y="27623"/>
                  </a:lnTo>
                  <a:lnTo>
                    <a:pt x="86201" y="29147"/>
                  </a:lnTo>
                  <a:lnTo>
                    <a:pt x="81248" y="38291"/>
                  </a:lnTo>
                  <a:lnTo>
                    <a:pt x="81534" y="45244"/>
                  </a:lnTo>
                  <a:lnTo>
                    <a:pt x="70390" y="55721"/>
                  </a:lnTo>
                  <a:lnTo>
                    <a:pt x="51530" y="59817"/>
                  </a:lnTo>
                  <a:lnTo>
                    <a:pt x="51530" y="67247"/>
                  </a:lnTo>
                  <a:lnTo>
                    <a:pt x="35338" y="76105"/>
                  </a:lnTo>
                  <a:lnTo>
                    <a:pt x="31528" y="67628"/>
                  </a:lnTo>
                  <a:lnTo>
                    <a:pt x="22860" y="68294"/>
                  </a:lnTo>
                  <a:lnTo>
                    <a:pt x="15240" y="64675"/>
                  </a:lnTo>
                  <a:lnTo>
                    <a:pt x="13811" y="64294"/>
                  </a:lnTo>
                  <a:lnTo>
                    <a:pt x="10001" y="74771"/>
                  </a:lnTo>
                  <a:lnTo>
                    <a:pt x="10954" y="82201"/>
                  </a:lnTo>
                  <a:lnTo>
                    <a:pt x="4286" y="88583"/>
                  </a:lnTo>
                  <a:lnTo>
                    <a:pt x="7906" y="93441"/>
                  </a:lnTo>
                  <a:lnTo>
                    <a:pt x="0" y="97155"/>
                  </a:lnTo>
                  <a:lnTo>
                    <a:pt x="0" y="108395"/>
                  </a:lnTo>
                  <a:lnTo>
                    <a:pt x="8287" y="111728"/>
                  </a:lnTo>
                  <a:lnTo>
                    <a:pt x="1333" y="121444"/>
                  </a:lnTo>
                  <a:lnTo>
                    <a:pt x="6667" y="140113"/>
                  </a:lnTo>
                  <a:lnTo>
                    <a:pt x="6667" y="156591"/>
                  </a:lnTo>
                  <a:lnTo>
                    <a:pt x="23813" y="159163"/>
                  </a:lnTo>
                  <a:lnTo>
                    <a:pt x="25813" y="171164"/>
                  </a:lnTo>
                  <a:lnTo>
                    <a:pt x="6953" y="192977"/>
                  </a:lnTo>
                  <a:lnTo>
                    <a:pt x="38957" y="202787"/>
                  </a:lnTo>
                  <a:lnTo>
                    <a:pt x="60769" y="199454"/>
                  </a:lnTo>
                  <a:lnTo>
                    <a:pt x="72295" y="204407"/>
                  </a:lnTo>
                  <a:lnTo>
                    <a:pt x="75057" y="198977"/>
                  </a:lnTo>
                  <a:lnTo>
                    <a:pt x="91630" y="199454"/>
                  </a:lnTo>
                  <a:lnTo>
                    <a:pt x="115919" y="191548"/>
                  </a:lnTo>
                  <a:lnTo>
                    <a:pt x="114490" y="185357"/>
                  </a:lnTo>
                  <a:lnTo>
                    <a:pt x="116586" y="168878"/>
                  </a:lnTo>
                  <a:lnTo>
                    <a:pt x="128016" y="159353"/>
                  </a:lnTo>
                  <a:lnTo>
                    <a:pt x="130397" y="162973"/>
                  </a:lnTo>
                  <a:lnTo>
                    <a:pt x="145351" y="160306"/>
                  </a:lnTo>
                  <a:lnTo>
                    <a:pt x="140017" y="155829"/>
                  </a:lnTo>
                  <a:lnTo>
                    <a:pt x="151543" y="149066"/>
                  </a:lnTo>
                  <a:lnTo>
                    <a:pt x="161068" y="148685"/>
                  </a:lnTo>
                  <a:lnTo>
                    <a:pt x="165830" y="156496"/>
                  </a:lnTo>
                  <a:lnTo>
                    <a:pt x="174688" y="146495"/>
                  </a:lnTo>
                  <a:lnTo>
                    <a:pt x="173069" y="135255"/>
                  </a:lnTo>
                  <a:lnTo>
                    <a:pt x="179356" y="121063"/>
                  </a:lnTo>
                  <a:lnTo>
                    <a:pt x="188119" y="122682"/>
                  </a:lnTo>
                  <a:lnTo>
                    <a:pt x="193834" y="114014"/>
                  </a:lnTo>
                  <a:lnTo>
                    <a:pt x="185738" y="106490"/>
                  </a:lnTo>
                  <a:lnTo>
                    <a:pt x="186500" y="98489"/>
                  </a:lnTo>
                  <a:lnTo>
                    <a:pt x="198787" y="100108"/>
                  </a:lnTo>
                  <a:lnTo>
                    <a:pt x="210217" y="99822"/>
                  </a:lnTo>
                  <a:lnTo>
                    <a:pt x="210693" y="92297"/>
                  </a:lnTo>
                  <a:lnTo>
                    <a:pt x="207359" y="88964"/>
                  </a:lnTo>
                  <a:lnTo>
                    <a:pt x="221551" y="74771"/>
                  </a:lnTo>
                  <a:lnTo>
                    <a:pt x="218599" y="70580"/>
                  </a:lnTo>
                  <a:lnTo>
                    <a:pt x="219646" y="64008"/>
                  </a:lnTo>
                  <a:lnTo>
                    <a:pt x="211360" y="54578"/>
                  </a:lnTo>
                  <a:lnTo>
                    <a:pt x="228886" y="42577"/>
                  </a:lnTo>
                  <a:lnTo>
                    <a:pt x="247174" y="38005"/>
                  </a:lnTo>
                  <a:lnTo>
                    <a:pt x="257365" y="38195"/>
                  </a:lnTo>
                  <a:lnTo>
                    <a:pt x="267652" y="38291"/>
                  </a:lnTo>
                  <a:lnTo>
                    <a:pt x="278035" y="34004"/>
                  </a:lnTo>
                  <a:lnTo>
                    <a:pt x="276320" y="31147"/>
                  </a:lnTo>
                  <a:lnTo>
                    <a:pt x="285274" y="2800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4" name="Freeform: Shape 2744">
              <a:extLst>
                <a:ext uri="{FF2B5EF4-FFF2-40B4-BE49-F238E27FC236}">
                  <a16:creationId xmlns:a16="http://schemas.microsoft.com/office/drawing/2014/main" id="{554B8804-DE20-146D-8EAF-C98EDC73CE79}"/>
                </a:ext>
              </a:extLst>
            </p:cNvPr>
            <p:cNvSpPr/>
            <p:nvPr/>
          </p:nvSpPr>
          <p:spPr>
            <a:xfrm>
              <a:off x="2244852" y="4921313"/>
              <a:ext cx="154876" cy="140303"/>
            </a:xfrm>
            <a:custGeom>
              <a:avLst/>
              <a:gdLst>
                <a:gd name="connsiteX0" fmla="*/ 140113 w 154876"/>
                <a:gd name="connsiteY0" fmla="*/ 111919 h 140303"/>
                <a:gd name="connsiteX1" fmla="*/ 143446 w 154876"/>
                <a:gd name="connsiteY1" fmla="*/ 107823 h 140303"/>
                <a:gd name="connsiteX2" fmla="*/ 142208 w 154876"/>
                <a:gd name="connsiteY2" fmla="*/ 99822 h 140303"/>
                <a:gd name="connsiteX3" fmla="*/ 147352 w 154876"/>
                <a:gd name="connsiteY3" fmla="*/ 99822 h 140303"/>
                <a:gd name="connsiteX4" fmla="*/ 154019 w 154876"/>
                <a:gd name="connsiteY4" fmla="*/ 88678 h 140303"/>
                <a:gd name="connsiteX5" fmla="*/ 154019 w 154876"/>
                <a:gd name="connsiteY5" fmla="*/ 83439 h 140303"/>
                <a:gd name="connsiteX6" fmla="*/ 148876 w 154876"/>
                <a:gd name="connsiteY6" fmla="*/ 78962 h 140303"/>
                <a:gd name="connsiteX7" fmla="*/ 150971 w 154876"/>
                <a:gd name="connsiteY7" fmla="*/ 70009 h 140303"/>
                <a:gd name="connsiteX8" fmla="*/ 146875 w 154876"/>
                <a:gd name="connsiteY8" fmla="*/ 68389 h 140303"/>
                <a:gd name="connsiteX9" fmla="*/ 146875 w 154876"/>
                <a:gd name="connsiteY9" fmla="*/ 63913 h 140303"/>
                <a:gd name="connsiteX10" fmla="*/ 152495 w 154876"/>
                <a:gd name="connsiteY10" fmla="*/ 63341 h 140303"/>
                <a:gd name="connsiteX11" fmla="*/ 150400 w 154876"/>
                <a:gd name="connsiteY11" fmla="*/ 58674 h 140303"/>
                <a:gd name="connsiteX12" fmla="*/ 154877 w 154876"/>
                <a:gd name="connsiteY12" fmla="*/ 56769 h 140303"/>
                <a:gd name="connsiteX13" fmla="*/ 152495 w 154876"/>
                <a:gd name="connsiteY13" fmla="*/ 51816 h 140303"/>
                <a:gd name="connsiteX14" fmla="*/ 154591 w 154876"/>
                <a:gd name="connsiteY14" fmla="*/ 40767 h 140303"/>
                <a:gd name="connsiteX15" fmla="*/ 152019 w 154876"/>
                <a:gd name="connsiteY15" fmla="*/ 37814 h 140303"/>
                <a:gd name="connsiteX16" fmla="*/ 153829 w 154876"/>
                <a:gd name="connsiteY16" fmla="*/ 34099 h 140303"/>
                <a:gd name="connsiteX17" fmla="*/ 150400 w 154876"/>
                <a:gd name="connsiteY17" fmla="*/ 27051 h 140303"/>
                <a:gd name="connsiteX18" fmla="*/ 154591 w 154876"/>
                <a:gd name="connsiteY18" fmla="*/ 21717 h 140303"/>
                <a:gd name="connsiteX19" fmla="*/ 147828 w 154876"/>
                <a:gd name="connsiteY19" fmla="*/ 21431 h 140303"/>
                <a:gd name="connsiteX20" fmla="*/ 147066 w 154876"/>
                <a:gd name="connsiteY20" fmla="*/ 18860 h 140303"/>
                <a:gd name="connsiteX21" fmla="*/ 138589 w 154876"/>
                <a:gd name="connsiteY21" fmla="*/ 15145 h 140303"/>
                <a:gd name="connsiteX22" fmla="*/ 132398 w 154876"/>
                <a:gd name="connsiteY22" fmla="*/ 16954 h 140303"/>
                <a:gd name="connsiteX23" fmla="*/ 128302 w 154876"/>
                <a:gd name="connsiteY23" fmla="*/ 11716 h 140303"/>
                <a:gd name="connsiteX24" fmla="*/ 121825 w 154876"/>
                <a:gd name="connsiteY24" fmla="*/ 11430 h 140303"/>
                <a:gd name="connsiteX25" fmla="*/ 118681 w 154876"/>
                <a:gd name="connsiteY25" fmla="*/ 8001 h 140303"/>
                <a:gd name="connsiteX26" fmla="*/ 102203 w 154876"/>
                <a:gd name="connsiteY26" fmla="*/ 7525 h 140303"/>
                <a:gd name="connsiteX27" fmla="*/ 101917 w 154876"/>
                <a:gd name="connsiteY27" fmla="*/ 381 h 140303"/>
                <a:gd name="connsiteX28" fmla="*/ 88011 w 154876"/>
                <a:gd name="connsiteY28" fmla="*/ 0 h 140303"/>
                <a:gd name="connsiteX29" fmla="*/ 70961 w 154876"/>
                <a:gd name="connsiteY29" fmla="*/ 7525 h 140303"/>
                <a:gd name="connsiteX30" fmla="*/ 69437 w 154876"/>
                <a:gd name="connsiteY30" fmla="*/ 18574 h 140303"/>
                <a:gd name="connsiteX31" fmla="*/ 49721 w 154876"/>
                <a:gd name="connsiteY31" fmla="*/ 26479 h 140303"/>
                <a:gd name="connsiteX32" fmla="*/ 37719 w 154876"/>
                <a:gd name="connsiteY32" fmla="*/ 45053 h 140303"/>
                <a:gd name="connsiteX33" fmla="*/ 29242 w 154876"/>
                <a:gd name="connsiteY33" fmla="*/ 49816 h 140303"/>
                <a:gd name="connsiteX34" fmla="*/ 19526 w 154876"/>
                <a:gd name="connsiteY34" fmla="*/ 43910 h 140303"/>
                <a:gd name="connsiteX35" fmla="*/ 15621 w 154876"/>
                <a:gd name="connsiteY35" fmla="*/ 48578 h 140303"/>
                <a:gd name="connsiteX36" fmla="*/ 9430 w 154876"/>
                <a:gd name="connsiteY36" fmla="*/ 43910 h 140303"/>
                <a:gd name="connsiteX37" fmla="*/ 0 w 154876"/>
                <a:gd name="connsiteY37" fmla="*/ 45053 h 140303"/>
                <a:gd name="connsiteX38" fmla="*/ 12954 w 154876"/>
                <a:gd name="connsiteY38" fmla="*/ 66389 h 140303"/>
                <a:gd name="connsiteX39" fmla="*/ 15240 w 154876"/>
                <a:gd name="connsiteY39" fmla="*/ 77914 h 140303"/>
                <a:gd name="connsiteX40" fmla="*/ 37338 w 154876"/>
                <a:gd name="connsiteY40" fmla="*/ 88963 h 140303"/>
                <a:gd name="connsiteX41" fmla="*/ 38862 w 154876"/>
                <a:gd name="connsiteY41" fmla="*/ 98203 h 140303"/>
                <a:gd name="connsiteX42" fmla="*/ 48196 w 154876"/>
                <a:gd name="connsiteY42" fmla="*/ 99060 h 140303"/>
                <a:gd name="connsiteX43" fmla="*/ 47435 w 154876"/>
                <a:gd name="connsiteY43" fmla="*/ 110585 h 140303"/>
                <a:gd name="connsiteX44" fmla="*/ 53150 w 154876"/>
                <a:gd name="connsiteY44" fmla="*/ 115062 h 140303"/>
                <a:gd name="connsiteX45" fmla="*/ 55150 w 154876"/>
                <a:gd name="connsiteY45" fmla="*/ 122015 h 140303"/>
                <a:gd name="connsiteX46" fmla="*/ 75629 w 154876"/>
                <a:gd name="connsiteY46" fmla="*/ 124492 h 140303"/>
                <a:gd name="connsiteX47" fmla="*/ 74486 w 154876"/>
                <a:gd name="connsiteY47" fmla="*/ 128588 h 140303"/>
                <a:gd name="connsiteX48" fmla="*/ 82201 w 154876"/>
                <a:gd name="connsiteY48" fmla="*/ 134303 h 140303"/>
                <a:gd name="connsiteX49" fmla="*/ 88678 w 154876"/>
                <a:gd name="connsiteY49" fmla="*/ 132969 h 140303"/>
                <a:gd name="connsiteX50" fmla="*/ 99060 w 154876"/>
                <a:gd name="connsiteY50" fmla="*/ 137636 h 140303"/>
                <a:gd name="connsiteX51" fmla="*/ 115443 w 154876"/>
                <a:gd name="connsiteY51" fmla="*/ 136779 h 140303"/>
                <a:gd name="connsiteX52" fmla="*/ 118777 w 154876"/>
                <a:gd name="connsiteY52" fmla="*/ 140303 h 140303"/>
                <a:gd name="connsiteX53" fmla="*/ 141923 w 154876"/>
                <a:gd name="connsiteY53" fmla="*/ 116586 h 140303"/>
                <a:gd name="connsiteX54" fmla="*/ 140113 w 154876"/>
                <a:gd name="connsiteY54" fmla="*/ 111919 h 14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4876" h="140303">
                  <a:moveTo>
                    <a:pt x="140113" y="111919"/>
                  </a:moveTo>
                  <a:lnTo>
                    <a:pt x="143446" y="107823"/>
                  </a:lnTo>
                  <a:lnTo>
                    <a:pt x="142208" y="99822"/>
                  </a:lnTo>
                  <a:lnTo>
                    <a:pt x="147352" y="99822"/>
                  </a:lnTo>
                  <a:lnTo>
                    <a:pt x="154019" y="88678"/>
                  </a:lnTo>
                  <a:lnTo>
                    <a:pt x="154019" y="83439"/>
                  </a:lnTo>
                  <a:lnTo>
                    <a:pt x="148876" y="78962"/>
                  </a:lnTo>
                  <a:lnTo>
                    <a:pt x="150971" y="70009"/>
                  </a:lnTo>
                  <a:lnTo>
                    <a:pt x="146875" y="68389"/>
                  </a:lnTo>
                  <a:lnTo>
                    <a:pt x="146875" y="63913"/>
                  </a:lnTo>
                  <a:lnTo>
                    <a:pt x="152495" y="63341"/>
                  </a:lnTo>
                  <a:lnTo>
                    <a:pt x="150400" y="58674"/>
                  </a:lnTo>
                  <a:lnTo>
                    <a:pt x="154877" y="56769"/>
                  </a:lnTo>
                  <a:lnTo>
                    <a:pt x="152495" y="51816"/>
                  </a:lnTo>
                  <a:lnTo>
                    <a:pt x="154591" y="40767"/>
                  </a:lnTo>
                  <a:lnTo>
                    <a:pt x="152019" y="37814"/>
                  </a:lnTo>
                  <a:lnTo>
                    <a:pt x="153829" y="34099"/>
                  </a:lnTo>
                  <a:lnTo>
                    <a:pt x="150400" y="27051"/>
                  </a:lnTo>
                  <a:lnTo>
                    <a:pt x="154591" y="21717"/>
                  </a:lnTo>
                  <a:lnTo>
                    <a:pt x="147828" y="21431"/>
                  </a:lnTo>
                  <a:lnTo>
                    <a:pt x="147066" y="18860"/>
                  </a:lnTo>
                  <a:lnTo>
                    <a:pt x="138589" y="15145"/>
                  </a:lnTo>
                  <a:lnTo>
                    <a:pt x="132398" y="16954"/>
                  </a:lnTo>
                  <a:lnTo>
                    <a:pt x="128302" y="11716"/>
                  </a:lnTo>
                  <a:lnTo>
                    <a:pt x="121825" y="11430"/>
                  </a:lnTo>
                  <a:lnTo>
                    <a:pt x="118681" y="8001"/>
                  </a:lnTo>
                  <a:lnTo>
                    <a:pt x="102203" y="7525"/>
                  </a:lnTo>
                  <a:lnTo>
                    <a:pt x="101917" y="381"/>
                  </a:lnTo>
                  <a:lnTo>
                    <a:pt x="88011" y="0"/>
                  </a:lnTo>
                  <a:lnTo>
                    <a:pt x="70961" y="7525"/>
                  </a:lnTo>
                  <a:lnTo>
                    <a:pt x="69437" y="18574"/>
                  </a:lnTo>
                  <a:lnTo>
                    <a:pt x="49721" y="26479"/>
                  </a:lnTo>
                  <a:lnTo>
                    <a:pt x="37719" y="45053"/>
                  </a:lnTo>
                  <a:lnTo>
                    <a:pt x="29242" y="49816"/>
                  </a:lnTo>
                  <a:lnTo>
                    <a:pt x="19526" y="43910"/>
                  </a:lnTo>
                  <a:lnTo>
                    <a:pt x="15621" y="48578"/>
                  </a:lnTo>
                  <a:lnTo>
                    <a:pt x="9430" y="43910"/>
                  </a:lnTo>
                  <a:lnTo>
                    <a:pt x="0" y="45053"/>
                  </a:lnTo>
                  <a:lnTo>
                    <a:pt x="12954" y="66389"/>
                  </a:lnTo>
                  <a:lnTo>
                    <a:pt x="15240" y="77914"/>
                  </a:lnTo>
                  <a:lnTo>
                    <a:pt x="37338" y="88963"/>
                  </a:lnTo>
                  <a:lnTo>
                    <a:pt x="38862" y="98203"/>
                  </a:lnTo>
                  <a:lnTo>
                    <a:pt x="48196" y="99060"/>
                  </a:lnTo>
                  <a:lnTo>
                    <a:pt x="47435" y="110585"/>
                  </a:lnTo>
                  <a:lnTo>
                    <a:pt x="53150" y="115062"/>
                  </a:lnTo>
                  <a:lnTo>
                    <a:pt x="55150" y="122015"/>
                  </a:lnTo>
                  <a:lnTo>
                    <a:pt x="75629" y="124492"/>
                  </a:lnTo>
                  <a:lnTo>
                    <a:pt x="74486" y="128588"/>
                  </a:lnTo>
                  <a:lnTo>
                    <a:pt x="82201" y="134303"/>
                  </a:lnTo>
                  <a:lnTo>
                    <a:pt x="88678" y="132969"/>
                  </a:lnTo>
                  <a:lnTo>
                    <a:pt x="99060" y="137636"/>
                  </a:lnTo>
                  <a:lnTo>
                    <a:pt x="115443" y="136779"/>
                  </a:lnTo>
                  <a:lnTo>
                    <a:pt x="118777" y="140303"/>
                  </a:lnTo>
                  <a:lnTo>
                    <a:pt x="141923" y="116586"/>
                  </a:lnTo>
                  <a:lnTo>
                    <a:pt x="140113" y="11191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5" name="Freeform: Shape 2745">
              <a:extLst>
                <a:ext uri="{FF2B5EF4-FFF2-40B4-BE49-F238E27FC236}">
                  <a16:creationId xmlns:a16="http://schemas.microsoft.com/office/drawing/2014/main" id="{D4B3C5A8-1728-909A-911D-4066A9FE6BD6}"/>
                </a:ext>
              </a:extLst>
            </p:cNvPr>
            <p:cNvSpPr/>
            <p:nvPr/>
          </p:nvSpPr>
          <p:spPr>
            <a:xfrm>
              <a:off x="2179605" y="4771866"/>
              <a:ext cx="231838" cy="199263"/>
            </a:xfrm>
            <a:custGeom>
              <a:avLst/>
              <a:gdLst>
                <a:gd name="connsiteX0" fmla="*/ 41434 w 231838"/>
                <a:gd name="connsiteY0" fmla="*/ 63246 h 199263"/>
                <a:gd name="connsiteX1" fmla="*/ 38386 w 231838"/>
                <a:gd name="connsiteY1" fmla="*/ 77914 h 199263"/>
                <a:gd name="connsiteX2" fmla="*/ 42196 w 231838"/>
                <a:gd name="connsiteY2" fmla="*/ 83439 h 199263"/>
                <a:gd name="connsiteX3" fmla="*/ 37909 w 231838"/>
                <a:gd name="connsiteY3" fmla="*/ 89345 h 199263"/>
                <a:gd name="connsiteX4" fmla="*/ 41053 w 231838"/>
                <a:gd name="connsiteY4" fmla="*/ 96488 h 199263"/>
                <a:gd name="connsiteX5" fmla="*/ 0 w 231838"/>
                <a:gd name="connsiteY5" fmla="*/ 96488 h 199263"/>
                <a:gd name="connsiteX6" fmla="*/ 0 w 231838"/>
                <a:gd name="connsiteY6" fmla="*/ 164878 h 199263"/>
                <a:gd name="connsiteX7" fmla="*/ 19812 w 231838"/>
                <a:gd name="connsiteY7" fmla="*/ 182689 h 199263"/>
                <a:gd name="connsiteX8" fmla="*/ 31909 w 231838"/>
                <a:gd name="connsiteY8" fmla="*/ 188404 h 199263"/>
                <a:gd name="connsiteX9" fmla="*/ 43720 w 231838"/>
                <a:gd name="connsiteY9" fmla="*/ 185833 h 199263"/>
                <a:gd name="connsiteX10" fmla="*/ 61150 w 231838"/>
                <a:gd name="connsiteY10" fmla="*/ 187833 h 199263"/>
                <a:gd name="connsiteX11" fmla="*/ 65246 w 231838"/>
                <a:gd name="connsiteY11" fmla="*/ 194501 h 199263"/>
                <a:gd name="connsiteX12" fmla="*/ 74676 w 231838"/>
                <a:gd name="connsiteY12" fmla="*/ 193357 h 199263"/>
                <a:gd name="connsiteX13" fmla="*/ 80867 w 231838"/>
                <a:gd name="connsiteY13" fmla="*/ 198025 h 199263"/>
                <a:gd name="connsiteX14" fmla="*/ 84773 w 231838"/>
                <a:gd name="connsiteY14" fmla="*/ 193357 h 199263"/>
                <a:gd name="connsiteX15" fmla="*/ 94488 w 231838"/>
                <a:gd name="connsiteY15" fmla="*/ 199263 h 199263"/>
                <a:gd name="connsiteX16" fmla="*/ 102965 w 231838"/>
                <a:gd name="connsiteY16" fmla="*/ 194501 h 199263"/>
                <a:gd name="connsiteX17" fmla="*/ 114967 w 231838"/>
                <a:gd name="connsiteY17" fmla="*/ 175927 h 199263"/>
                <a:gd name="connsiteX18" fmla="*/ 134684 w 231838"/>
                <a:gd name="connsiteY18" fmla="*/ 168021 h 199263"/>
                <a:gd name="connsiteX19" fmla="*/ 136207 w 231838"/>
                <a:gd name="connsiteY19" fmla="*/ 156972 h 199263"/>
                <a:gd name="connsiteX20" fmla="*/ 153257 w 231838"/>
                <a:gd name="connsiteY20" fmla="*/ 149447 h 199263"/>
                <a:gd name="connsiteX21" fmla="*/ 167164 w 231838"/>
                <a:gd name="connsiteY21" fmla="*/ 149828 h 199263"/>
                <a:gd name="connsiteX22" fmla="*/ 162782 w 231838"/>
                <a:gd name="connsiteY22" fmla="*/ 136398 h 199263"/>
                <a:gd name="connsiteX23" fmla="*/ 184690 w 231838"/>
                <a:gd name="connsiteY23" fmla="*/ 129826 h 199263"/>
                <a:gd name="connsiteX24" fmla="*/ 219456 w 231838"/>
                <a:gd name="connsiteY24" fmla="*/ 117634 h 199263"/>
                <a:gd name="connsiteX25" fmla="*/ 219456 w 231838"/>
                <a:gd name="connsiteY25" fmla="*/ 117634 h 199263"/>
                <a:gd name="connsiteX26" fmla="*/ 212503 w 231838"/>
                <a:gd name="connsiteY26" fmla="*/ 107918 h 199263"/>
                <a:gd name="connsiteX27" fmla="*/ 218313 w 231838"/>
                <a:gd name="connsiteY27" fmla="*/ 100394 h 199263"/>
                <a:gd name="connsiteX28" fmla="*/ 218313 w 231838"/>
                <a:gd name="connsiteY28" fmla="*/ 88582 h 199263"/>
                <a:gd name="connsiteX29" fmla="*/ 228695 w 231838"/>
                <a:gd name="connsiteY29" fmla="*/ 83439 h 199263"/>
                <a:gd name="connsiteX30" fmla="*/ 223647 w 231838"/>
                <a:gd name="connsiteY30" fmla="*/ 75914 h 199263"/>
                <a:gd name="connsiteX31" fmla="*/ 222504 w 231838"/>
                <a:gd name="connsiteY31" fmla="*/ 66008 h 199263"/>
                <a:gd name="connsiteX32" fmla="*/ 226409 w 231838"/>
                <a:gd name="connsiteY32" fmla="*/ 59246 h 199263"/>
                <a:gd name="connsiteX33" fmla="*/ 223266 w 231838"/>
                <a:gd name="connsiteY33" fmla="*/ 53340 h 199263"/>
                <a:gd name="connsiteX34" fmla="*/ 231838 w 231838"/>
                <a:gd name="connsiteY34" fmla="*/ 45815 h 199263"/>
                <a:gd name="connsiteX35" fmla="*/ 225647 w 231838"/>
                <a:gd name="connsiteY35" fmla="*/ 38386 h 199263"/>
                <a:gd name="connsiteX36" fmla="*/ 225266 w 231838"/>
                <a:gd name="connsiteY36" fmla="*/ 33338 h 199263"/>
                <a:gd name="connsiteX37" fmla="*/ 215932 w 231838"/>
                <a:gd name="connsiteY37" fmla="*/ 29813 h 199263"/>
                <a:gd name="connsiteX38" fmla="*/ 214027 w 231838"/>
                <a:gd name="connsiteY38" fmla="*/ 21336 h 199263"/>
                <a:gd name="connsiteX39" fmla="*/ 214027 w 231838"/>
                <a:gd name="connsiteY39" fmla="*/ 21336 h 199263"/>
                <a:gd name="connsiteX40" fmla="*/ 199739 w 231838"/>
                <a:gd name="connsiteY40" fmla="*/ 17431 h 199263"/>
                <a:gd name="connsiteX41" fmla="*/ 197358 w 231838"/>
                <a:gd name="connsiteY41" fmla="*/ 12763 h 199263"/>
                <a:gd name="connsiteX42" fmla="*/ 191548 w 231838"/>
                <a:gd name="connsiteY42" fmla="*/ 15145 h 199263"/>
                <a:gd name="connsiteX43" fmla="*/ 189262 w 231838"/>
                <a:gd name="connsiteY43" fmla="*/ 7429 h 199263"/>
                <a:gd name="connsiteX44" fmla="*/ 184213 w 231838"/>
                <a:gd name="connsiteY44" fmla="*/ 6191 h 199263"/>
                <a:gd name="connsiteX45" fmla="*/ 181070 w 231838"/>
                <a:gd name="connsiteY45" fmla="*/ 15526 h 199263"/>
                <a:gd name="connsiteX46" fmla="*/ 164782 w 231838"/>
                <a:gd name="connsiteY46" fmla="*/ 7811 h 199263"/>
                <a:gd name="connsiteX47" fmla="*/ 167164 w 231838"/>
                <a:gd name="connsiteY47" fmla="*/ 0 h 199263"/>
                <a:gd name="connsiteX48" fmla="*/ 136969 w 231838"/>
                <a:gd name="connsiteY48" fmla="*/ 6953 h 199263"/>
                <a:gd name="connsiteX49" fmla="*/ 134969 w 231838"/>
                <a:gd name="connsiteY49" fmla="*/ 14192 h 199263"/>
                <a:gd name="connsiteX50" fmla="*/ 125635 w 231838"/>
                <a:gd name="connsiteY50" fmla="*/ 20955 h 199263"/>
                <a:gd name="connsiteX51" fmla="*/ 132398 w 231838"/>
                <a:gd name="connsiteY51" fmla="*/ 32290 h 199263"/>
                <a:gd name="connsiteX52" fmla="*/ 129254 w 231838"/>
                <a:gd name="connsiteY52" fmla="*/ 40005 h 199263"/>
                <a:gd name="connsiteX53" fmla="*/ 132398 w 231838"/>
                <a:gd name="connsiteY53" fmla="*/ 48578 h 199263"/>
                <a:gd name="connsiteX54" fmla="*/ 126206 w 231838"/>
                <a:gd name="connsiteY54" fmla="*/ 67056 h 199263"/>
                <a:gd name="connsiteX55" fmla="*/ 139065 w 231838"/>
                <a:gd name="connsiteY55" fmla="*/ 82868 h 199263"/>
                <a:gd name="connsiteX56" fmla="*/ 147828 w 231838"/>
                <a:gd name="connsiteY56" fmla="*/ 84963 h 199263"/>
                <a:gd name="connsiteX57" fmla="*/ 148876 w 231838"/>
                <a:gd name="connsiteY57" fmla="*/ 79153 h 199263"/>
                <a:gd name="connsiteX58" fmla="*/ 156115 w 231838"/>
                <a:gd name="connsiteY58" fmla="*/ 77057 h 199263"/>
                <a:gd name="connsiteX59" fmla="*/ 156115 w 231838"/>
                <a:gd name="connsiteY59" fmla="*/ 107156 h 199263"/>
                <a:gd name="connsiteX60" fmla="*/ 148400 w 231838"/>
                <a:gd name="connsiteY60" fmla="*/ 101346 h 199263"/>
                <a:gd name="connsiteX61" fmla="*/ 140589 w 231838"/>
                <a:gd name="connsiteY61" fmla="*/ 104489 h 199263"/>
                <a:gd name="connsiteX62" fmla="*/ 134398 w 231838"/>
                <a:gd name="connsiteY62" fmla="*/ 93916 h 199263"/>
                <a:gd name="connsiteX63" fmla="*/ 127254 w 231838"/>
                <a:gd name="connsiteY63" fmla="*/ 91821 h 199263"/>
                <a:gd name="connsiteX64" fmla="*/ 124111 w 231838"/>
                <a:gd name="connsiteY64" fmla="*/ 82868 h 199263"/>
                <a:gd name="connsiteX65" fmla="*/ 111252 w 231838"/>
                <a:gd name="connsiteY65" fmla="*/ 80772 h 199263"/>
                <a:gd name="connsiteX66" fmla="*/ 102394 w 231838"/>
                <a:gd name="connsiteY66" fmla="*/ 66008 h 199263"/>
                <a:gd name="connsiteX67" fmla="*/ 93631 w 231838"/>
                <a:gd name="connsiteY67" fmla="*/ 75533 h 199263"/>
                <a:gd name="connsiteX68" fmla="*/ 68390 w 231838"/>
                <a:gd name="connsiteY68" fmla="*/ 69723 h 199263"/>
                <a:gd name="connsiteX69" fmla="*/ 66294 w 231838"/>
                <a:gd name="connsiteY69" fmla="*/ 58674 h 199263"/>
                <a:gd name="connsiteX70" fmla="*/ 49816 w 231838"/>
                <a:gd name="connsiteY70" fmla="*/ 64961 h 199263"/>
                <a:gd name="connsiteX71" fmla="*/ 49340 w 231838"/>
                <a:gd name="connsiteY71" fmla="*/ 57055 h 199263"/>
                <a:gd name="connsiteX72" fmla="*/ 42100 w 231838"/>
                <a:gd name="connsiteY72" fmla="*/ 52864 h 199263"/>
                <a:gd name="connsiteX73" fmla="*/ 39529 w 231838"/>
                <a:gd name="connsiteY73" fmla="*/ 53245 h 199263"/>
                <a:gd name="connsiteX74" fmla="*/ 39529 w 231838"/>
                <a:gd name="connsiteY74" fmla="*/ 53245 h 199263"/>
                <a:gd name="connsiteX75" fmla="*/ 41434 w 231838"/>
                <a:gd name="connsiteY75" fmla="*/ 63246 h 199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1838" h="199263">
                  <a:moveTo>
                    <a:pt x="41434" y="63246"/>
                  </a:moveTo>
                  <a:lnTo>
                    <a:pt x="38386" y="77914"/>
                  </a:lnTo>
                  <a:lnTo>
                    <a:pt x="42196" y="83439"/>
                  </a:lnTo>
                  <a:lnTo>
                    <a:pt x="37909" y="89345"/>
                  </a:lnTo>
                  <a:lnTo>
                    <a:pt x="41053" y="96488"/>
                  </a:lnTo>
                  <a:lnTo>
                    <a:pt x="0" y="96488"/>
                  </a:lnTo>
                  <a:lnTo>
                    <a:pt x="0" y="164878"/>
                  </a:lnTo>
                  <a:lnTo>
                    <a:pt x="19812" y="182689"/>
                  </a:lnTo>
                  <a:lnTo>
                    <a:pt x="31909" y="188404"/>
                  </a:lnTo>
                  <a:lnTo>
                    <a:pt x="43720" y="185833"/>
                  </a:lnTo>
                  <a:lnTo>
                    <a:pt x="61150" y="187833"/>
                  </a:lnTo>
                  <a:lnTo>
                    <a:pt x="65246" y="194501"/>
                  </a:lnTo>
                  <a:lnTo>
                    <a:pt x="74676" y="193357"/>
                  </a:lnTo>
                  <a:lnTo>
                    <a:pt x="80867" y="198025"/>
                  </a:lnTo>
                  <a:lnTo>
                    <a:pt x="84773" y="193357"/>
                  </a:lnTo>
                  <a:lnTo>
                    <a:pt x="94488" y="199263"/>
                  </a:lnTo>
                  <a:lnTo>
                    <a:pt x="102965" y="194501"/>
                  </a:lnTo>
                  <a:lnTo>
                    <a:pt x="114967" y="175927"/>
                  </a:lnTo>
                  <a:lnTo>
                    <a:pt x="134684" y="168021"/>
                  </a:lnTo>
                  <a:lnTo>
                    <a:pt x="136207" y="156972"/>
                  </a:lnTo>
                  <a:lnTo>
                    <a:pt x="153257" y="149447"/>
                  </a:lnTo>
                  <a:lnTo>
                    <a:pt x="167164" y="149828"/>
                  </a:lnTo>
                  <a:lnTo>
                    <a:pt x="162782" y="136398"/>
                  </a:lnTo>
                  <a:lnTo>
                    <a:pt x="184690" y="129826"/>
                  </a:lnTo>
                  <a:lnTo>
                    <a:pt x="219456" y="117634"/>
                  </a:lnTo>
                  <a:lnTo>
                    <a:pt x="219456" y="117634"/>
                  </a:lnTo>
                  <a:lnTo>
                    <a:pt x="212503" y="107918"/>
                  </a:lnTo>
                  <a:lnTo>
                    <a:pt x="218313" y="100394"/>
                  </a:lnTo>
                  <a:lnTo>
                    <a:pt x="218313" y="88582"/>
                  </a:lnTo>
                  <a:lnTo>
                    <a:pt x="228695" y="83439"/>
                  </a:lnTo>
                  <a:lnTo>
                    <a:pt x="223647" y="75914"/>
                  </a:lnTo>
                  <a:lnTo>
                    <a:pt x="222504" y="66008"/>
                  </a:lnTo>
                  <a:lnTo>
                    <a:pt x="226409" y="59246"/>
                  </a:lnTo>
                  <a:lnTo>
                    <a:pt x="223266" y="53340"/>
                  </a:lnTo>
                  <a:lnTo>
                    <a:pt x="231838" y="45815"/>
                  </a:lnTo>
                  <a:lnTo>
                    <a:pt x="225647" y="38386"/>
                  </a:lnTo>
                  <a:lnTo>
                    <a:pt x="225266" y="33338"/>
                  </a:lnTo>
                  <a:lnTo>
                    <a:pt x="215932" y="29813"/>
                  </a:lnTo>
                  <a:lnTo>
                    <a:pt x="214027" y="21336"/>
                  </a:lnTo>
                  <a:lnTo>
                    <a:pt x="214027" y="21336"/>
                  </a:lnTo>
                  <a:lnTo>
                    <a:pt x="199739" y="17431"/>
                  </a:lnTo>
                  <a:lnTo>
                    <a:pt x="197358" y="12763"/>
                  </a:lnTo>
                  <a:lnTo>
                    <a:pt x="191548" y="15145"/>
                  </a:lnTo>
                  <a:lnTo>
                    <a:pt x="189262" y="7429"/>
                  </a:lnTo>
                  <a:lnTo>
                    <a:pt x="184213" y="6191"/>
                  </a:lnTo>
                  <a:lnTo>
                    <a:pt x="181070" y="15526"/>
                  </a:lnTo>
                  <a:lnTo>
                    <a:pt x="164782" y="7811"/>
                  </a:lnTo>
                  <a:lnTo>
                    <a:pt x="167164" y="0"/>
                  </a:lnTo>
                  <a:lnTo>
                    <a:pt x="136969" y="6953"/>
                  </a:lnTo>
                  <a:lnTo>
                    <a:pt x="134969" y="14192"/>
                  </a:lnTo>
                  <a:lnTo>
                    <a:pt x="125635" y="20955"/>
                  </a:lnTo>
                  <a:lnTo>
                    <a:pt x="132398" y="32290"/>
                  </a:lnTo>
                  <a:lnTo>
                    <a:pt x="129254" y="40005"/>
                  </a:lnTo>
                  <a:lnTo>
                    <a:pt x="132398" y="48578"/>
                  </a:lnTo>
                  <a:lnTo>
                    <a:pt x="126206" y="67056"/>
                  </a:lnTo>
                  <a:lnTo>
                    <a:pt x="139065" y="82868"/>
                  </a:lnTo>
                  <a:lnTo>
                    <a:pt x="147828" y="84963"/>
                  </a:lnTo>
                  <a:lnTo>
                    <a:pt x="148876" y="79153"/>
                  </a:lnTo>
                  <a:lnTo>
                    <a:pt x="156115" y="77057"/>
                  </a:lnTo>
                  <a:lnTo>
                    <a:pt x="156115" y="107156"/>
                  </a:lnTo>
                  <a:lnTo>
                    <a:pt x="148400" y="101346"/>
                  </a:lnTo>
                  <a:lnTo>
                    <a:pt x="140589" y="104489"/>
                  </a:lnTo>
                  <a:lnTo>
                    <a:pt x="134398" y="93916"/>
                  </a:lnTo>
                  <a:lnTo>
                    <a:pt x="127254" y="91821"/>
                  </a:lnTo>
                  <a:lnTo>
                    <a:pt x="124111" y="82868"/>
                  </a:lnTo>
                  <a:lnTo>
                    <a:pt x="111252" y="80772"/>
                  </a:lnTo>
                  <a:lnTo>
                    <a:pt x="102394" y="66008"/>
                  </a:lnTo>
                  <a:lnTo>
                    <a:pt x="93631" y="75533"/>
                  </a:lnTo>
                  <a:lnTo>
                    <a:pt x="68390" y="69723"/>
                  </a:lnTo>
                  <a:lnTo>
                    <a:pt x="66294" y="58674"/>
                  </a:lnTo>
                  <a:lnTo>
                    <a:pt x="49816" y="64961"/>
                  </a:lnTo>
                  <a:lnTo>
                    <a:pt x="49340" y="57055"/>
                  </a:lnTo>
                  <a:lnTo>
                    <a:pt x="42100" y="52864"/>
                  </a:lnTo>
                  <a:lnTo>
                    <a:pt x="39529" y="53245"/>
                  </a:lnTo>
                  <a:lnTo>
                    <a:pt x="39529" y="53245"/>
                  </a:lnTo>
                  <a:lnTo>
                    <a:pt x="41434" y="6324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6" name="Freeform: Shape 2746">
              <a:extLst>
                <a:ext uri="{FF2B5EF4-FFF2-40B4-BE49-F238E27FC236}">
                  <a16:creationId xmlns:a16="http://schemas.microsoft.com/office/drawing/2014/main" id="{A9B808CD-7087-B936-46BD-B337D7508ABF}"/>
                </a:ext>
              </a:extLst>
            </p:cNvPr>
            <p:cNvSpPr/>
            <p:nvPr/>
          </p:nvSpPr>
          <p:spPr>
            <a:xfrm>
              <a:off x="1408938" y="4047775"/>
              <a:ext cx="163544" cy="133064"/>
            </a:xfrm>
            <a:custGeom>
              <a:avLst/>
              <a:gdLst>
                <a:gd name="connsiteX0" fmla="*/ 74390 w 163544"/>
                <a:gd name="connsiteY0" fmla="*/ 0 h 133064"/>
                <a:gd name="connsiteX1" fmla="*/ 74390 w 163544"/>
                <a:gd name="connsiteY1" fmla="*/ 0 h 133064"/>
                <a:gd name="connsiteX2" fmla="*/ 66484 w 163544"/>
                <a:gd name="connsiteY2" fmla="*/ 19621 h 133064"/>
                <a:gd name="connsiteX3" fmla="*/ 48292 w 163544"/>
                <a:gd name="connsiteY3" fmla="*/ 31528 h 133064"/>
                <a:gd name="connsiteX4" fmla="*/ 40100 w 163544"/>
                <a:gd name="connsiteY4" fmla="*/ 62770 h 133064"/>
                <a:gd name="connsiteX5" fmla="*/ 22860 w 163544"/>
                <a:gd name="connsiteY5" fmla="*/ 79915 h 133064"/>
                <a:gd name="connsiteX6" fmla="*/ 8668 w 163544"/>
                <a:gd name="connsiteY6" fmla="*/ 112204 h 133064"/>
                <a:gd name="connsiteX7" fmla="*/ 4096 w 163544"/>
                <a:gd name="connsiteY7" fmla="*/ 113538 h 133064"/>
                <a:gd name="connsiteX8" fmla="*/ 0 w 163544"/>
                <a:gd name="connsiteY8" fmla="*/ 133064 h 133064"/>
                <a:gd name="connsiteX9" fmla="*/ 286 w 163544"/>
                <a:gd name="connsiteY9" fmla="*/ 133064 h 133064"/>
                <a:gd name="connsiteX10" fmla="*/ 77629 w 163544"/>
                <a:gd name="connsiteY10" fmla="*/ 133064 h 133064"/>
                <a:gd name="connsiteX11" fmla="*/ 75343 w 163544"/>
                <a:gd name="connsiteY11" fmla="*/ 102298 h 133064"/>
                <a:gd name="connsiteX12" fmla="*/ 84201 w 163544"/>
                <a:gd name="connsiteY12" fmla="*/ 92869 h 133064"/>
                <a:gd name="connsiteX13" fmla="*/ 97822 w 163544"/>
                <a:gd name="connsiteY13" fmla="*/ 88297 h 133064"/>
                <a:gd name="connsiteX14" fmla="*/ 97822 w 163544"/>
                <a:gd name="connsiteY14" fmla="*/ 35338 h 133064"/>
                <a:gd name="connsiteX15" fmla="*/ 163544 w 163544"/>
                <a:gd name="connsiteY15" fmla="*/ 35338 h 133064"/>
                <a:gd name="connsiteX16" fmla="*/ 163544 w 163544"/>
                <a:gd name="connsiteY16" fmla="*/ 0 h 133064"/>
                <a:gd name="connsiteX17" fmla="*/ 74390 w 163544"/>
                <a:gd name="connsiteY17" fmla="*/ 0 h 133064"/>
                <a:gd name="connsiteX18" fmla="*/ 74390 w 163544"/>
                <a:gd name="connsiteY18" fmla="*/ 0 h 13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544" h="133064">
                  <a:moveTo>
                    <a:pt x="74390" y="0"/>
                  </a:moveTo>
                  <a:lnTo>
                    <a:pt x="74390" y="0"/>
                  </a:lnTo>
                  <a:lnTo>
                    <a:pt x="66484" y="19621"/>
                  </a:lnTo>
                  <a:lnTo>
                    <a:pt x="48292" y="31528"/>
                  </a:lnTo>
                  <a:lnTo>
                    <a:pt x="40100" y="62770"/>
                  </a:lnTo>
                  <a:lnTo>
                    <a:pt x="22860" y="79915"/>
                  </a:lnTo>
                  <a:lnTo>
                    <a:pt x="8668" y="112204"/>
                  </a:lnTo>
                  <a:lnTo>
                    <a:pt x="4096" y="113538"/>
                  </a:lnTo>
                  <a:lnTo>
                    <a:pt x="0" y="133064"/>
                  </a:lnTo>
                  <a:lnTo>
                    <a:pt x="286" y="133064"/>
                  </a:lnTo>
                  <a:lnTo>
                    <a:pt x="77629" y="133064"/>
                  </a:lnTo>
                  <a:lnTo>
                    <a:pt x="75343" y="102298"/>
                  </a:lnTo>
                  <a:lnTo>
                    <a:pt x="84201" y="92869"/>
                  </a:lnTo>
                  <a:lnTo>
                    <a:pt x="97822" y="88297"/>
                  </a:lnTo>
                  <a:lnTo>
                    <a:pt x="97822" y="35338"/>
                  </a:lnTo>
                  <a:lnTo>
                    <a:pt x="163544" y="35338"/>
                  </a:lnTo>
                  <a:lnTo>
                    <a:pt x="163544" y="0"/>
                  </a:lnTo>
                  <a:lnTo>
                    <a:pt x="74390" y="0"/>
                  </a:lnTo>
                  <a:lnTo>
                    <a:pt x="7439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7" name="Freeform: Shape 2747">
              <a:extLst>
                <a:ext uri="{FF2B5EF4-FFF2-40B4-BE49-F238E27FC236}">
                  <a16:creationId xmlns:a16="http://schemas.microsoft.com/office/drawing/2014/main" id="{B5B6A52E-2EDC-E68A-922B-33AC0D809A65}"/>
                </a:ext>
              </a:extLst>
            </p:cNvPr>
            <p:cNvSpPr/>
            <p:nvPr/>
          </p:nvSpPr>
          <p:spPr>
            <a:xfrm>
              <a:off x="2330195" y="4525930"/>
              <a:ext cx="108204" cy="113252"/>
            </a:xfrm>
            <a:custGeom>
              <a:avLst/>
              <a:gdLst>
                <a:gd name="connsiteX0" fmla="*/ 94488 w 108204"/>
                <a:gd name="connsiteY0" fmla="*/ 70580 h 113252"/>
                <a:gd name="connsiteX1" fmla="*/ 97346 w 108204"/>
                <a:gd name="connsiteY1" fmla="*/ 62008 h 113252"/>
                <a:gd name="connsiteX2" fmla="*/ 104013 w 108204"/>
                <a:gd name="connsiteY2" fmla="*/ 60008 h 113252"/>
                <a:gd name="connsiteX3" fmla="*/ 103537 w 108204"/>
                <a:gd name="connsiteY3" fmla="*/ 54769 h 113252"/>
                <a:gd name="connsiteX4" fmla="*/ 108204 w 108204"/>
                <a:gd name="connsiteY4" fmla="*/ 50673 h 113252"/>
                <a:gd name="connsiteX5" fmla="*/ 108204 w 108204"/>
                <a:gd name="connsiteY5" fmla="*/ 45053 h 113252"/>
                <a:gd name="connsiteX6" fmla="*/ 103822 w 108204"/>
                <a:gd name="connsiteY6" fmla="*/ 28004 h 113252"/>
                <a:gd name="connsiteX7" fmla="*/ 99441 w 108204"/>
                <a:gd name="connsiteY7" fmla="*/ 25718 h 113252"/>
                <a:gd name="connsiteX8" fmla="*/ 98870 w 108204"/>
                <a:gd name="connsiteY8" fmla="*/ 20764 h 113252"/>
                <a:gd name="connsiteX9" fmla="*/ 94774 w 108204"/>
                <a:gd name="connsiteY9" fmla="*/ 19241 h 113252"/>
                <a:gd name="connsiteX10" fmla="*/ 97631 w 108204"/>
                <a:gd name="connsiteY10" fmla="*/ 10954 h 113252"/>
                <a:gd name="connsiteX11" fmla="*/ 91440 w 108204"/>
                <a:gd name="connsiteY11" fmla="*/ 8382 h 113252"/>
                <a:gd name="connsiteX12" fmla="*/ 87535 w 108204"/>
                <a:gd name="connsiteY12" fmla="*/ 0 h 113252"/>
                <a:gd name="connsiteX13" fmla="*/ 87535 w 108204"/>
                <a:gd name="connsiteY13" fmla="*/ 0 h 113252"/>
                <a:gd name="connsiteX14" fmla="*/ 78010 w 108204"/>
                <a:gd name="connsiteY14" fmla="*/ 9430 h 113252"/>
                <a:gd name="connsiteX15" fmla="*/ 71818 w 108204"/>
                <a:gd name="connsiteY15" fmla="*/ 8858 h 113252"/>
                <a:gd name="connsiteX16" fmla="*/ 67913 w 108204"/>
                <a:gd name="connsiteY16" fmla="*/ 6287 h 113252"/>
                <a:gd name="connsiteX17" fmla="*/ 61722 w 108204"/>
                <a:gd name="connsiteY17" fmla="*/ 9430 h 113252"/>
                <a:gd name="connsiteX18" fmla="*/ 53531 w 108204"/>
                <a:gd name="connsiteY18" fmla="*/ 9906 h 113252"/>
                <a:gd name="connsiteX19" fmla="*/ 50673 w 108204"/>
                <a:gd name="connsiteY19" fmla="*/ 14573 h 113252"/>
                <a:gd name="connsiteX20" fmla="*/ 43910 w 108204"/>
                <a:gd name="connsiteY20" fmla="*/ 7906 h 113252"/>
                <a:gd name="connsiteX21" fmla="*/ 39052 w 108204"/>
                <a:gd name="connsiteY21" fmla="*/ 11525 h 113252"/>
                <a:gd name="connsiteX22" fmla="*/ 32099 w 108204"/>
                <a:gd name="connsiteY22" fmla="*/ 7620 h 113252"/>
                <a:gd name="connsiteX23" fmla="*/ 26575 w 108204"/>
                <a:gd name="connsiteY23" fmla="*/ 13621 h 113252"/>
                <a:gd name="connsiteX24" fmla="*/ 28194 w 108204"/>
                <a:gd name="connsiteY24" fmla="*/ 15716 h 113252"/>
                <a:gd name="connsiteX25" fmla="*/ 23527 w 108204"/>
                <a:gd name="connsiteY25" fmla="*/ 22670 h 113252"/>
                <a:gd name="connsiteX26" fmla="*/ 26670 w 108204"/>
                <a:gd name="connsiteY26" fmla="*/ 27337 h 113252"/>
                <a:gd name="connsiteX27" fmla="*/ 23146 w 108204"/>
                <a:gd name="connsiteY27" fmla="*/ 35433 h 113252"/>
                <a:gd name="connsiteX28" fmla="*/ 33623 w 108204"/>
                <a:gd name="connsiteY28" fmla="*/ 40481 h 113252"/>
                <a:gd name="connsiteX29" fmla="*/ 20860 w 108204"/>
                <a:gd name="connsiteY29" fmla="*/ 56769 h 113252"/>
                <a:gd name="connsiteX30" fmla="*/ 11144 w 108204"/>
                <a:gd name="connsiteY30" fmla="*/ 61055 h 113252"/>
                <a:gd name="connsiteX31" fmla="*/ 8477 w 108204"/>
                <a:gd name="connsiteY31" fmla="*/ 72200 h 113252"/>
                <a:gd name="connsiteX32" fmla="*/ 2667 w 108204"/>
                <a:gd name="connsiteY32" fmla="*/ 80772 h 113252"/>
                <a:gd name="connsiteX33" fmla="*/ 0 w 108204"/>
                <a:gd name="connsiteY33" fmla="*/ 111252 h 113252"/>
                <a:gd name="connsiteX34" fmla="*/ 5334 w 108204"/>
                <a:gd name="connsiteY34" fmla="*/ 109156 h 113252"/>
                <a:gd name="connsiteX35" fmla="*/ 9049 w 108204"/>
                <a:gd name="connsiteY35" fmla="*/ 113252 h 113252"/>
                <a:gd name="connsiteX36" fmla="*/ 14288 w 108204"/>
                <a:gd name="connsiteY36" fmla="*/ 105156 h 113252"/>
                <a:gd name="connsiteX37" fmla="*/ 18002 w 108204"/>
                <a:gd name="connsiteY37" fmla="*/ 105156 h 113252"/>
                <a:gd name="connsiteX38" fmla="*/ 23336 w 108204"/>
                <a:gd name="connsiteY38" fmla="*/ 103251 h 113252"/>
                <a:gd name="connsiteX39" fmla="*/ 41148 w 108204"/>
                <a:gd name="connsiteY39" fmla="*/ 103251 h 113252"/>
                <a:gd name="connsiteX40" fmla="*/ 38957 w 108204"/>
                <a:gd name="connsiteY40" fmla="*/ 99727 h 113252"/>
                <a:gd name="connsiteX41" fmla="*/ 48292 w 108204"/>
                <a:gd name="connsiteY41" fmla="*/ 84963 h 113252"/>
                <a:gd name="connsiteX42" fmla="*/ 84677 w 108204"/>
                <a:gd name="connsiteY42" fmla="*/ 79534 h 113252"/>
                <a:gd name="connsiteX43" fmla="*/ 86011 w 108204"/>
                <a:gd name="connsiteY43" fmla="*/ 81629 h 113252"/>
                <a:gd name="connsiteX44" fmla="*/ 90107 w 108204"/>
                <a:gd name="connsiteY44" fmla="*/ 71819 h 113252"/>
                <a:gd name="connsiteX45" fmla="*/ 94488 w 108204"/>
                <a:gd name="connsiteY45" fmla="*/ 70580 h 11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8204" h="113252">
                  <a:moveTo>
                    <a:pt x="94488" y="70580"/>
                  </a:moveTo>
                  <a:lnTo>
                    <a:pt x="97346" y="62008"/>
                  </a:lnTo>
                  <a:lnTo>
                    <a:pt x="104013" y="60008"/>
                  </a:lnTo>
                  <a:lnTo>
                    <a:pt x="103537" y="54769"/>
                  </a:lnTo>
                  <a:lnTo>
                    <a:pt x="108204" y="50673"/>
                  </a:lnTo>
                  <a:lnTo>
                    <a:pt x="108204" y="45053"/>
                  </a:lnTo>
                  <a:lnTo>
                    <a:pt x="103822" y="28004"/>
                  </a:lnTo>
                  <a:lnTo>
                    <a:pt x="99441" y="25718"/>
                  </a:lnTo>
                  <a:lnTo>
                    <a:pt x="98870" y="20764"/>
                  </a:lnTo>
                  <a:lnTo>
                    <a:pt x="94774" y="19241"/>
                  </a:lnTo>
                  <a:lnTo>
                    <a:pt x="97631" y="10954"/>
                  </a:lnTo>
                  <a:lnTo>
                    <a:pt x="91440" y="8382"/>
                  </a:lnTo>
                  <a:lnTo>
                    <a:pt x="87535" y="0"/>
                  </a:lnTo>
                  <a:lnTo>
                    <a:pt x="87535" y="0"/>
                  </a:lnTo>
                  <a:lnTo>
                    <a:pt x="78010" y="9430"/>
                  </a:lnTo>
                  <a:lnTo>
                    <a:pt x="71818" y="8858"/>
                  </a:lnTo>
                  <a:lnTo>
                    <a:pt x="67913" y="6287"/>
                  </a:lnTo>
                  <a:lnTo>
                    <a:pt x="61722" y="9430"/>
                  </a:lnTo>
                  <a:lnTo>
                    <a:pt x="53531" y="9906"/>
                  </a:lnTo>
                  <a:lnTo>
                    <a:pt x="50673" y="14573"/>
                  </a:lnTo>
                  <a:lnTo>
                    <a:pt x="43910" y="7906"/>
                  </a:lnTo>
                  <a:lnTo>
                    <a:pt x="39052" y="11525"/>
                  </a:lnTo>
                  <a:lnTo>
                    <a:pt x="32099" y="7620"/>
                  </a:lnTo>
                  <a:lnTo>
                    <a:pt x="26575" y="13621"/>
                  </a:lnTo>
                  <a:lnTo>
                    <a:pt x="28194" y="15716"/>
                  </a:lnTo>
                  <a:lnTo>
                    <a:pt x="23527" y="22670"/>
                  </a:lnTo>
                  <a:lnTo>
                    <a:pt x="26670" y="27337"/>
                  </a:lnTo>
                  <a:lnTo>
                    <a:pt x="23146" y="35433"/>
                  </a:lnTo>
                  <a:lnTo>
                    <a:pt x="33623" y="40481"/>
                  </a:lnTo>
                  <a:lnTo>
                    <a:pt x="20860" y="56769"/>
                  </a:lnTo>
                  <a:lnTo>
                    <a:pt x="11144" y="61055"/>
                  </a:lnTo>
                  <a:lnTo>
                    <a:pt x="8477" y="72200"/>
                  </a:lnTo>
                  <a:lnTo>
                    <a:pt x="2667" y="80772"/>
                  </a:lnTo>
                  <a:lnTo>
                    <a:pt x="0" y="111252"/>
                  </a:lnTo>
                  <a:lnTo>
                    <a:pt x="5334" y="109156"/>
                  </a:lnTo>
                  <a:lnTo>
                    <a:pt x="9049" y="113252"/>
                  </a:lnTo>
                  <a:lnTo>
                    <a:pt x="14288" y="105156"/>
                  </a:lnTo>
                  <a:lnTo>
                    <a:pt x="18002" y="105156"/>
                  </a:lnTo>
                  <a:lnTo>
                    <a:pt x="23336" y="103251"/>
                  </a:lnTo>
                  <a:lnTo>
                    <a:pt x="41148" y="103251"/>
                  </a:lnTo>
                  <a:lnTo>
                    <a:pt x="38957" y="99727"/>
                  </a:lnTo>
                  <a:lnTo>
                    <a:pt x="48292" y="84963"/>
                  </a:lnTo>
                  <a:lnTo>
                    <a:pt x="84677" y="79534"/>
                  </a:lnTo>
                  <a:lnTo>
                    <a:pt x="86011" y="81629"/>
                  </a:lnTo>
                  <a:lnTo>
                    <a:pt x="90107" y="71819"/>
                  </a:lnTo>
                  <a:lnTo>
                    <a:pt x="94488" y="7058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8" name="Freeform: Shape 2748">
              <a:extLst>
                <a:ext uri="{FF2B5EF4-FFF2-40B4-BE49-F238E27FC236}">
                  <a16:creationId xmlns:a16="http://schemas.microsoft.com/office/drawing/2014/main" id="{CEF3CBA0-FD6F-D6F8-C5BB-D533F86D04D8}"/>
                </a:ext>
              </a:extLst>
            </p:cNvPr>
            <p:cNvSpPr/>
            <p:nvPr/>
          </p:nvSpPr>
          <p:spPr>
            <a:xfrm>
              <a:off x="1892045" y="3834320"/>
              <a:ext cx="82772" cy="159638"/>
            </a:xfrm>
            <a:custGeom>
              <a:avLst/>
              <a:gdLst>
                <a:gd name="connsiteX0" fmla="*/ 55435 w 82772"/>
                <a:gd name="connsiteY0" fmla="*/ 145447 h 159638"/>
                <a:gd name="connsiteX1" fmla="*/ 52102 w 82772"/>
                <a:gd name="connsiteY1" fmla="*/ 130873 h 159638"/>
                <a:gd name="connsiteX2" fmla="*/ 56198 w 82772"/>
                <a:gd name="connsiteY2" fmla="*/ 125063 h 159638"/>
                <a:gd name="connsiteX3" fmla="*/ 61627 w 82772"/>
                <a:gd name="connsiteY3" fmla="*/ 125349 h 159638"/>
                <a:gd name="connsiteX4" fmla="*/ 63722 w 82772"/>
                <a:gd name="connsiteY4" fmla="*/ 118300 h 159638"/>
                <a:gd name="connsiteX5" fmla="*/ 82772 w 82772"/>
                <a:gd name="connsiteY5" fmla="*/ 110204 h 159638"/>
                <a:gd name="connsiteX6" fmla="*/ 79439 w 82772"/>
                <a:gd name="connsiteY6" fmla="*/ 105251 h 159638"/>
                <a:gd name="connsiteX7" fmla="*/ 80200 w 82772"/>
                <a:gd name="connsiteY7" fmla="*/ 92869 h 159638"/>
                <a:gd name="connsiteX8" fmla="*/ 56864 w 82772"/>
                <a:gd name="connsiteY8" fmla="*/ 81439 h 159638"/>
                <a:gd name="connsiteX9" fmla="*/ 50292 w 82772"/>
                <a:gd name="connsiteY9" fmla="*/ 70961 h 159638"/>
                <a:gd name="connsiteX10" fmla="*/ 64770 w 82772"/>
                <a:gd name="connsiteY10" fmla="*/ 59722 h 159638"/>
                <a:gd name="connsiteX11" fmla="*/ 73057 w 82772"/>
                <a:gd name="connsiteY11" fmla="*/ 47054 h 159638"/>
                <a:gd name="connsiteX12" fmla="*/ 59150 w 82772"/>
                <a:gd name="connsiteY12" fmla="*/ 27241 h 159638"/>
                <a:gd name="connsiteX13" fmla="*/ 71056 w 82772"/>
                <a:gd name="connsiteY13" fmla="*/ 5620 h 159638"/>
                <a:gd name="connsiteX14" fmla="*/ 47339 w 82772"/>
                <a:gd name="connsiteY14" fmla="*/ 0 h 159638"/>
                <a:gd name="connsiteX15" fmla="*/ 23527 w 82772"/>
                <a:gd name="connsiteY15" fmla="*/ 8668 h 159638"/>
                <a:gd name="connsiteX16" fmla="*/ 23431 w 82772"/>
                <a:gd name="connsiteY16" fmla="*/ 8858 h 159638"/>
                <a:gd name="connsiteX17" fmla="*/ 23431 w 82772"/>
                <a:gd name="connsiteY17" fmla="*/ 13240 h 159638"/>
                <a:gd name="connsiteX18" fmla="*/ 13335 w 82772"/>
                <a:gd name="connsiteY18" fmla="*/ 17907 h 159638"/>
                <a:gd name="connsiteX19" fmla="*/ 18479 w 82772"/>
                <a:gd name="connsiteY19" fmla="*/ 21146 h 159638"/>
                <a:gd name="connsiteX20" fmla="*/ 15431 w 82772"/>
                <a:gd name="connsiteY20" fmla="*/ 34862 h 159638"/>
                <a:gd name="connsiteX21" fmla="*/ 17526 w 82772"/>
                <a:gd name="connsiteY21" fmla="*/ 39243 h 159638"/>
                <a:gd name="connsiteX22" fmla="*/ 14954 w 82772"/>
                <a:gd name="connsiteY22" fmla="*/ 45339 h 159638"/>
                <a:gd name="connsiteX23" fmla="*/ 19812 w 82772"/>
                <a:gd name="connsiteY23" fmla="*/ 46768 h 159638"/>
                <a:gd name="connsiteX24" fmla="*/ 15145 w 82772"/>
                <a:gd name="connsiteY24" fmla="*/ 60865 h 159638"/>
                <a:gd name="connsiteX25" fmla="*/ 6667 w 82772"/>
                <a:gd name="connsiteY25" fmla="*/ 65246 h 159638"/>
                <a:gd name="connsiteX26" fmla="*/ 5620 w 82772"/>
                <a:gd name="connsiteY26" fmla="*/ 69913 h 159638"/>
                <a:gd name="connsiteX27" fmla="*/ 952 w 82772"/>
                <a:gd name="connsiteY27" fmla="*/ 72199 h 159638"/>
                <a:gd name="connsiteX28" fmla="*/ 0 w 82772"/>
                <a:gd name="connsiteY28" fmla="*/ 78010 h 159638"/>
                <a:gd name="connsiteX29" fmla="*/ 4572 w 82772"/>
                <a:gd name="connsiteY29" fmla="*/ 87725 h 159638"/>
                <a:gd name="connsiteX30" fmla="*/ 4858 w 82772"/>
                <a:gd name="connsiteY30" fmla="*/ 92107 h 159638"/>
                <a:gd name="connsiteX31" fmla="*/ 12383 w 82772"/>
                <a:gd name="connsiteY31" fmla="*/ 94679 h 159638"/>
                <a:gd name="connsiteX32" fmla="*/ 16669 w 82772"/>
                <a:gd name="connsiteY32" fmla="*/ 101155 h 159638"/>
                <a:gd name="connsiteX33" fmla="*/ 17526 w 82772"/>
                <a:gd name="connsiteY33" fmla="*/ 107537 h 159638"/>
                <a:gd name="connsiteX34" fmla="*/ 31718 w 82772"/>
                <a:gd name="connsiteY34" fmla="*/ 117729 h 159638"/>
                <a:gd name="connsiteX35" fmla="*/ 40672 w 82772"/>
                <a:gd name="connsiteY35" fmla="*/ 159544 h 159638"/>
                <a:gd name="connsiteX36" fmla="*/ 40862 w 82772"/>
                <a:gd name="connsiteY36" fmla="*/ 159639 h 159638"/>
                <a:gd name="connsiteX37" fmla="*/ 48958 w 82772"/>
                <a:gd name="connsiteY37" fmla="*/ 155734 h 159638"/>
                <a:gd name="connsiteX38" fmla="*/ 55435 w 82772"/>
                <a:gd name="connsiteY38" fmla="*/ 145447 h 1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2772" h="159638">
                  <a:moveTo>
                    <a:pt x="55435" y="145447"/>
                  </a:moveTo>
                  <a:lnTo>
                    <a:pt x="52102" y="130873"/>
                  </a:lnTo>
                  <a:lnTo>
                    <a:pt x="56198" y="125063"/>
                  </a:lnTo>
                  <a:lnTo>
                    <a:pt x="61627" y="125349"/>
                  </a:lnTo>
                  <a:lnTo>
                    <a:pt x="63722" y="118300"/>
                  </a:lnTo>
                  <a:lnTo>
                    <a:pt x="82772" y="110204"/>
                  </a:lnTo>
                  <a:lnTo>
                    <a:pt x="79439" y="105251"/>
                  </a:lnTo>
                  <a:lnTo>
                    <a:pt x="80200" y="92869"/>
                  </a:lnTo>
                  <a:lnTo>
                    <a:pt x="56864" y="81439"/>
                  </a:lnTo>
                  <a:lnTo>
                    <a:pt x="50292" y="70961"/>
                  </a:lnTo>
                  <a:lnTo>
                    <a:pt x="64770" y="59722"/>
                  </a:lnTo>
                  <a:lnTo>
                    <a:pt x="73057" y="47054"/>
                  </a:lnTo>
                  <a:lnTo>
                    <a:pt x="59150" y="27241"/>
                  </a:lnTo>
                  <a:lnTo>
                    <a:pt x="71056" y="5620"/>
                  </a:lnTo>
                  <a:lnTo>
                    <a:pt x="47339" y="0"/>
                  </a:lnTo>
                  <a:lnTo>
                    <a:pt x="23527" y="8668"/>
                  </a:lnTo>
                  <a:lnTo>
                    <a:pt x="23431" y="8858"/>
                  </a:lnTo>
                  <a:lnTo>
                    <a:pt x="23431" y="13240"/>
                  </a:lnTo>
                  <a:lnTo>
                    <a:pt x="13335" y="17907"/>
                  </a:lnTo>
                  <a:lnTo>
                    <a:pt x="18479" y="21146"/>
                  </a:lnTo>
                  <a:lnTo>
                    <a:pt x="15431" y="34862"/>
                  </a:lnTo>
                  <a:lnTo>
                    <a:pt x="17526" y="39243"/>
                  </a:lnTo>
                  <a:lnTo>
                    <a:pt x="14954" y="45339"/>
                  </a:lnTo>
                  <a:lnTo>
                    <a:pt x="19812" y="46768"/>
                  </a:lnTo>
                  <a:lnTo>
                    <a:pt x="15145" y="60865"/>
                  </a:lnTo>
                  <a:lnTo>
                    <a:pt x="6667" y="65246"/>
                  </a:lnTo>
                  <a:lnTo>
                    <a:pt x="5620" y="69913"/>
                  </a:lnTo>
                  <a:lnTo>
                    <a:pt x="952" y="72199"/>
                  </a:lnTo>
                  <a:lnTo>
                    <a:pt x="0" y="78010"/>
                  </a:lnTo>
                  <a:lnTo>
                    <a:pt x="4572" y="87725"/>
                  </a:lnTo>
                  <a:lnTo>
                    <a:pt x="4858" y="92107"/>
                  </a:lnTo>
                  <a:lnTo>
                    <a:pt x="12383" y="94679"/>
                  </a:lnTo>
                  <a:lnTo>
                    <a:pt x="16669" y="101155"/>
                  </a:lnTo>
                  <a:lnTo>
                    <a:pt x="17526" y="107537"/>
                  </a:lnTo>
                  <a:lnTo>
                    <a:pt x="31718" y="117729"/>
                  </a:lnTo>
                  <a:lnTo>
                    <a:pt x="40672" y="159544"/>
                  </a:lnTo>
                  <a:lnTo>
                    <a:pt x="40862" y="159639"/>
                  </a:lnTo>
                  <a:lnTo>
                    <a:pt x="48958" y="155734"/>
                  </a:lnTo>
                  <a:lnTo>
                    <a:pt x="55435" y="14544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59" name="Freeform: Shape 2749">
              <a:extLst>
                <a:ext uri="{FF2B5EF4-FFF2-40B4-BE49-F238E27FC236}">
                  <a16:creationId xmlns:a16="http://schemas.microsoft.com/office/drawing/2014/main" id="{A3431699-D3C5-C3F8-A680-CABA2DCBB739}"/>
                </a:ext>
              </a:extLst>
            </p:cNvPr>
            <p:cNvSpPr/>
            <p:nvPr/>
          </p:nvSpPr>
          <p:spPr>
            <a:xfrm>
              <a:off x="1740788" y="4389246"/>
              <a:ext cx="39909" cy="100107"/>
            </a:xfrm>
            <a:custGeom>
              <a:avLst/>
              <a:gdLst>
                <a:gd name="connsiteX0" fmla="*/ 36195 w 39909"/>
                <a:gd name="connsiteY0" fmla="*/ 79534 h 100107"/>
                <a:gd name="connsiteX1" fmla="*/ 36195 w 39909"/>
                <a:gd name="connsiteY1" fmla="*/ 40862 h 100107"/>
                <a:gd name="connsiteX2" fmla="*/ 29432 w 39909"/>
                <a:gd name="connsiteY2" fmla="*/ 32576 h 100107"/>
                <a:gd name="connsiteX3" fmla="*/ 30956 w 39909"/>
                <a:gd name="connsiteY3" fmla="*/ 21241 h 100107"/>
                <a:gd name="connsiteX4" fmla="*/ 20193 w 39909"/>
                <a:gd name="connsiteY4" fmla="*/ 14573 h 100107"/>
                <a:gd name="connsiteX5" fmla="*/ 22098 w 39909"/>
                <a:gd name="connsiteY5" fmla="*/ 2191 h 100107"/>
                <a:gd name="connsiteX6" fmla="*/ 13621 w 39909"/>
                <a:gd name="connsiteY6" fmla="*/ 2667 h 100107"/>
                <a:gd name="connsiteX7" fmla="*/ 3239 w 39909"/>
                <a:gd name="connsiteY7" fmla="*/ 0 h 100107"/>
                <a:gd name="connsiteX8" fmla="*/ 3143 w 39909"/>
                <a:gd name="connsiteY8" fmla="*/ 95 h 100107"/>
                <a:gd name="connsiteX9" fmla="*/ 0 w 39909"/>
                <a:gd name="connsiteY9" fmla="*/ 10096 h 100107"/>
                <a:gd name="connsiteX10" fmla="*/ 9335 w 39909"/>
                <a:gd name="connsiteY10" fmla="*/ 17145 h 100107"/>
                <a:gd name="connsiteX11" fmla="*/ 6763 w 39909"/>
                <a:gd name="connsiteY11" fmla="*/ 33147 h 100107"/>
                <a:gd name="connsiteX12" fmla="*/ 14002 w 39909"/>
                <a:gd name="connsiteY12" fmla="*/ 33147 h 100107"/>
                <a:gd name="connsiteX13" fmla="*/ 10382 w 39909"/>
                <a:gd name="connsiteY13" fmla="*/ 48578 h 100107"/>
                <a:gd name="connsiteX14" fmla="*/ 18098 w 39909"/>
                <a:gd name="connsiteY14" fmla="*/ 55817 h 100107"/>
                <a:gd name="connsiteX15" fmla="*/ 13430 w 39909"/>
                <a:gd name="connsiteY15" fmla="*/ 60484 h 100107"/>
                <a:gd name="connsiteX16" fmla="*/ 13430 w 39909"/>
                <a:gd name="connsiteY16" fmla="*/ 72295 h 100107"/>
                <a:gd name="connsiteX17" fmla="*/ 18098 w 39909"/>
                <a:gd name="connsiteY17" fmla="*/ 73343 h 100107"/>
                <a:gd name="connsiteX18" fmla="*/ 13430 w 39909"/>
                <a:gd name="connsiteY18" fmla="*/ 85249 h 100107"/>
                <a:gd name="connsiteX19" fmla="*/ 25718 w 39909"/>
                <a:gd name="connsiteY19" fmla="*/ 100108 h 100107"/>
                <a:gd name="connsiteX20" fmla="*/ 25718 w 39909"/>
                <a:gd name="connsiteY20" fmla="*/ 100108 h 100107"/>
                <a:gd name="connsiteX21" fmla="*/ 27146 w 39909"/>
                <a:gd name="connsiteY21" fmla="*/ 99441 h 100107"/>
                <a:gd name="connsiteX22" fmla="*/ 39910 w 39909"/>
                <a:gd name="connsiteY22" fmla="*/ 97250 h 100107"/>
                <a:gd name="connsiteX23" fmla="*/ 33528 w 39909"/>
                <a:gd name="connsiteY23" fmla="*/ 85725 h 100107"/>
                <a:gd name="connsiteX24" fmla="*/ 36195 w 39909"/>
                <a:gd name="connsiteY24" fmla="*/ 79534 h 10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909" h="100107">
                  <a:moveTo>
                    <a:pt x="36195" y="79534"/>
                  </a:moveTo>
                  <a:lnTo>
                    <a:pt x="36195" y="40862"/>
                  </a:lnTo>
                  <a:lnTo>
                    <a:pt x="29432" y="32576"/>
                  </a:lnTo>
                  <a:lnTo>
                    <a:pt x="30956" y="21241"/>
                  </a:lnTo>
                  <a:lnTo>
                    <a:pt x="20193" y="14573"/>
                  </a:lnTo>
                  <a:lnTo>
                    <a:pt x="22098" y="2191"/>
                  </a:lnTo>
                  <a:lnTo>
                    <a:pt x="13621" y="2667"/>
                  </a:lnTo>
                  <a:lnTo>
                    <a:pt x="3239" y="0"/>
                  </a:lnTo>
                  <a:lnTo>
                    <a:pt x="3143" y="95"/>
                  </a:lnTo>
                  <a:lnTo>
                    <a:pt x="0" y="10096"/>
                  </a:lnTo>
                  <a:lnTo>
                    <a:pt x="9335" y="17145"/>
                  </a:lnTo>
                  <a:lnTo>
                    <a:pt x="6763" y="33147"/>
                  </a:lnTo>
                  <a:lnTo>
                    <a:pt x="14002" y="33147"/>
                  </a:lnTo>
                  <a:lnTo>
                    <a:pt x="10382" y="48578"/>
                  </a:lnTo>
                  <a:lnTo>
                    <a:pt x="18098" y="55817"/>
                  </a:lnTo>
                  <a:lnTo>
                    <a:pt x="13430" y="60484"/>
                  </a:lnTo>
                  <a:lnTo>
                    <a:pt x="13430" y="72295"/>
                  </a:lnTo>
                  <a:lnTo>
                    <a:pt x="18098" y="73343"/>
                  </a:lnTo>
                  <a:lnTo>
                    <a:pt x="13430" y="85249"/>
                  </a:lnTo>
                  <a:lnTo>
                    <a:pt x="25718" y="100108"/>
                  </a:lnTo>
                  <a:lnTo>
                    <a:pt x="25718" y="100108"/>
                  </a:lnTo>
                  <a:lnTo>
                    <a:pt x="27146" y="99441"/>
                  </a:lnTo>
                  <a:lnTo>
                    <a:pt x="39910" y="97250"/>
                  </a:lnTo>
                  <a:lnTo>
                    <a:pt x="33528" y="85725"/>
                  </a:lnTo>
                  <a:lnTo>
                    <a:pt x="36195" y="7953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0" name="Freeform: Shape 2750">
              <a:extLst>
                <a:ext uri="{FF2B5EF4-FFF2-40B4-BE49-F238E27FC236}">
                  <a16:creationId xmlns:a16="http://schemas.microsoft.com/office/drawing/2014/main" id="{EF6E5E3A-FDBD-7898-E759-9F1653CCF7F3}"/>
                </a:ext>
              </a:extLst>
            </p:cNvPr>
            <p:cNvSpPr/>
            <p:nvPr/>
          </p:nvSpPr>
          <p:spPr>
            <a:xfrm>
              <a:off x="2330862" y="4629181"/>
              <a:ext cx="214217" cy="213455"/>
            </a:xfrm>
            <a:custGeom>
              <a:avLst/>
              <a:gdLst>
                <a:gd name="connsiteX0" fmla="*/ 161163 w 214217"/>
                <a:gd name="connsiteY0" fmla="*/ 50387 h 213455"/>
                <a:gd name="connsiteX1" fmla="*/ 157258 w 214217"/>
                <a:gd name="connsiteY1" fmla="*/ 49340 h 213455"/>
                <a:gd name="connsiteX2" fmla="*/ 160687 w 214217"/>
                <a:gd name="connsiteY2" fmla="*/ 45529 h 213455"/>
                <a:gd name="connsiteX3" fmla="*/ 159830 w 214217"/>
                <a:gd name="connsiteY3" fmla="*/ 40386 h 213455"/>
                <a:gd name="connsiteX4" fmla="*/ 88297 w 214217"/>
                <a:gd name="connsiteY4" fmla="*/ 191 h 213455"/>
                <a:gd name="connsiteX5" fmla="*/ 85344 w 214217"/>
                <a:gd name="connsiteY5" fmla="*/ 191 h 213455"/>
                <a:gd name="connsiteX6" fmla="*/ 71628 w 214217"/>
                <a:gd name="connsiteY6" fmla="*/ 20479 h 213455"/>
                <a:gd name="connsiteX7" fmla="*/ 83248 w 214217"/>
                <a:gd name="connsiteY7" fmla="*/ 22765 h 213455"/>
                <a:gd name="connsiteX8" fmla="*/ 72390 w 214217"/>
                <a:gd name="connsiteY8" fmla="*/ 32099 h 213455"/>
                <a:gd name="connsiteX9" fmla="*/ 53054 w 214217"/>
                <a:gd name="connsiteY9" fmla="*/ 28194 h 213455"/>
                <a:gd name="connsiteX10" fmla="*/ 43720 w 214217"/>
                <a:gd name="connsiteY10" fmla="*/ 38195 h 213455"/>
                <a:gd name="connsiteX11" fmla="*/ 38291 w 214217"/>
                <a:gd name="connsiteY11" fmla="*/ 22765 h 213455"/>
                <a:gd name="connsiteX12" fmla="*/ 44482 w 214217"/>
                <a:gd name="connsiteY12" fmla="*/ 6477 h 213455"/>
                <a:gd name="connsiteX13" fmla="*/ 40481 w 214217"/>
                <a:gd name="connsiteY13" fmla="*/ 0 h 213455"/>
                <a:gd name="connsiteX14" fmla="*/ 22669 w 214217"/>
                <a:gd name="connsiteY14" fmla="*/ 0 h 213455"/>
                <a:gd name="connsiteX15" fmla="*/ 17335 w 214217"/>
                <a:gd name="connsiteY15" fmla="*/ 1905 h 213455"/>
                <a:gd name="connsiteX16" fmla="*/ 23622 w 214217"/>
                <a:gd name="connsiteY16" fmla="*/ 10763 h 213455"/>
                <a:gd name="connsiteX17" fmla="*/ 23336 w 214217"/>
                <a:gd name="connsiteY17" fmla="*/ 18098 h 213455"/>
                <a:gd name="connsiteX18" fmla="*/ 25813 w 214217"/>
                <a:gd name="connsiteY18" fmla="*/ 21431 h 213455"/>
                <a:gd name="connsiteX19" fmla="*/ 25051 w 214217"/>
                <a:gd name="connsiteY19" fmla="*/ 28194 h 213455"/>
                <a:gd name="connsiteX20" fmla="*/ 19050 w 214217"/>
                <a:gd name="connsiteY20" fmla="*/ 28194 h 213455"/>
                <a:gd name="connsiteX21" fmla="*/ 16669 w 214217"/>
                <a:gd name="connsiteY21" fmla="*/ 38195 h 213455"/>
                <a:gd name="connsiteX22" fmla="*/ 23908 w 214217"/>
                <a:gd name="connsiteY22" fmla="*/ 38862 h 213455"/>
                <a:gd name="connsiteX23" fmla="*/ 24479 w 214217"/>
                <a:gd name="connsiteY23" fmla="*/ 44387 h 213455"/>
                <a:gd name="connsiteX24" fmla="*/ 17335 w 214217"/>
                <a:gd name="connsiteY24" fmla="*/ 50006 h 213455"/>
                <a:gd name="connsiteX25" fmla="*/ 16478 w 214217"/>
                <a:gd name="connsiteY25" fmla="*/ 56007 h 213455"/>
                <a:gd name="connsiteX26" fmla="*/ 13049 w 214217"/>
                <a:gd name="connsiteY26" fmla="*/ 56007 h 213455"/>
                <a:gd name="connsiteX27" fmla="*/ 9335 w 214217"/>
                <a:gd name="connsiteY27" fmla="*/ 64770 h 213455"/>
                <a:gd name="connsiteX28" fmla="*/ 0 w 214217"/>
                <a:gd name="connsiteY28" fmla="*/ 68771 h 213455"/>
                <a:gd name="connsiteX29" fmla="*/ 6572 w 214217"/>
                <a:gd name="connsiteY29" fmla="*/ 93154 h 213455"/>
                <a:gd name="connsiteX30" fmla="*/ 2000 w 214217"/>
                <a:gd name="connsiteY30" fmla="*/ 105537 h 213455"/>
                <a:gd name="connsiteX31" fmla="*/ 9716 w 214217"/>
                <a:gd name="connsiteY31" fmla="*/ 107918 h 213455"/>
                <a:gd name="connsiteX32" fmla="*/ 19717 w 214217"/>
                <a:gd name="connsiteY32" fmla="*/ 118682 h 213455"/>
                <a:gd name="connsiteX33" fmla="*/ 21336 w 214217"/>
                <a:gd name="connsiteY33" fmla="*/ 133445 h 213455"/>
                <a:gd name="connsiteX34" fmla="*/ 32956 w 214217"/>
                <a:gd name="connsiteY34" fmla="*/ 148876 h 213455"/>
                <a:gd name="connsiteX35" fmla="*/ 38005 w 214217"/>
                <a:gd name="connsiteY35" fmla="*/ 150114 h 213455"/>
                <a:gd name="connsiteX36" fmla="*/ 40291 w 214217"/>
                <a:gd name="connsiteY36" fmla="*/ 157829 h 213455"/>
                <a:gd name="connsiteX37" fmla="*/ 46101 w 214217"/>
                <a:gd name="connsiteY37" fmla="*/ 155448 h 213455"/>
                <a:gd name="connsiteX38" fmla="*/ 48482 w 214217"/>
                <a:gd name="connsiteY38" fmla="*/ 160115 h 213455"/>
                <a:gd name="connsiteX39" fmla="*/ 62770 w 214217"/>
                <a:gd name="connsiteY39" fmla="*/ 164021 h 213455"/>
                <a:gd name="connsiteX40" fmla="*/ 84392 w 214217"/>
                <a:gd name="connsiteY40" fmla="*/ 169831 h 213455"/>
                <a:gd name="connsiteX41" fmla="*/ 84487 w 214217"/>
                <a:gd name="connsiteY41" fmla="*/ 169926 h 213455"/>
                <a:gd name="connsiteX42" fmla="*/ 84773 w 214217"/>
                <a:gd name="connsiteY42" fmla="*/ 169069 h 213455"/>
                <a:gd name="connsiteX43" fmla="*/ 99441 w 214217"/>
                <a:gd name="connsiteY43" fmla="*/ 179070 h 213455"/>
                <a:gd name="connsiteX44" fmla="*/ 99441 w 214217"/>
                <a:gd name="connsiteY44" fmla="*/ 200787 h 213455"/>
                <a:gd name="connsiteX45" fmla="*/ 107252 w 214217"/>
                <a:gd name="connsiteY45" fmla="*/ 210312 h 213455"/>
                <a:gd name="connsiteX46" fmla="*/ 117729 w 214217"/>
                <a:gd name="connsiteY46" fmla="*/ 209836 h 213455"/>
                <a:gd name="connsiteX47" fmla="*/ 124301 w 214217"/>
                <a:gd name="connsiteY47" fmla="*/ 205169 h 213455"/>
                <a:gd name="connsiteX48" fmla="*/ 131255 w 214217"/>
                <a:gd name="connsiteY48" fmla="*/ 213074 h 213455"/>
                <a:gd name="connsiteX49" fmla="*/ 138208 w 214217"/>
                <a:gd name="connsiteY49" fmla="*/ 213455 h 213455"/>
                <a:gd name="connsiteX50" fmla="*/ 145542 w 214217"/>
                <a:gd name="connsiteY50" fmla="*/ 207074 h 213455"/>
                <a:gd name="connsiteX51" fmla="*/ 155257 w 214217"/>
                <a:gd name="connsiteY51" fmla="*/ 213074 h 213455"/>
                <a:gd name="connsiteX52" fmla="*/ 162211 w 214217"/>
                <a:gd name="connsiteY52" fmla="*/ 209836 h 213455"/>
                <a:gd name="connsiteX53" fmla="*/ 162973 w 214217"/>
                <a:gd name="connsiteY53" fmla="*/ 203930 h 213455"/>
                <a:gd name="connsiteX54" fmla="*/ 169164 w 214217"/>
                <a:gd name="connsiteY54" fmla="*/ 201549 h 213455"/>
                <a:gd name="connsiteX55" fmla="*/ 176498 w 214217"/>
                <a:gd name="connsiteY55" fmla="*/ 207074 h 213455"/>
                <a:gd name="connsiteX56" fmla="*/ 183070 w 214217"/>
                <a:gd name="connsiteY56" fmla="*/ 201549 h 213455"/>
                <a:gd name="connsiteX57" fmla="*/ 191262 w 214217"/>
                <a:gd name="connsiteY57" fmla="*/ 201549 h 213455"/>
                <a:gd name="connsiteX58" fmla="*/ 214217 w 214217"/>
                <a:gd name="connsiteY58" fmla="*/ 188881 h 213455"/>
                <a:gd name="connsiteX59" fmla="*/ 199549 w 214217"/>
                <a:gd name="connsiteY59" fmla="*/ 179451 h 213455"/>
                <a:gd name="connsiteX60" fmla="*/ 191643 w 214217"/>
                <a:gd name="connsiteY60" fmla="*/ 145161 h 213455"/>
                <a:gd name="connsiteX61" fmla="*/ 198596 w 214217"/>
                <a:gd name="connsiteY61" fmla="*/ 135731 h 213455"/>
                <a:gd name="connsiteX62" fmla="*/ 190976 w 214217"/>
                <a:gd name="connsiteY62" fmla="*/ 135255 h 213455"/>
                <a:gd name="connsiteX63" fmla="*/ 196882 w 214217"/>
                <a:gd name="connsiteY63" fmla="*/ 119063 h 213455"/>
                <a:gd name="connsiteX64" fmla="*/ 181737 w 214217"/>
                <a:gd name="connsiteY64" fmla="*/ 100203 h 213455"/>
                <a:gd name="connsiteX65" fmla="*/ 189928 w 214217"/>
                <a:gd name="connsiteY65" fmla="*/ 72866 h 213455"/>
                <a:gd name="connsiteX66" fmla="*/ 161925 w 214217"/>
                <a:gd name="connsiteY66" fmla="*/ 52864 h 213455"/>
                <a:gd name="connsiteX67" fmla="*/ 161163 w 214217"/>
                <a:gd name="connsiteY67" fmla="*/ 50387 h 2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14217" h="213455">
                  <a:moveTo>
                    <a:pt x="161163" y="50387"/>
                  </a:moveTo>
                  <a:lnTo>
                    <a:pt x="157258" y="49340"/>
                  </a:lnTo>
                  <a:lnTo>
                    <a:pt x="160687" y="45529"/>
                  </a:lnTo>
                  <a:lnTo>
                    <a:pt x="159830" y="40386"/>
                  </a:lnTo>
                  <a:lnTo>
                    <a:pt x="88297" y="191"/>
                  </a:lnTo>
                  <a:lnTo>
                    <a:pt x="85344" y="191"/>
                  </a:lnTo>
                  <a:lnTo>
                    <a:pt x="71628" y="20479"/>
                  </a:lnTo>
                  <a:lnTo>
                    <a:pt x="83248" y="22765"/>
                  </a:lnTo>
                  <a:lnTo>
                    <a:pt x="72390" y="32099"/>
                  </a:lnTo>
                  <a:lnTo>
                    <a:pt x="53054" y="28194"/>
                  </a:lnTo>
                  <a:lnTo>
                    <a:pt x="43720" y="38195"/>
                  </a:lnTo>
                  <a:lnTo>
                    <a:pt x="38291" y="22765"/>
                  </a:lnTo>
                  <a:lnTo>
                    <a:pt x="44482" y="6477"/>
                  </a:lnTo>
                  <a:lnTo>
                    <a:pt x="40481" y="0"/>
                  </a:lnTo>
                  <a:lnTo>
                    <a:pt x="22669" y="0"/>
                  </a:lnTo>
                  <a:lnTo>
                    <a:pt x="17335" y="1905"/>
                  </a:lnTo>
                  <a:lnTo>
                    <a:pt x="23622" y="10763"/>
                  </a:lnTo>
                  <a:lnTo>
                    <a:pt x="23336" y="18098"/>
                  </a:lnTo>
                  <a:lnTo>
                    <a:pt x="25813" y="21431"/>
                  </a:lnTo>
                  <a:lnTo>
                    <a:pt x="25051" y="28194"/>
                  </a:lnTo>
                  <a:lnTo>
                    <a:pt x="19050" y="28194"/>
                  </a:lnTo>
                  <a:lnTo>
                    <a:pt x="16669" y="38195"/>
                  </a:lnTo>
                  <a:lnTo>
                    <a:pt x="23908" y="38862"/>
                  </a:lnTo>
                  <a:lnTo>
                    <a:pt x="24479" y="44387"/>
                  </a:lnTo>
                  <a:lnTo>
                    <a:pt x="17335" y="50006"/>
                  </a:lnTo>
                  <a:lnTo>
                    <a:pt x="16478" y="56007"/>
                  </a:lnTo>
                  <a:lnTo>
                    <a:pt x="13049" y="56007"/>
                  </a:lnTo>
                  <a:lnTo>
                    <a:pt x="9335" y="64770"/>
                  </a:lnTo>
                  <a:lnTo>
                    <a:pt x="0" y="68771"/>
                  </a:lnTo>
                  <a:lnTo>
                    <a:pt x="6572" y="93154"/>
                  </a:lnTo>
                  <a:lnTo>
                    <a:pt x="2000" y="105537"/>
                  </a:lnTo>
                  <a:lnTo>
                    <a:pt x="9716" y="107918"/>
                  </a:lnTo>
                  <a:lnTo>
                    <a:pt x="19717" y="118682"/>
                  </a:lnTo>
                  <a:lnTo>
                    <a:pt x="21336" y="133445"/>
                  </a:lnTo>
                  <a:lnTo>
                    <a:pt x="32956" y="148876"/>
                  </a:lnTo>
                  <a:lnTo>
                    <a:pt x="38005" y="150114"/>
                  </a:lnTo>
                  <a:lnTo>
                    <a:pt x="40291" y="157829"/>
                  </a:lnTo>
                  <a:lnTo>
                    <a:pt x="46101" y="155448"/>
                  </a:lnTo>
                  <a:lnTo>
                    <a:pt x="48482" y="160115"/>
                  </a:lnTo>
                  <a:lnTo>
                    <a:pt x="62770" y="164021"/>
                  </a:lnTo>
                  <a:lnTo>
                    <a:pt x="84392" y="169831"/>
                  </a:lnTo>
                  <a:lnTo>
                    <a:pt x="84487" y="169926"/>
                  </a:lnTo>
                  <a:lnTo>
                    <a:pt x="84773" y="169069"/>
                  </a:lnTo>
                  <a:lnTo>
                    <a:pt x="99441" y="179070"/>
                  </a:lnTo>
                  <a:lnTo>
                    <a:pt x="99441" y="200787"/>
                  </a:lnTo>
                  <a:lnTo>
                    <a:pt x="107252" y="210312"/>
                  </a:lnTo>
                  <a:lnTo>
                    <a:pt x="117729" y="209836"/>
                  </a:lnTo>
                  <a:lnTo>
                    <a:pt x="124301" y="205169"/>
                  </a:lnTo>
                  <a:lnTo>
                    <a:pt x="131255" y="213074"/>
                  </a:lnTo>
                  <a:lnTo>
                    <a:pt x="138208" y="213455"/>
                  </a:lnTo>
                  <a:lnTo>
                    <a:pt x="145542" y="207074"/>
                  </a:lnTo>
                  <a:lnTo>
                    <a:pt x="155257" y="213074"/>
                  </a:lnTo>
                  <a:lnTo>
                    <a:pt x="162211" y="209836"/>
                  </a:lnTo>
                  <a:lnTo>
                    <a:pt x="162973" y="203930"/>
                  </a:lnTo>
                  <a:lnTo>
                    <a:pt x="169164" y="201549"/>
                  </a:lnTo>
                  <a:lnTo>
                    <a:pt x="176498" y="207074"/>
                  </a:lnTo>
                  <a:lnTo>
                    <a:pt x="183070" y="201549"/>
                  </a:lnTo>
                  <a:lnTo>
                    <a:pt x="191262" y="201549"/>
                  </a:lnTo>
                  <a:lnTo>
                    <a:pt x="214217" y="188881"/>
                  </a:lnTo>
                  <a:lnTo>
                    <a:pt x="199549" y="179451"/>
                  </a:lnTo>
                  <a:lnTo>
                    <a:pt x="191643" y="145161"/>
                  </a:lnTo>
                  <a:lnTo>
                    <a:pt x="198596" y="135731"/>
                  </a:lnTo>
                  <a:lnTo>
                    <a:pt x="190976" y="135255"/>
                  </a:lnTo>
                  <a:lnTo>
                    <a:pt x="196882" y="119063"/>
                  </a:lnTo>
                  <a:lnTo>
                    <a:pt x="181737" y="100203"/>
                  </a:lnTo>
                  <a:lnTo>
                    <a:pt x="189928" y="72866"/>
                  </a:lnTo>
                  <a:lnTo>
                    <a:pt x="161925" y="52864"/>
                  </a:lnTo>
                  <a:lnTo>
                    <a:pt x="161163" y="5038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1" name="Freeform: Shape 2751">
              <a:extLst>
                <a:ext uri="{FF2B5EF4-FFF2-40B4-BE49-F238E27FC236}">
                  <a16:creationId xmlns:a16="http://schemas.microsoft.com/office/drawing/2014/main" id="{78EBB31A-B2B1-CE54-462B-29F1EA904141}"/>
                </a:ext>
              </a:extLst>
            </p:cNvPr>
            <p:cNvSpPr/>
            <p:nvPr/>
          </p:nvSpPr>
          <p:spPr>
            <a:xfrm>
              <a:off x="2369153" y="4605464"/>
              <a:ext cx="64293" cy="61912"/>
            </a:xfrm>
            <a:custGeom>
              <a:avLst/>
              <a:gdLst>
                <a:gd name="connsiteX0" fmla="*/ 0 w 64293"/>
                <a:gd name="connsiteY0" fmla="*/ 46482 h 61912"/>
                <a:gd name="connsiteX1" fmla="*/ 5429 w 64293"/>
                <a:gd name="connsiteY1" fmla="*/ 61913 h 61912"/>
                <a:gd name="connsiteX2" fmla="*/ 14764 w 64293"/>
                <a:gd name="connsiteY2" fmla="*/ 51911 h 61912"/>
                <a:gd name="connsiteX3" fmla="*/ 34099 w 64293"/>
                <a:gd name="connsiteY3" fmla="*/ 55816 h 61912"/>
                <a:gd name="connsiteX4" fmla="*/ 44958 w 64293"/>
                <a:gd name="connsiteY4" fmla="*/ 46482 h 61912"/>
                <a:gd name="connsiteX5" fmla="*/ 33337 w 64293"/>
                <a:gd name="connsiteY5" fmla="*/ 44196 h 61912"/>
                <a:gd name="connsiteX6" fmla="*/ 47053 w 64293"/>
                <a:gd name="connsiteY6" fmla="*/ 23908 h 61912"/>
                <a:gd name="connsiteX7" fmla="*/ 49530 w 64293"/>
                <a:gd name="connsiteY7" fmla="*/ 20193 h 61912"/>
                <a:gd name="connsiteX8" fmla="*/ 64294 w 64293"/>
                <a:gd name="connsiteY8" fmla="*/ 12478 h 61912"/>
                <a:gd name="connsiteX9" fmla="*/ 50292 w 64293"/>
                <a:gd name="connsiteY9" fmla="*/ 7048 h 61912"/>
                <a:gd name="connsiteX10" fmla="*/ 47053 w 64293"/>
                <a:gd name="connsiteY10" fmla="*/ 2096 h 61912"/>
                <a:gd name="connsiteX11" fmla="*/ 45720 w 64293"/>
                <a:gd name="connsiteY11" fmla="*/ 0 h 61912"/>
                <a:gd name="connsiteX12" fmla="*/ 9334 w 64293"/>
                <a:gd name="connsiteY12" fmla="*/ 5429 h 61912"/>
                <a:gd name="connsiteX13" fmla="*/ 0 w 64293"/>
                <a:gd name="connsiteY13" fmla="*/ 20193 h 61912"/>
                <a:gd name="connsiteX14" fmla="*/ 2191 w 64293"/>
                <a:gd name="connsiteY14" fmla="*/ 23717 h 61912"/>
                <a:gd name="connsiteX15" fmla="*/ 6191 w 64293"/>
                <a:gd name="connsiteY15" fmla="*/ 30194 h 61912"/>
                <a:gd name="connsiteX16" fmla="*/ 0 w 64293"/>
                <a:gd name="connsiteY16" fmla="*/ 46482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293" h="61912">
                  <a:moveTo>
                    <a:pt x="0" y="46482"/>
                  </a:moveTo>
                  <a:lnTo>
                    <a:pt x="5429" y="61913"/>
                  </a:lnTo>
                  <a:lnTo>
                    <a:pt x="14764" y="51911"/>
                  </a:lnTo>
                  <a:lnTo>
                    <a:pt x="34099" y="55816"/>
                  </a:lnTo>
                  <a:lnTo>
                    <a:pt x="44958" y="46482"/>
                  </a:lnTo>
                  <a:lnTo>
                    <a:pt x="33337" y="44196"/>
                  </a:lnTo>
                  <a:lnTo>
                    <a:pt x="47053" y="23908"/>
                  </a:lnTo>
                  <a:lnTo>
                    <a:pt x="49530" y="20193"/>
                  </a:lnTo>
                  <a:lnTo>
                    <a:pt x="64294" y="12478"/>
                  </a:lnTo>
                  <a:lnTo>
                    <a:pt x="50292" y="7048"/>
                  </a:lnTo>
                  <a:lnTo>
                    <a:pt x="47053" y="2096"/>
                  </a:lnTo>
                  <a:lnTo>
                    <a:pt x="45720" y="0"/>
                  </a:lnTo>
                  <a:lnTo>
                    <a:pt x="9334" y="5429"/>
                  </a:lnTo>
                  <a:lnTo>
                    <a:pt x="0" y="20193"/>
                  </a:lnTo>
                  <a:lnTo>
                    <a:pt x="2191" y="23717"/>
                  </a:lnTo>
                  <a:lnTo>
                    <a:pt x="6191" y="30194"/>
                  </a:lnTo>
                  <a:lnTo>
                    <a:pt x="0" y="4648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2" name="Freeform: Shape 2752">
              <a:extLst>
                <a:ext uri="{FF2B5EF4-FFF2-40B4-BE49-F238E27FC236}">
                  <a16:creationId xmlns:a16="http://schemas.microsoft.com/office/drawing/2014/main" id="{A63D38FC-D88B-A5B9-574C-5A01F99C4800}"/>
                </a:ext>
              </a:extLst>
            </p:cNvPr>
            <p:cNvSpPr/>
            <p:nvPr/>
          </p:nvSpPr>
          <p:spPr>
            <a:xfrm>
              <a:off x="2353341" y="5129815"/>
              <a:ext cx="27717" cy="34099"/>
            </a:xfrm>
            <a:custGeom>
              <a:avLst/>
              <a:gdLst>
                <a:gd name="connsiteX0" fmla="*/ 25527 w 27717"/>
                <a:gd name="connsiteY0" fmla="*/ 12954 h 34099"/>
                <a:gd name="connsiteX1" fmla="*/ 27146 w 27717"/>
                <a:gd name="connsiteY1" fmla="*/ 10478 h 34099"/>
                <a:gd name="connsiteX2" fmla="*/ 26194 w 27717"/>
                <a:gd name="connsiteY2" fmla="*/ 5334 h 34099"/>
                <a:gd name="connsiteX3" fmla="*/ 21146 w 27717"/>
                <a:gd name="connsiteY3" fmla="*/ 6382 h 34099"/>
                <a:gd name="connsiteX4" fmla="*/ 11811 w 27717"/>
                <a:gd name="connsiteY4" fmla="*/ 0 h 34099"/>
                <a:gd name="connsiteX5" fmla="*/ 6763 w 27717"/>
                <a:gd name="connsiteY5" fmla="*/ 3334 h 34099"/>
                <a:gd name="connsiteX6" fmla="*/ 0 w 27717"/>
                <a:gd name="connsiteY6" fmla="*/ 15621 h 34099"/>
                <a:gd name="connsiteX7" fmla="*/ 0 w 27717"/>
                <a:gd name="connsiteY7" fmla="*/ 23241 h 34099"/>
                <a:gd name="connsiteX8" fmla="*/ 3715 w 27717"/>
                <a:gd name="connsiteY8" fmla="*/ 23051 h 34099"/>
                <a:gd name="connsiteX9" fmla="*/ 5429 w 27717"/>
                <a:gd name="connsiteY9" fmla="*/ 28956 h 34099"/>
                <a:gd name="connsiteX10" fmla="*/ 13621 w 27717"/>
                <a:gd name="connsiteY10" fmla="*/ 34100 h 34099"/>
                <a:gd name="connsiteX11" fmla="*/ 24003 w 27717"/>
                <a:gd name="connsiteY11" fmla="*/ 33909 h 34099"/>
                <a:gd name="connsiteX12" fmla="*/ 24003 w 27717"/>
                <a:gd name="connsiteY12" fmla="*/ 23813 h 34099"/>
                <a:gd name="connsiteX13" fmla="*/ 27718 w 27717"/>
                <a:gd name="connsiteY13" fmla="*/ 24003 h 34099"/>
                <a:gd name="connsiteX14" fmla="*/ 27718 w 27717"/>
                <a:gd name="connsiteY14" fmla="*/ 16859 h 34099"/>
                <a:gd name="connsiteX15" fmla="*/ 25527 w 27717"/>
                <a:gd name="connsiteY15" fmla="*/ 12954 h 3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7" h="34099">
                  <a:moveTo>
                    <a:pt x="25527" y="12954"/>
                  </a:moveTo>
                  <a:lnTo>
                    <a:pt x="27146" y="10478"/>
                  </a:lnTo>
                  <a:lnTo>
                    <a:pt x="26194" y="5334"/>
                  </a:lnTo>
                  <a:lnTo>
                    <a:pt x="21146" y="6382"/>
                  </a:lnTo>
                  <a:lnTo>
                    <a:pt x="11811" y="0"/>
                  </a:lnTo>
                  <a:lnTo>
                    <a:pt x="6763" y="3334"/>
                  </a:lnTo>
                  <a:lnTo>
                    <a:pt x="0" y="15621"/>
                  </a:lnTo>
                  <a:lnTo>
                    <a:pt x="0" y="23241"/>
                  </a:lnTo>
                  <a:lnTo>
                    <a:pt x="3715" y="23051"/>
                  </a:lnTo>
                  <a:lnTo>
                    <a:pt x="5429" y="28956"/>
                  </a:lnTo>
                  <a:lnTo>
                    <a:pt x="13621" y="34100"/>
                  </a:lnTo>
                  <a:lnTo>
                    <a:pt x="24003" y="33909"/>
                  </a:lnTo>
                  <a:lnTo>
                    <a:pt x="24003" y="23813"/>
                  </a:lnTo>
                  <a:lnTo>
                    <a:pt x="27718" y="24003"/>
                  </a:lnTo>
                  <a:lnTo>
                    <a:pt x="27718" y="16859"/>
                  </a:lnTo>
                  <a:lnTo>
                    <a:pt x="25527" y="129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3" name="Freeform: Shape 2753">
              <a:extLst>
                <a:ext uri="{FF2B5EF4-FFF2-40B4-BE49-F238E27FC236}">
                  <a16:creationId xmlns:a16="http://schemas.microsoft.com/office/drawing/2014/main" id="{EE6AB924-7C0D-0643-EC41-B7905E6E0809}"/>
                </a:ext>
              </a:extLst>
            </p:cNvPr>
            <p:cNvSpPr/>
            <p:nvPr/>
          </p:nvSpPr>
          <p:spPr>
            <a:xfrm>
              <a:off x="2174747" y="4167409"/>
              <a:ext cx="334232" cy="270128"/>
            </a:xfrm>
            <a:custGeom>
              <a:avLst/>
              <a:gdLst>
                <a:gd name="connsiteX0" fmla="*/ 64865 w 334232"/>
                <a:gd name="connsiteY0" fmla="*/ 0 h 270128"/>
                <a:gd name="connsiteX1" fmla="*/ 64865 w 334232"/>
                <a:gd name="connsiteY1" fmla="*/ 40957 h 270128"/>
                <a:gd name="connsiteX2" fmla="*/ 44767 w 334232"/>
                <a:gd name="connsiteY2" fmla="*/ 42196 h 270128"/>
                <a:gd name="connsiteX3" fmla="*/ 44767 w 334232"/>
                <a:gd name="connsiteY3" fmla="*/ 51721 h 270128"/>
                <a:gd name="connsiteX4" fmla="*/ 44767 w 334232"/>
                <a:gd name="connsiteY4" fmla="*/ 127635 h 270128"/>
                <a:gd name="connsiteX5" fmla="*/ 23717 w 334232"/>
                <a:gd name="connsiteY5" fmla="*/ 128111 h 270128"/>
                <a:gd name="connsiteX6" fmla="*/ 25813 w 334232"/>
                <a:gd name="connsiteY6" fmla="*/ 139732 h 270128"/>
                <a:gd name="connsiteX7" fmla="*/ 18574 w 334232"/>
                <a:gd name="connsiteY7" fmla="*/ 143923 h 270128"/>
                <a:gd name="connsiteX8" fmla="*/ 19050 w 334232"/>
                <a:gd name="connsiteY8" fmla="*/ 149733 h 270128"/>
                <a:gd name="connsiteX9" fmla="*/ 11811 w 334232"/>
                <a:gd name="connsiteY9" fmla="*/ 153924 h 270128"/>
                <a:gd name="connsiteX10" fmla="*/ 18002 w 334232"/>
                <a:gd name="connsiteY10" fmla="*/ 161354 h 270128"/>
                <a:gd name="connsiteX11" fmla="*/ 8287 w 334232"/>
                <a:gd name="connsiteY11" fmla="*/ 166592 h 270128"/>
                <a:gd name="connsiteX12" fmla="*/ 11811 w 334232"/>
                <a:gd name="connsiteY12" fmla="*/ 175546 h 270128"/>
                <a:gd name="connsiteX13" fmla="*/ 0 w 334232"/>
                <a:gd name="connsiteY13" fmla="*/ 184499 h 270128"/>
                <a:gd name="connsiteX14" fmla="*/ 4096 w 334232"/>
                <a:gd name="connsiteY14" fmla="*/ 194024 h 270128"/>
                <a:gd name="connsiteX15" fmla="*/ 12383 w 334232"/>
                <a:gd name="connsiteY15" fmla="*/ 188785 h 270128"/>
                <a:gd name="connsiteX16" fmla="*/ 14383 w 334232"/>
                <a:gd name="connsiteY16" fmla="*/ 199834 h 270128"/>
                <a:gd name="connsiteX17" fmla="*/ 20098 w 334232"/>
                <a:gd name="connsiteY17" fmla="*/ 202406 h 270128"/>
                <a:gd name="connsiteX18" fmla="*/ 17050 w 334232"/>
                <a:gd name="connsiteY18" fmla="*/ 210407 h 270128"/>
                <a:gd name="connsiteX19" fmla="*/ 25241 w 334232"/>
                <a:gd name="connsiteY19" fmla="*/ 215646 h 270128"/>
                <a:gd name="connsiteX20" fmla="*/ 22669 w 334232"/>
                <a:gd name="connsiteY20" fmla="*/ 225076 h 270128"/>
                <a:gd name="connsiteX21" fmla="*/ 32004 w 334232"/>
                <a:gd name="connsiteY21" fmla="*/ 234982 h 270128"/>
                <a:gd name="connsiteX22" fmla="*/ 39338 w 334232"/>
                <a:gd name="connsiteY22" fmla="*/ 249269 h 270128"/>
                <a:gd name="connsiteX23" fmla="*/ 35052 w 334232"/>
                <a:gd name="connsiteY23" fmla="*/ 257746 h 270128"/>
                <a:gd name="connsiteX24" fmla="*/ 37814 w 334232"/>
                <a:gd name="connsiteY24" fmla="*/ 263176 h 270128"/>
                <a:gd name="connsiteX25" fmla="*/ 33909 w 334232"/>
                <a:gd name="connsiteY25" fmla="*/ 268605 h 270128"/>
                <a:gd name="connsiteX26" fmla="*/ 49340 w 334232"/>
                <a:gd name="connsiteY26" fmla="*/ 270129 h 270128"/>
                <a:gd name="connsiteX27" fmla="*/ 54769 w 334232"/>
                <a:gd name="connsiteY27" fmla="*/ 255460 h 270128"/>
                <a:gd name="connsiteX28" fmla="*/ 65246 w 334232"/>
                <a:gd name="connsiteY28" fmla="*/ 245364 h 270128"/>
                <a:gd name="connsiteX29" fmla="*/ 66389 w 334232"/>
                <a:gd name="connsiteY29" fmla="*/ 238030 h 270128"/>
                <a:gd name="connsiteX30" fmla="*/ 81915 w 334232"/>
                <a:gd name="connsiteY30" fmla="*/ 235744 h 270128"/>
                <a:gd name="connsiteX31" fmla="*/ 83058 w 334232"/>
                <a:gd name="connsiteY31" fmla="*/ 241173 h 270128"/>
                <a:gd name="connsiteX32" fmla="*/ 87725 w 334232"/>
                <a:gd name="connsiteY32" fmla="*/ 244221 h 270128"/>
                <a:gd name="connsiteX33" fmla="*/ 90392 w 334232"/>
                <a:gd name="connsiteY33" fmla="*/ 253174 h 270128"/>
                <a:gd name="connsiteX34" fmla="*/ 97346 w 334232"/>
                <a:gd name="connsiteY34" fmla="*/ 255841 h 270128"/>
                <a:gd name="connsiteX35" fmla="*/ 108585 w 334232"/>
                <a:gd name="connsiteY35" fmla="*/ 250793 h 270128"/>
                <a:gd name="connsiteX36" fmla="*/ 153829 w 334232"/>
                <a:gd name="connsiteY36" fmla="*/ 248126 h 270128"/>
                <a:gd name="connsiteX37" fmla="*/ 154972 w 334232"/>
                <a:gd name="connsiteY37" fmla="*/ 239935 h 270128"/>
                <a:gd name="connsiteX38" fmla="*/ 164306 w 334232"/>
                <a:gd name="connsiteY38" fmla="*/ 236887 h 270128"/>
                <a:gd name="connsiteX39" fmla="*/ 179737 w 334232"/>
                <a:gd name="connsiteY39" fmla="*/ 248507 h 270128"/>
                <a:gd name="connsiteX40" fmla="*/ 189452 w 334232"/>
                <a:gd name="connsiteY40" fmla="*/ 247745 h 270128"/>
                <a:gd name="connsiteX41" fmla="*/ 204121 w 334232"/>
                <a:gd name="connsiteY41" fmla="*/ 227647 h 270128"/>
                <a:gd name="connsiteX42" fmla="*/ 213074 w 334232"/>
                <a:gd name="connsiteY42" fmla="*/ 221266 h 270128"/>
                <a:gd name="connsiteX43" fmla="*/ 207645 w 334232"/>
                <a:gd name="connsiteY43" fmla="*/ 203073 h 270128"/>
                <a:gd name="connsiteX44" fmla="*/ 219265 w 334232"/>
                <a:gd name="connsiteY44" fmla="*/ 203073 h 270128"/>
                <a:gd name="connsiteX45" fmla="*/ 219265 w 334232"/>
                <a:gd name="connsiteY45" fmla="*/ 198406 h 270128"/>
                <a:gd name="connsiteX46" fmla="*/ 227743 w 334232"/>
                <a:gd name="connsiteY46" fmla="*/ 198406 h 270128"/>
                <a:gd name="connsiteX47" fmla="*/ 227362 w 334232"/>
                <a:gd name="connsiteY47" fmla="*/ 227647 h 270128"/>
                <a:gd name="connsiteX48" fmla="*/ 242126 w 334232"/>
                <a:gd name="connsiteY48" fmla="*/ 241173 h 270128"/>
                <a:gd name="connsiteX49" fmla="*/ 238982 w 334232"/>
                <a:gd name="connsiteY49" fmla="*/ 251936 h 270128"/>
                <a:gd name="connsiteX50" fmla="*/ 244793 w 334232"/>
                <a:gd name="connsiteY50" fmla="*/ 253937 h 270128"/>
                <a:gd name="connsiteX51" fmla="*/ 252127 w 334232"/>
                <a:gd name="connsiteY51" fmla="*/ 240792 h 270128"/>
                <a:gd name="connsiteX52" fmla="*/ 249841 w 334232"/>
                <a:gd name="connsiteY52" fmla="*/ 232315 h 270128"/>
                <a:gd name="connsiteX53" fmla="*/ 253270 w 334232"/>
                <a:gd name="connsiteY53" fmla="*/ 226790 h 270128"/>
                <a:gd name="connsiteX54" fmla="*/ 261842 w 334232"/>
                <a:gd name="connsiteY54" fmla="*/ 228409 h 270128"/>
                <a:gd name="connsiteX55" fmla="*/ 263747 w 334232"/>
                <a:gd name="connsiteY55" fmla="*/ 207073 h 270128"/>
                <a:gd name="connsiteX56" fmla="*/ 269939 w 334232"/>
                <a:gd name="connsiteY56" fmla="*/ 203549 h 270128"/>
                <a:gd name="connsiteX57" fmla="*/ 276130 w 334232"/>
                <a:gd name="connsiteY57" fmla="*/ 189643 h 270128"/>
                <a:gd name="connsiteX58" fmla="*/ 285845 w 334232"/>
                <a:gd name="connsiteY58" fmla="*/ 188881 h 270128"/>
                <a:gd name="connsiteX59" fmla="*/ 285845 w 334232"/>
                <a:gd name="connsiteY59" fmla="*/ 177832 h 270128"/>
                <a:gd name="connsiteX60" fmla="*/ 291656 w 334232"/>
                <a:gd name="connsiteY60" fmla="*/ 171069 h 270128"/>
                <a:gd name="connsiteX61" fmla="*/ 290798 w 334232"/>
                <a:gd name="connsiteY61" fmla="*/ 164401 h 270128"/>
                <a:gd name="connsiteX62" fmla="*/ 293561 w 334232"/>
                <a:gd name="connsiteY62" fmla="*/ 158020 h 270128"/>
                <a:gd name="connsiteX63" fmla="*/ 289274 w 334232"/>
                <a:gd name="connsiteY63" fmla="*/ 140208 h 270128"/>
                <a:gd name="connsiteX64" fmla="*/ 294703 w 334232"/>
                <a:gd name="connsiteY64" fmla="*/ 137065 h 270128"/>
                <a:gd name="connsiteX65" fmla="*/ 302038 w 334232"/>
                <a:gd name="connsiteY65" fmla="*/ 117729 h 270128"/>
                <a:gd name="connsiteX66" fmla="*/ 298609 w 334232"/>
                <a:gd name="connsiteY66" fmla="*/ 110585 h 270128"/>
                <a:gd name="connsiteX67" fmla="*/ 302038 w 334232"/>
                <a:gd name="connsiteY67" fmla="*/ 101060 h 270128"/>
                <a:gd name="connsiteX68" fmla="*/ 311753 w 334232"/>
                <a:gd name="connsiteY68" fmla="*/ 102679 h 270128"/>
                <a:gd name="connsiteX69" fmla="*/ 312515 w 334232"/>
                <a:gd name="connsiteY69" fmla="*/ 95155 h 270128"/>
                <a:gd name="connsiteX70" fmla="*/ 319849 w 334232"/>
                <a:gd name="connsiteY70" fmla="*/ 90868 h 270128"/>
                <a:gd name="connsiteX71" fmla="*/ 326803 w 334232"/>
                <a:gd name="connsiteY71" fmla="*/ 92773 h 270128"/>
                <a:gd name="connsiteX72" fmla="*/ 334232 w 334232"/>
                <a:gd name="connsiteY72" fmla="*/ 81724 h 270128"/>
                <a:gd name="connsiteX73" fmla="*/ 311086 w 334232"/>
                <a:gd name="connsiteY73" fmla="*/ 64865 h 270128"/>
                <a:gd name="connsiteX74" fmla="*/ 310324 w 334232"/>
                <a:gd name="connsiteY74" fmla="*/ 54388 h 270128"/>
                <a:gd name="connsiteX75" fmla="*/ 307753 w 334232"/>
                <a:gd name="connsiteY75" fmla="*/ 19145 h 270128"/>
                <a:gd name="connsiteX76" fmla="*/ 300990 w 334232"/>
                <a:gd name="connsiteY76" fmla="*/ 190 h 270128"/>
                <a:gd name="connsiteX77" fmla="*/ 300895 w 334232"/>
                <a:gd name="connsiteY77" fmla="*/ 0 h 270128"/>
                <a:gd name="connsiteX78" fmla="*/ 64865 w 334232"/>
                <a:gd name="connsiteY78" fmla="*/ 0 h 2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34232" h="270128">
                  <a:moveTo>
                    <a:pt x="64865" y="0"/>
                  </a:moveTo>
                  <a:lnTo>
                    <a:pt x="64865" y="40957"/>
                  </a:lnTo>
                  <a:lnTo>
                    <a:pt x="44767" y="42196"/>
                  </a:lnTo>
                  <a:lnTo>
                    <a:pt x="44767" y="51721"/>
                  </a:lnTo>
                  <a:lnTo>
                    <a:pt x="44767" y="127635"/>
                  </a:lnTo>
                  <a:lnTo>
                    <a:pt x="23717" y="128111"/>
                  </a:lnTo>
                  <a:lnTo>
                    <a:pt x="25813" y="139732"/>
                  </a:lnTo>
                  <a:lnTo>
                    <a:pt x="18574" y="143923"/>
                  </a:lnTo>
                  <a:lnTo>
                    <a:pt x="19050" y="149733"/>
                  </a:lnTo>
                  <a:lnTo>
                    <a:pt x="11811" y="153924"/>
                  </a:lnTo>
                  <a:lnTo>
                    <a:pt x="18002" y="161354"/>
                  </a:lnTo>
                  <a:lnTo>
                    <a:pt x="8287" y="166592"/>
                  </a:lnTo>
                  <a:lnTo>
                    <a:pt x="11811" y="175546"/>
                  </a:lnTo>
                  <a:lnTo>
                    <a:pt x="0" y="184499"/>
                  </a:lnTo>
                  <a:lnTo>
                    <a:pt x="4096" y="194024"/>
                  </a:lnTo>
                  <a:lnTo>
                    <a:pt x="12383" y="188785"/>
                  </a:lnTo>
                  <a:lnTo>
                    <a:pt x="14383" y="199834"/>
                  </a:lnTo>
                  <a:lnTo>
                    <a:pt x="20098" y="202406"/>
                  </a:lnTo>
                  <a:lnTo>
                    <a:pt x="17050" y="210407"/>
                  </a:lnTo>
                  <a:lnTo>
                    <a:pt x="25241" y="215646"/>
                  </a:lnTo>
                  <a:lnTo>
                    <a:pt x="22669" y="225076"/>
                  </a:lnTo>
                  <a:lnTo>
                    <a:pt x="32004" y="234982"/>
                  </a:lnTo>
                  <a:lnTo>
                    <a:pt x="39338" y="249269"/>
                  </a:lnTo>
                  <a:lnTo>
                    <a:pt x="35052" y="257746"/>
                  </a:lnTo>
                  <a:lnTo>
                    <a:pt x="37814" y="263176"/>
                  </a:lnTo>
                  <a:lnTo>
                    <a:pt x="33909" y="268605"/>
                  </a:lnTo>
                  <a:lnTo>
                    <a:pt x="49340" y="270129"/>
                  </a:lnTo>
                  <a:lnTo>
                    <a:pt x="54769" y="255460"/>
                  </a:lnTo>
                  <a:lnTo>
                    <a:pt x="65246" y="245364"/>
                  </a:lnTo>
                  <a:lnTo>
                    <a:pt x="66389" y="238030"/>
                  </a:lnTo>
                  <a:lnTo>
                    <a:pt x="81915" y="235744"/>
                  </a:lnTo>
                  <a:lnTo>
                    <a:pt x="83058" y="241173"/>
                  </a:lnTo>
                  <a:lnTo>
                    <a:pt x="87725" y="244221"/>
                  </a:lnTo>
                  <a:lnTo>
                    <a:pt x="90392" y="253174"/>
                  </a:lnTo>
                  <a:lnTo>
                    <a:pt x="97346" y="255841"/>
                  </a:lnTo>
                  <a:lnTo>
                    <a:pt x="108585" y="250793"/>
                  </a:lnTo>
                  <a:lnTo>
                    <a:pt x="153829" y="248126"/>
                  </a:lnTo>
                  <a:lnTo>
                    <a:pt x="154972" y="239935"/>
                  </a:lnTo>
                  <a:lnTo>
                    <a:pt x="164306" y="236887"/>
                  </a:lnTo>
                  <a:lnTo>
                    <a:pt x="179737" y="248507"/>
                  </a:lnTo>
                  <a:lnTo>
                    <a:pt x="189452" y="247745"/>
                  </a:lnTo>
                  <a:lnTo>
                    <a:pt x="204121" y="227647"/>
                  </a:lnTo>
                  <a:lnTo>
                    <a:pt x="213074" y="221266"/>
                  </a:lnTo>
                  <a:lnTo>
                    <a:pt x="207645" y="203073"/>
                  </a:lnTo>
                  <a:lnTo>
                    <a:pt x="219265" y="203073"/>
                  </a:lnTo>
                  <a:lnTo>
                    <a:pt x="219265" y="198406"/>
                  </a:lnTo>
                  <a:lnTo>
                    <a:pt x="227743" y="198406"/>
                  </a:lnTo>
                  <a:lnTo>
                    <a:pt x="227362" y="227647"/>
                  </a:lnTo>
                  <a:lnTo>
                    <a:pt x="242126" y="241173"/>
                  </a:lnTo>
                  <a:lnTo>
                    <a:pt x="238982" y="251936"/>
                  </a:lnTo>
                  <a:lnTo>
                    <a:pt x="244793" y="253937"/>
                  </a:lnTo>
                  <a:lnTo>
                    <a:pt x="252127" y="240792"/>
                  </a:lnTo>
                  <a:lnTo>
                    <a:pt x="249841" y="232315"/>
                  </a:lnTo>
                  <a:lnTo>
                    <a:pt x="253270" y="226790"/>
                  </a:lnTo>
                  <a:lnTo>
                    <a:pt x="261842" y="228409"/>
                  </a:lnTo>
                  <a:lnTo>
                    <a:pt x="263747" y="207073"/>
                  </a:lnTo>
                  <a:lnTo>
                    <a:pt x="269939" y="203549"/>
                  </a:lnTo>
                  <a:lnTo>
                    <a:pt x="276130" y="189643"/>
                  </a:lnTo>
                  <a:lnTo>
                    <a:pt x="285845" y="188881"/>
                  </a:lnTo>
                  <a:lnTo>
                    <a:pt x="285845" y="177832"/>
                  </a:lnTo>
                  <a:lnTo>
                    <a:pt x="291656" y="171069"/>
                  </a:lnTo>
                  <a:lnTo>
                    <a:pt x="290798" y="164401"/>
                  </a:lnTo>
                  <a:lnTo>
                    <a:pt x="293561" y="158020"/>
                  </a:lnTo>
                  <a:lnTo>
                    <a:pt x="289274" y="140208"/>
                  </a:lnTo>
                  <a:lnTo>
                    <a:pt x="294703" y="137065"/>
                  </a:lnTo>
                  <a:lnTo>
                    <a:pt x="302038" y="117729"/>
                  </a:lnTo>
                  <a:lnTo>
                    <a:pt x="298609" y="110585"/>
                  </a:lnTo>
                  <a:lnTo>
                    <a:pt x="302038" y="101060"/>
                  </a:lnTo>
                  <a:lnTo>
                    <a:pt x="311753" y="102679"/>
                  </a:lnTo>
                  <a:lnTo>
                    <a:pt x="312515" y="95155"/>
                  </a:lnTo>
                  <a:lnTo>
                    <a:pt x="319849" y="90868"/>
                  </a:lnTo>
                  <a:lnTo>
                    <a:pt x="326803" y="92773"/>
                  </a:lnTo>
                  <a:lnTo>
                    <a:pt x="334232" y="81724"/>
                  </a:lnTo>
                  <a:lnTo>
                    <a:pt x="311086" y="64865"/>
                  </a:lnTo>
                  <a:lnTo>
                    <a:pt x="310324" y="54388"/>
                  </a:lnTo>
                  <a:lnTo>
                    <a:pt x="307753" y="19145"/>
                  </a:lnTo>
                  <a:lnTo>
                    <a:pt x="300990" y="190"/>
                  </a:lnTo>
                  <a:lnTo>
                    <a:pt x="300895" y="0"/>
                  </a:lnTo>
                  <a:lnTo>
                    <a:pt x="6486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4" name="Freeform: Shape 2754">
              <a:extLst>
                <a:ext uri="{FF2B5EF4-FFF2-40B4-BE49-F238E27FC236}">
                  <a16:creationId xmlns:a16="http://schemas.microsoft.com/office/drawing/2014/main" id="{F849357E-52BC-1E4C-9F2A-E605DCB02765}"/>
                </a:ext>
              </a:extLst>
            </p:cNvPr>
            <p:cNvSpPr/>
            <p:nvPr/>
          </p:nvSpPr>
          <p:spPr>
            <a:xfrm>
              <a:off x="2221706" y="4365815"/>
              <a:ext cx="234029" cy="174688"/>
            </a:xfrm>
            <a:custGeom>
              <a:avLst/>
              <a:gdLst>
                <a:gd name="connsiteX0" fmla="*/ 231362 w 234029"/>
                <a:gd name="connsiteY0" fmla="*/ 148876 h 174688"/>
                <a:gd name="connsiteX1" fmla="*/ 230886 w 234029"/>
                <a:gd name="connsiteY1" fmla="*/ 143256 h 174688"/>
                <a:gd name="connsiteX2" fmla="*/ 233934 w 234029"/>
                <a:gd name="connsiteY2" fmla="*/ 138017 h 174688"/>
                <a:gd name="connsiteX3" fmla="*/ 226219 w 234029"/>
                <a:gd name="connsiteY3" fmla="*/ 134398 h 174688"/>
                <a:gd name="connsiteX4" fmla="*/ 223171 w 234029"/>
                <a:gd name="connsiteY4" fmla="*/ 138589 h 174688"/>
                <a:gd name="connsiteX5" fmla="*/ 217456 w 234029"/>
                <a:gd name="connsiteY5" fmla="*/ 133160 h 174688"/>
                <a:gd name="connsiteX6" fmla="*/ 216122 w 234029"/>
                <a:gd name="connsiteY6" fmla="*/ 123349 h 174688"/>
                <a:gd name="connsiteX7" fmla="*/ 212503 w 234029"/>
                <a:gd name="connsiteY7" fmla="*/ 119444 h 174688"/>
                <a:gd name="connsiteX8" fmla="*/ 210788 w 234029"/>
                <a:gd name="connsiteY8" fmla="*/ 111538 h 174688"/>
                <a:gd name="connsiteX9" fmla="*/ 200406 w 234029"/>
                <a:gd name="connsiteY9" fmla="*/ 104775 h 174688"/>
                <a:gd name="connsiteX10" fmla="*/ 200120 w 234029"/>
                <a:gd name="connsiteY10" fmla="*/ 100679 h 174688"/>
                <a:gd name="connsiteX11" fmla="*/ 196596 w 234029"/>
                <a:gd name="connsiteY11" fmla="*/ 98584 h 174688"/>
                <a:gd name="connsiteX12" fmla="*/ 189643 w 234029"/>
                <a:gd name="connsiteY12" fmla="*/ 91059 h 174688"/>
                <a:gd name="connsiteX13" fmla="*/ 177451 w 234029"/>
                <a:gd name="connsiteY13" fmla="*/ 90297 h 174688"/>
                <a:gd name="connsiteX14" fmla="*/ 175927 w 234029"/>
                <a:gd name="connsiteY14" fmla="*/ 85915 h 174688"/>
                <a:gd name="connsiteX15" fmla="*/ 179832 w 234029"/>
                <a:gd name="connsiteY15" fmla="*/ 82868 h 174688"/>
                <a:gd name="connsiteX16" fmla="*/ 179832 w 234029"/>
                <a:gd name="connsiteY16" fmla="*/ 76390 h 174688"/>
                <a:gd name="connsiteX17" fmla="*/ 188309 w 234029"/>
                <a:gd name="connsiteY17" fmla="*/ 75343 h 174688"/>
                <a:gd name="connsiteX18" fmla="*/ 191357 w 234029"/>
                <a:gd name="connsiteY18" fmla="*/ 79534 h 174688"/>
                <a:gd name="connsiteX19" fmla="*/ 194500 w 234029"/>
                <a:gd name="connsiteY19" fmla="*/ 76390 h 174688"/>
                <a:gd name="connsiteX20" fmla="*/ 198882 w 234029"/>
                <a:gd name="connsiteY20" fmla="*/ 74581 h 174688"/>
                <a:gd name="connsiteX21" fmla="*/ 197834 w 234029"/>
                <a:gd name="connsiteY21" fmla="*/ 55531 h 174688"/>
                <a:gd name="connsiteX22" fmla="*/ 192024 w 234029"/>
                <a:gd name="connsiteY22" fmla="*/ 53530 h 174688"/>
                <a:gd name="connsiteX23" fmla="*/ 195167 w 234029"/>
                <a:gd name="connsiteY23" fmla="*/ 42767 h 174688"/>
                <a:gd name="connsiteX24" fmla="*/ 180404 w 234029"/>
                <a:gd name="connsiteY24" fmla="*/ 29242 h 174688"/>
                <a:gd name="connsiteX25" fmla="*/ 180784 w 234029"/>
                <a:gd name="connsiteY25" fmla="*/ 0 h 174688"/>
                <a:gd name="connsiteX26" fmla="*/ 172307 w 234029"/>
                <a:gd name="connsiteY26" fmla="*/ 0 h 174688"/>
                <a:gd name="connsiteX27" fmla="*/ 172307 w 234029"/>
                <a:gd name="connsiteY27" fmla="*/ 4667 h 174688"/>
                <a:gd name="connsiteX28" fmla="*/ 160687 w 234029"/>
                <a:gd name="connsiteY28" fmla="*/ 4667 h 174688"/>
                <a:gd name="connsiteX29" fmla="*/ 166116 w 234029"/>
                <a:gd name="connsiteY29" fmla="*/ 22860 h 174688"/>
                <a:gd name="connsiteX30" fmla="*/ 157163 w 234029"/>
                <a:gd name="connsiteY30" fmla="*/ 29242 h 174688"/>
                <a:gd name="connsiteX31" fmla="*/ 142494 w 234029"/>
                <a:gd name="connsiteY31" fmla="*/ 49339 h 174688"/>
                <a:gd name="connsiteX32" fmla="*/ 132779 w 234029"/>
                <a:gd name="connsiteY32" fmla="*/ 50102 h 174688"/>
                <a:gd name="connsiteX33" fmla="*/ 117348 w 234029"/>
                <a:gd name="connsiteY33" fmla="*/ 38481 h 174688"/>
                <a:gd name="connsiteX34" fmla="*/ 108013 w 234029"/>
                <a:gd name="connsiteY34" fmla="*/ 41529 h 174688"/>
                <a:gd name="connsiteX35" fmla="*/ 106871 w 234029"/>
                <a:gd name="connsiteY35" fmla="*/ 49721 h 174688"/>
                <a:gd name="connsiteX36" fmla="*/ 61627 w 234029"/>
                <a:gd name="connsiteY36" fmla="*/ 52388 h 174688"/>
                <a:gd name="connsiteX37" fmla="*/ 50387 w 234029"/>
                <a:gd name="connsiteY37" fmla="*/ 57436 h 174688"/>
                <a:gd name="connsiteX38" fmla="*/ 43434 w 234029"/>
                <a:gd name="connsiteY38" fmla="*/ 54769 h 174688"/>
                <a:gd name="connsiteX39" fmla="*/ 40767 w 234029"/>
                <a:gd name="connsiteY39" fmla="*/ 45815 h 174688"/>
                <a:gd name="connsiteX40" fmla="*/ 36100 w 234029"/>
                <a:gd name="connsiteY40" fmla="*/ 42767 h 174688"/>
                <a:gd name="connsiteX41" fmla="*/ 34957 w 234029"/>
                <a:gd name="connsiteY41" fmla="*/ 37338 h 174688"/>
                <a:gd name="connsiteX42" fmla="*/ 19431 w 234029"/>
                <a:gd name="connsiteY42" fmla="*/ 39624 h 174688"/>
                <a:gd name="connsiteX43" fmla="*/ 18288 w 234029"/>
                <a:gd name="connsiteY43" fmla="*/ 46958 h 174688"/>
                <a:gd name="connsiteX44" fmla="*/ 7810 w 234029"/>
                <a:gd name="connsiteY44" fmla="*/ 57055 h 174688"/>
                <a:gd name="connsiteX45" fmla="*/ 2381 w 234029"/>
                <a:gd name="connsiteY45" fmla="*/ 71723 h 174688"/>
                <a:gd name="connsiteX46" fmla="*/ 0 w 234029"/>
                <a:gd name="connsiteY46" fmla="*/ 78962 h 174688"/>
                <a:gd name="connsiteX47" fmla="*/ 5144 w 234029"/>
                <a:gd name="connsiteY47" fmla="*/ 81534 h 174688"/>
                <a:gd name="connsiteX48" fmla="*/ 13430 w 234029"/>
                <a:gd name="connsiteY48" fmla="*/ 80581 h 174688"/>
                <a:gd name="connsiteX49" fmla="*/ 16954 w 234029"/>
                <a:gd name="connsiteY49" fmla="*/ 86678 h 174688"/>
                <a:gd name="connsiteX50" fmla="*/ 24194 w 234029"/>
                <a:gd name="connsiteY50" fmla="*/ 88487 h 174688"/>
                <a:gd name="connsiteX51" fmla="*/ 21908 w 234029"/>
                <a:gd name="connsiteY51" fmla="*/ 93917 h 174688"/>
                <a:gd name="connsiteX52" fmla="*/ 25813 w 234029"/>
                <a:gd name="connsiteY52" fmla="*/ 99155 h 174688"/>
                <a:gd name="connsiteX53" fmla="*/ 32956 w 234029"/>
                <a:gd name="connsiteY53" fmla="*/ 101441 h 174688"/>
                <a:gd name="connsiteX54" fmla="*/ 46387 w 234029"/>
                <a:gd name="connsiteY54" fmla="*/ 112014 h 174688"/>
                <a:gd name="connsiteX55" fmla="*/ 43339 w 234029"/>
                <a:gd name="connsiteY55" fmla="*/ 114300 h 174688"/>
                <a:gd name="connsiteX56" fmla="*/ 43053 w 234029"/>
                <a:gd name="connsiteY56" fmla="*/ 117920 h 174688"/>
                <a:gd name="connsiteX57" fmla="*/ 49530 w 234029"/>
                <a:gd name="connsiteY57" fmla="*/ 119253 h 174688"/>
                <a:gd name="connsiteX58" fmla="*/ 48768 w 234029"/>
                <a:gd name="connsiteY58" fmla="*/ 124682 h 174688"/>
                <a:gd name="connsiteX59" fmla="*/ 53340 w 234029"/>
                <a:gd name="connsiteY59" fmla="*/ 124682 h 174688"/>
                <a:gd name="connsiteX60" fmla="*/ 62103 w 234029"/>
                <a:gd name="connsiteY60" fmla="*/ 130873 h 174688"/>
                <a:gd name="connsiteX61" fmla="*/ 63151 w 234029"/>
                <a:gd name="connsiteY61" fmla="*/ 135731 h 174688"/>
                <a:gd name="connsiteX62" fmla="*/ 68104 w 234029"/>
                <a:gd name="connsiteY62" fmla="*/ 140875 h 174688"/>
                <a:gd name="connsiteX63" fmla="*/ 66294 w 234029"/>
                <a:gd name="connsiteY63" fmla="*/ 144399 h 174688"/>
                <a:gd name="connsiteX64" fmla="*/ 70580 w 234029"/>
                <a:gd name="connsiteY64" fmla="*/ 146018 h 174688"/>
                <a:gd name="connsiteX65" fmla="*/ 72485 w 234029"/>
                <a:gd name="connsiteY65" fmla="*/ 153448 h 174688"/>
                <a:gd name="connsiteX66" fmla="*/ 79058 w 234029"/>
                <a:gd name="connsiteY66" fmla="*/ 152210 h 174688"/>
                <a:gd name="connsiteX67" fmla="*/ 83725 w 234029"/>
                <a:gd name="connsiteY67" fmla="*/ 159258 h 174688"/>
                <a:gd name="connsiteX68" fmla="*/ 91821 w 234029"/>
                <a:gd name="connsiteY68" fmla="*/ 154210 h 174688"/>
                <a:gd name="connsiteX69" fmla="*/ 101537 w 234029"/>
                <a:gd name="connsiteY69" fmla="*/ 157258 h 174688"/>
                <a:gd name="connsiteX70" fmla="*/ 106108 w 234029"/>
                <a:gd name="connsiteY70" fmla="*/ 149923 h 174688"/>
                <a:gd name="connsiteX71" fmla="*/ 113062 w 234029"/>
                <a:gd name="connsiteY71" fmla="*/ 152686 h 174688"/>
                <a:gd name="connsiteX72" fmla="*/ 119253 w 234029"/>
                <a:gd name="connsiteY72" fmla="*/ 164211 h 174688"/>
                <a:gd name="connsiteX73" fmla="*/ 127063 w 234029"/>
                <a:gd name="connsiteY73" fmla="*/ 166211 h 174688"/>
                <a:gd name="connsiteX74" fmla="*/ 127825 w 234029"/>
                <a:gd name="connsiteY74" fmla="*/ 172784 h 174688"/>
                <a:gd name="connsiteX75" fmla="*/ 132779 w 234029"/>
                <a:gd name="connsiteY75" fmla="*/ 170783 h 174688"/>
                <a:gd name="connsiteX76" fmla="*/ 135065 w 234029"/>
                <a:gd name="connsiteY76" fmla="*/ 173736 h 174688"/>
                <a:gd name="connsiteX77" fmla="*/ 140589 w 234029"/>
                <a:gd name="connsiteY77" fmla="*/ 167735 h 174688"/>
                <a:gd name="connsiteX78" fmla="*/ 147542 w 234029"/>
                <a:gd name="connsiteY78" fmla="*/ 171640 h 174688"/>
                <a:gd name="connsiteX79" fmla="*/ 152400 w 234029"/>
                <a:gd name="connsiteY79" fmla="*/ 168021 h 174688"/>
                <a:gd name="connsiteX80" fmla="*/ 159163 w 234029"/>
                <a:gd name="connsiteY80" fmla="*/ 174688 h 174688"/>
                <a:gd name="connsiteX81" fmla="*/ 162020 w 234029"/>
                <a:gd name="connsiteY81" fmla="*/ 170021 h 174688"/>
                <a:gd name="connsiteX82" fmla="*/ 170212 w 234029"/>
                <a:gd name="connsiteY82" fmla="*/ 169545 h 174688"/>
                <a:gd name="connsiteX83" fmla="*/ 176403 w 234029"/>
                <a:gd name="connsiteY83" fmla="*/ 166402 h 174688"/>
                <a:gd name="connsiteX84" fmla="*/ 180308 w 234029"/>
                <a:gd name="connsiteY84" fmla="*/ 168973 h 174688"/>
                <a:gd name="connsiteX85" fmla="*/ 186500 w 234029"/>
                <a:gd name="connsiteY85" fmla="*/ 169545 h 174688"/>
                <a:gd name="connsiteX86" fmla="*/ 196025 w 234029"/>
                <a:gd name="connsiteY86" fmla="*/ 160115 h 174688"/>
                <a:gd name="connsiteX87" fmla="*/ 203740 w 234029"/>
                <a:gd name="connsiteY87" fmla="*/ 152495 h 174688"/>
                <a:gd name="connsiteX88" fmla="*/ 234029 w 234029"/>
                <a:gd name="connsiteY88" fmla="*/ 152495 h 174688"/>
                <a:gd name="connsiteX89" fmla="*/ 234029 w 234029"/>
                <a:gd name="connsiteY89" fmla="*/ 152495 h 174688"/>
                <a:gd name="connsiteX90" fmla="*/ 231362 w 234029"/>
                <a:gd name="connsiteY90" fmla="*/ 148876 h 1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34029" h="174688">
                  <a:moveTo>
                    <a:pt x="231362" y="148876"/>
                  </a:moveTo>
                  <a:lnTo>
                    <a:pt x="230886" y="143256"/>
                  </a:lnTo>
                  <a:lnTo>
                    <a:pt x="233934" y="138017"/>
                  </a:lnTo>
                  <a:lnTo>
                    <a:pt x="226219" y="134398"/>
                  </a:lnTo>
                  <a:lnTo>
                    <a:pt x="223171" y="138589"/>
                  </a:lnTo>
                  <a:lnTo>
                    <a:pt x="217456" y="133160"/>
                  </a:lnTo>
                  <a:lnTo>
                    <a:pt x="216122" y="123349"/>
                  </a:lnTo>
                  <a:lnTo>
                    <a:pt x="212503" y="119444"/>
                  </a:lnTo>
                  <a:lnTo>
                    <a:pt x="210788" y="111538"/>
                  </a:lnTo>
                  <a:lnTo>
                    <a:pt x="200406" y="104775"/>
                  </a:lnTo>
                  <a:lnTo>
                    <a:pt x="200120" y="100679"/>
                  </a:lnTo>
                  <a:lnTo>
                    <a:pt x="196596" y="98584"/>
                  </a:lnTo>
                  <a:lnTo>
                    <a:pt x="189643" y="91059"/>
                  </a:lnTo>
                  <a:lnTo>
                    <a:pt x="177451" y="90297"/>
                  </a:lnTo>
                  <a:lnTo>
                    <a:pt x="175927" y="85915"/>
                  </a:lnTo>
                  <a:lnTo>
                    <a:pt x="179832" y="82868"/>
                  </a:lnTo>
                  <a:lnTo>
                    <a:pt x="179832" y="76390"/>
                  </a:lnTo>
                  <a:lnTo>
                    <a:pt x="188309" y="75343"/>
                  </a:lnTo>
                  <a:lnTo>
                    <a:pt x="191357" y="79534"/>
                  </a:lnTo>
                  <a:lnTo>
                    <a:pt x="194500" y="76390"/>
                  </a:lnTo>
                  <a:lnTo>
                    <a:pt x="198882" y="74581"/>
                  </a:lnTo>
                  <a:lnTo>
                    <a:pt x="197834" y="55531"/>
                  </a:lnTo>
                  <a:lnTo>
                    <a:pt x="192024" y="53530"/>
                  </a:lnTo>
                  <a:lnTo>
                    <a:pt x="195167" y="42767"/>
                  </a:lnTo>
                  <a:lnTo>
                    <a:pt x="180404" y="29242"/>
                  </a:lnTo>
                  <a:lnTo>
                    <a:pt x="180784" y="0"/>
                  </a:lnTo>
                  <a:lnTo>
                    <a:pt x="172307" y="0"/>
                  </a:lnTo>
                  <a:lnTo>
                    <a:pt x="172307" y="4667"/>
                  </a:lnTo>
                  <a:lnTo>
                    <a:pt x="160687" y="4667"/>
                  </a:lnTo>
                  <a:lnTo>
                    <a:pt x="166116" y="22860"/>
                  </a:lnTo>
                  <a:lnTo>
                    <a:pt x="157163" y="29242"/>
                  </a:lnTo>
                  <a:lnTo>
                    <a:pt x="142494" y="49339"/>
                  </a:lnTo>
                  <a:lnTo>
                    <a:pt x="132779" y="50102"/>
                  </a:lnTo>
                  <a:lnTo>
                    <a:pt x="117348" y="38481"/>
                  </a:lnTo>
                  <a:lnTo>
                    <a:pt x="108013" y="41529"/>
                  </a:lnTo>
                  <a:lnTo>
                    <a:pt x="106871" y="49721"/>
                  </a:lnTo>
                  <a:lnTo>
                    <a:pt x="61627" y="52388"/>
                  </a:lnTo>
                  <a:lnTo>
                    <a:pt x="50387" y="57436"/>
                  </a:lnTo>
                  <a:lnTo>
                    <a:pt x="43434" y="54769"/>
                  </a:lnTo>
                  <a:lnTo>
                    <a:pt x="40767" y="45815"/>
                  </a:lnTo>
                  <a:lnTo>
                    <a:pt x="36100" y="42767"/>
                  </a:lnTo>
                  <a:lnTo>
                    <a:pt x="34957" y="37338"/>
                  </a:lnTo>
                  <a:lnTo>
                    <a:pt x="19431" y="39624"/>
                  </a:lnTo>
                  <a:lnTo>
                    <a:pt x="18288" y="46958"/>
                  </a:lnTo>
                  <a:lnTo>
                    <a:pt x="7810" y="57055"/>
                  </a:lnTo>
                  <a:lnTo>
                    <a:pt x="2381" y="71723"/>
                  </a:lnTo>
                  <a:lnTo>
                    <a:pt x="0" y="78962"/>
                  </a:lnTo>
                  <a:lnTo>
                    <a:pt x="5144" y="81534"/>
                  </a:lnTo>
                  <a:lnTo>
                    <a:pt x="13430" y="80581"/>
                  </a:lnTo>
                  <a:lnTo>
                    <a:pt x="16954" y="86678"/>
                  </a:lnTo>
                  <a:lnTo>
                    <a:pt x="24194" y="88487"/>
                  </a:lnTo>
                  <a:lnTo>
                    <a:pt x="21908" y="93917"/>
                  </a:lnTo>
                  <a:lnTo>
                    <a:pt x="25813" y="99155"/>
                  </a:lnTo>
                  <a:lnTo>
                    <a:pt x="32956" y="101441"/>
                  </a:lnTo>
                  <a:lnTo>
                    <a:pt x="46387" y="112014"/>
                  </a:lnTo>
                  <a:lnTo>
                    <a:pt x="43339" y="114300"/>
                  </a:lnTo>
                  <a:lnTo>
                    <a:pt x="43053" y="117920"/>
                  </a:lnTo>
                  <a:lnTo>
                    <a:pt x="49530" y="119253"/>
                  </a:lnTo>
                  <a:lnTo>
                    <a:pt x="48768" y="124682"/>
                  </a:lnTo>
                  <a:lnTo>
                    <a:pt x="53340" y="124682"/>
                  </a:lnTo>
                  <a:lnTo>
                    <a:pt x="62103" y="130873"/>
                  </a:lnTo>
                  <a:lnTo>
                    <a:pt x="63151" y="135731"/>
                  </a:lnTo>
                  <a:lnTo>
                    <a:pt x="68104" y="140875"/>
                  </a:lnTo>
                  <a:lnTo>
                    <a:pt x="66294" y="144399"/>
                  </a:lnTo>
                  <a:lnTo>
                    <a:pt x="70580" y="146018"/>
                  </a:lnTo>
                  <a:lnTo>
                    <a:pt x="72485" y="153448"/>
                  </a:lnTo>
                  <a:lnTo>
                    <a:pt x="79058" y="152210"/>
                  </a:lnTo>
                  <a:lnTo>
                    <a:pt x="83725" y="159258"/>
                  </a:lnTo>
                  <a:lnTo>
                    <a:pt x="91821" y="154210"/>
                  </a:lnTo>
                  <a:lnTo>
                    <a:pt x="101537" y="157258"/>
                  </a:lnTo>
                  <a:lnTo>
                    <a:pt x="106108" y="149923"/>
                  </a:lnTo>
                  <a:lnTo>
                    <a:pt x="113062" y="152686"/>
                  </a:lnTo>
                  <a:lnTo>
                    <a:pt x="119253" y="164211"/>
                  </a:lnTo>
                  <a:lnTo>
                    <a:pt x="127063" y="166211"/>
                  </a:lnTo>
                  <a:lnTo>
                    <a:pt x="127825" y="172784"/>
                  </a:lnTo>
                  <a:lnTo>
                    <a:pt x="132779" y="170783"/>
                  </a:lnTo>
                  <a:lnTo>
                    <a:pt x="135065" y="173736"/>
                  </a:lnTo>
                  <a:lnTo>
                    <a:pt x="140589" y="167735"/>
                  </a:lnTo>
                  <a:lnTo>
                    <a:pt x="147542" y="171640"/>
                  </a:lnTo>
                  <a:lnTo>
                    <a:pt x="152400" y="168021"/>
                  </a:lnTo>
                  <a:lnTo>
                    <a:pt x="159163" y="174688"/>
                  </a:lnTo>
                  <a:lnTo>
                    <a:pt x="162020" y="170021"/>
                  </a:lnTo>
                  <a:lnTo>
                    <a:pt x="170212" y="169545"/>
                  </a:lnTo>
                  <a:lnTo>
                    <a:pt x="176403" y="166402"/>
                  </a:lnTo>
                  <a:lnTo>
                    <a:pt x="180308" y="168973"/>
                  </a:lnTo>
                  <a:lnTo>
                    <a:pt x="186500" y="169545"/>
                  </a:lnTo>
                  <a:lnTo>
                    <a:pt x="196025" y="160115"/>
                  </a:lnTo>
                  <a:lnTo>
                    <a:pt x="203740" y="152495"/>
                  </a:lnTo>
                  <a:lnTo>
                    <a:pt x="234029" y="152495"/>
                  </a:lnTo>
                  <a:lnTo>
                    <a:pt x="234029" y="152495"/>
                  </a:lnTo>
                  <a:lnTo>
                    <a:pt x="231362" y="14887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5" name="Freeform: Shape 2755">
              <a:extLst>
                <a:ext uri="{FF2B5EF4-FFF2-40B4-BE49-F238E27FC236}">
                  <a16:creationId xmlns:a16="http://schemas.microsoft.com/office/drawing/2014/main" id="{1A496704-1BC6-0F8E-1BDA-566602739FA2}"/>
                </a:ext>
              </a:extLst>
            </p:cNvPr>
            <p:cNvSpPr/>
            <p:nvPr/>
          </p:nvSpPr>
          <p:spPr>
            <a:xfrm>
              <a:off x="2071592" y="5054758"/>
              <a:ext cx="323564" cy="273748"/>
            </a:xfrm>
            <a:custGeom>
              <a:avLst/>
              <a:gdLst>
                <a:gd name="connsiteX0" fmla="*/ 57722 w 323564"/>
                <a:gd name="connsiteY0" fmla="*/ 134874 h 273748"/>
                <a:gd name="connsiteX1" fmla="*/ 53912 w 323564"/>
                <a:gd name="connsiteY1" fmla="*/ 145066 h 273748"/>
                <a:gd name="connsiteX2" fmla="*/ 42958 w 323564"/>
                <a:gd name="connsiteY2" fmla="*/ 140208 h 273748"/>
                <a:gd name="connsiteX3" fmla="*/ 32480 w 323564"/>
                <a:gd name="connsiteY3" fmla="*/ 143446 h 273748"/>
                <a:gd name="connsiteX4" fmla="*/ 15431 w 323564"/>
                <a:gd name="connsiteY4" fmla="*/ 137255 h 273748"/>
                <a:gd name="connsiteX5" fmla="*/ 18193 w 323564"/>
                <a:gd name="connsiteY5" fmla="*/ 129445 h 273748"/>
                <a:gd name="connsiteX6" fmla="*/ 12002 w 323564"/>
                <a:gd name="connsiteY6" fmla="*/ 123349 h 273748"/>
                <a:gd name="connsiteX7" fmla="*/ 4858 w 323564"/>
                <a:gd name="connsiteY7" fmla="*/ 126968 h 273748"/>
                <a:gd name="connsiteX8" fmla="*/ 5620 w 323564"/>
                <a:gd name="connsiteY8" fmla="*/ 134779 h 273748"/>
                <a:gd name="connsiteX9" fmla="*/ 0 w 323564"/>
                <a:gd name="connsiteY9" fmla="*/ 137065 h 273748"/>
                <a:gd name="connsiteX10" fmla="*/ 0 w 323564"/>
                <a:gd name="connsiteY10" fmla="*/ 137065 h 273748"/>
                <a:gd name="connsiteX11" fmla="*/ 6001 w 323564"/>
                <a:gd name="connsiteY11" fmla="*/ 146590 h 273748"/>
                <a:gd name="connsiteX12" fmla="*/ 15526 w 323564"/>
                <a:gd name="connsiteY12" fmla="*/ 173546 h 273748"/>
                <a:gd name="connsiteX13" fmla="*/ 35338 w 323564"/>
                <a:gd name="connsiteY13" fmla="*/ 208312 h 273748"/>
                <a:gd name="connsiteX14" fmla="*/ 35338 w 323564"/>
                <a:gd name="connsiteY14" fmla="*/ 228600 h 273748"/>
                <a:gd name="connsiteX15" fmla="*/ 27432 w 323564"/>
                <a:gd name="connsiteY15" fmla="*/ 227076 h 273748"/>
                <a:gd name="connsiteX16" fmla="*/ 38672 w 323564"/>
                <a:gd name="connsiteY16" fmla="*/ 248698 h 273748"/>
                <a:gd name="connsiteX17" fmla="*/ 36385 w 323564"/>
                <a:gd name="connsiteY17" fmla="*/ 259175 h 273748"/>
                <a:gd name="connsiteX18" fmla="*/ 69723 w 323564"/>
                <a:gd name="connsiteY18" fmla="*/ 273748 h 273748"/>
                <a:gd name="connsiteX19" fmla="*/ 79248 w 323564"/>
                <a:gd name="connsiteY19" fmla="*/ 265938 h 273748"/>
                <a:gd name="connsiteX20" fmla="*/ 104966 w 323564"/>
                <a:gd name="connsiteY20" fmla="*/ 264033 h 273748"/>
                <a:gd name="connsiteX21" fmla="*/ 120491 w 323564"/>
                <a:gd name="connsiteY21" fmla="*/ 255460 h 273748"/>
                <a:gd name="connsiteX22" fmla="*/ 165068 w 323564"/>
                <a:gd name="connsiteY22" fmla="*/ 259937 h 273748"/>
                <a:gd name="connsiteX23" fmla="*/ 169069 w 323564"/>
                <a:gd name="connsiteY23" fmla="*/ 254698 h 273748"/>
                <a:gd name="connsiteX24" fmla="*/ 198787 w 323564"/>
                <a:gd name="connsiteY24" fmla="*/ 249841 h 273748"/>
                <a:gd name="connsiteX25" fmla="*/ 225838 w 323564"/>
                <a:gd name="connsiteY25" fmla="*/ 233743 h 273748"/>
                <a:gd name="connsiteX26" fmla="*/ 267748 w 323564"/>
                <a:gd name="connsiteY26" fmla="*/ 194500 h 273748"/>
                <a:gd name="connsiteX27" fmla="*/ 294513 w 323564"/>
                <a:gd name="connsiteY27" fmla="*/ 152209 h 273748"/>
                <a:gd name="connsiteX28" fmla="*/ 314611 w 323564"/>
                <a:gd name="connsiteY28" fmla="*/ 135064 h 273748"/>
                <a:gd name="connsiteX29" fmla="*/ 323564 w 323564"/>
                <a:gd name="connsiteY29" fmla="*/ 105251 h 273748"/>
                <a:gd name="connsiteX30" fmla="*/ 323564 w 323564"/>
                <a:gd name="connsiteY30" fmla="*/ 99727 h 273748"/>
                <a:gd name="connsiteX31" fmla="*/ 310039 w 323564"/>
                <a:gd name="connsiteY31" fmla="*/ 99727 h 273748"/>
                <a:gd name="connsiteX32" fmla="*/ 306324 w 323564"/>
                <a:gd name="connsiteY32" fmla="*/ 99727 h 273748"/>
                <a:gd name="connsiteX33" fmla="*/ 306324 w 323564"/>
                <a:gd name="connsiteY33" fmla="*/ 109823 h 273748"/>
                <a:gd name="connsiteX34" fmla="*/ 295942 w 323564"/>
                <a:gd name="connsiteY34" fmla="*/ 109823 h 273748"/>
                <a:gd name="connsiteX35" fmla="*/ 287750 w 323564"/>
                <a:gd name="connsiteY35" fmla="*/ 104680 h 273748"/>
                <a:gd name="connsiteX36" fmla="*/ 286036 w 323564"/>
                <a:gd name="connsiteY36" fmla="*/ 98774 h 273748"/>
                <a:gd name="connsiteX37" fmla="*/ 282321 w 323564"/>
                <a:gd name="connsiteY37" fmla="*/ 98774 h 273748"/>
                <a:gd name="connsiteX38" fmla="*/ 282321 w 323564"/>
                <a:gd name="connsiteY38" fmla="*/ 91154 h 273748"/>
                <a:gd name="connsiteX39" fmla="*/ 289084 w 323564"/>
                <a:gd name="connsiteY39" fmla="*/ 78867 h 273748"/>
                <a:gd name="connsiteX40" fmla="*/ 294132 w 323564"/>
                <a:gd name="connsiteY40" fmla="*/ 75533 h 273748"/>
                <a:gd name="connsiteX41" fmla="*/ 303657 w 323564"/>
                <a:gd name="connsiteY41" fmla="*/ 81915 h 273748"/>
                <a:gd name="connsiteX42" fmla="*/ 308324 w 323564"/>
                <a:gd name="connsiteY42" fmla="*/ 71818 h 273748"/>
                <a:gd name="connsiteX43" fmla="*/ 308324 w 323564"/>
                <a:gd name="connsiteY43" fmla="*/ 49721 h 273748"/>
                <a:gd name="connsiteX44" fmla="*/ 298799 w 323564"/>
                <a:gd name="connsiteY44" fmla="*/ 28956 h 273748"/>
                <a:gd name="connsiteX45" fmla="*/ 299561 w 323564"/>
                <a:gd name="connsiteY45" fmla="*/ 21241 h 273748"/>
                <a:gd name="connsiteX46" fmla="*/ 295180 w 323564"/>
                <a:gd name="connsiteY46" fmla="*/ 9334 h 273748"/>
                <a:gd name="connsiteX47" fmla="*/ 289941 w 323564"/>
                <a:gd name="connsiteY47" fmla="*/ 3905 h 273748"/>
                <a:gd name="connsiteX48" fmla="*/ 273558 w 323564"/>
                <a:gd name="connsiteY48" fmla="*/ 4667 h 273748"/>
                <a:gd name="connsiteX49" fmla="*/ 263176 w 323564"/>
                <a:gd name="connsiteY49" fmla="*/ 0 h 273748"/>
                <a:gd name="connsiteX50" fmla="*/ 248317 w 323564"/>
                <a:gd name="connsiteY50" fmla="*/ 3048 h 273748"/>
                <a:gd name="connsiteX51" fmla="*/ 244316 w 323564"/>
                <a:gd name="connsiteY51" fmla="*/ 8953 h 273748"/>
                <a:gd name="connsiteX52" fmla="*/ 230791 w 323564"/>
                <a:gd name="connsiteY52" fmla="*/ 12382 h 273748"/>
                <a:gd name="connsiteX53" fmla="*/ 225171 w 323564"/>
                <a:gd name="connsiteY53" fmla="*/ 24289 h 273748"/>
                <a:gd name="connsiteX54" fmla="*/ 219170 w 323564"/>
                <a:gd name="connsiteY54" fmla="*/ 23431 h 273748"/>
                <a:gd name="connsiteX55" fmla="*/ 209645 w 323564"/>
                <a:gd name="connsiteY55" fmla="*/ 30575 h 273748"/>
                <a:gd name="connsiteX56" fmla="*/ 206026 w 323564"/>
                <a:gd name="connsiteY56" fmla="*/ 45053 h 273748"/>
                <a:gd name="connsiteX57" fmla="*/ 197644 w 323564"/>
                <a:gd name="connsiteY57" fmla="*/ 52673 h 273748"/>
                <a:gd name="connsiteX58" fmla="*/ 184499 w 323564"/>
                <a:gd name="connsiteY58" fmla="*/ 54388 h 273748"/>
                <a:gd name="connsiteX59" fmla="*/ 184499 w 323564"/>
                <a:gd name="connsiteY59" fmla="*/ 62865 h 273748"/>
                <a:gd name="connsiteX60" fmla="*/ 177260 w 323564"/>
                <a:gd name="connsiteY60" fmla="*/ 76867 h 273748"/>
                <a:gd name="connsiteX61" fmla="*/ 167259 w 323564"/>
                <a:gd name="connsiteY61" fmla="*/ 76105 h 273748"/>
                <a:gd name="connsiteX62" fmla="*/ 156115 w 323564"/>
                <a:gd name="connsiteY62" fmla="*/ 76867 h 273748"/>
                <a:gd name="connsiteX63" fmla="*/ 137065 w 323564"/>
                <a:gd name="connsiteY63" fmla="*/ 65817 h 273748"/>
                <a:gd name="connsiteX64" fmla="*/ 125825 w 323564"/>
                <a:gd name="connsiteY64" fmla="*/ 68008 h 273748"/>
                <a:gd name="connsiteX65" fmla="*/ 121825 w 323564"/>
                <a:gd name="connsiteY65" fmla="*/ 83248 h 273748"/>
                <a:gd name="connsiteX66" fmla="*/ 103061 w 323564"/>
                <a:gd name="connsiteY66" fmla="*/ 98393 h 273748"/>
                <a:gd name="connsiteX67" fmla="*/ 87440 w 323564"/>
                <a:gd name="connsiteY67" fmla="*/ 97917 h 273748"/>
                <a:gd name="connsiteX68" fmla="*/ 81915 w 323564"/>
                <a:gd name="connsiteY68" fmla="*/ 101822 h 273748"/>
                <a:gd name="connsiteX69" fmla="*/ 79915 w 323564"/>
                <a:gd name="connsiteY69" fmla="*/ 92297 h 273748"/>
                <a:gd name="connsiteX70" fmla="*/ 86677 w 323564"/>
                <a:gd name="connsiteY70" fmla="*/ 83820 h 273748"/>
                <a:gd name="connsiteX71" fmla="*/ 77915 w 323564"/>
                <a:gd name="connsiteY71" fmla="*/ 61341 h 273748"/>
                <a:gd name="connsiteX72" fmla="*/ 68390 w 323564"/>
                <a:gd name="connsiteY72" fmla="*/ 54483 h 273748"/>
                <a:gd name="connsiteX73" fmla="*/ 68390 w 323564"/>
                <a:gd name="connsiteY73" fmla="*/ 54483 h 273748"/>
                <a:gd name="connsiteX74" fmla="*/ 68390 w 323564"/>
                <a:gd name="connsiteY74" fmla="*/ 132016 h 273748"/>
                <a:gd name="connsiteX75" fmla="*/ 214884 w 323564"/>
                <a:gd name="connsiteY75" fmla="*/ 153448 h 273748"/>
                <a:gd name="connsiteX76" fmla="*/ 220790 w 323564"/>
                <a:gd name="connsiteY76" fmla="*/ 142208 h 273748"/>
                <a:gd name="connsiteX77" fmla="*/ 226409 w 323564"/>
                <a:gd name="connsiteY77" fmla="*/ 143065 h 273748"/>
                <a:gd name="connsiteX78" fmla="*/ 230029 w 323564"/>
                <a:gd name="connsiteY78" fmla="*/ 138398 h 273748"/>
                <a:gd name="connsiteX79" fmla="*/ 239554 w 323564"/>
                <a:gd name="connsiteY79" fmla="*/ 135064 h 273748"/>
                <a:gd name="connsiteX80" fmla="*/ 247555 w 323564"/>
                <a:gd name="connsiteY80" fmla="*/ 143542 h 273748"/>
                <a:gd name="connsiteX81" fmla="*/ 253556 w 323564"/>
                <a:gd name="connsiteY81" fmla="*/ 145828 h 273748"/>
                <a:gd name="connsiteX82" fmla="*/ 256127 w 323564"/>
                <a:gd name="connsiteY82" fmla="*/ 152305 h 273748"/>
                <a:gd name="connsiteX83" fmla="*/ 249365 w 323564"/>
                <a:gd name="connsiteY83" fmla="*/ 158115 h 273748"/>
                <a:gd name="connsiteX84" fmla="*/ 250127 w 323564"/>
                <a:gd name="connsiteY84" fmla="*/ 164401 h 273748"/>
                <a:gd name="connsiteX85" fmla="*/ 243459 w 323564"/>
                <a:gd name="connsiteY85" fmla="*/ 167926 h 273748"/>
                <a:gd name="connsiteX86" fmla="*/ 235744 w 323564"/>
                <a:gd name="connsiteY86" fmla="*/ 167164 h 273748"/>
                <a:gd name="connsiteX87" fmla="*/ 230600 w 323564"/>
                <a:gd name="connsiteY87" fmla="*/ 170878 h 273748"/>
                <a:gd name="connsiteX88" fmla="*/ 228791 w 323564"/>
                <a:gd name="connsiteY88" fmla="*/ 181070 h 273748"/>
                <a:gd name="connsiteX89" fmla="*/ 222028 w 323564"/>
                <a:gd name="connsiteY89" fmla="*/ 179356 h 273748"/>
                <a:gd name="connsiteX90" fmla="*/ 218694 w 323564"/>
                <a:gd name="connsiteY90" fmla="*/ 173546 h 273748"/>
                <a:gd name="connsiteX91" fmla="*/ 213741 w 323564"/>
                <a:gd name="connsiteY91" fmla="*/ 172307 h 273748"/>
                <a:gd name="connsiteX92" fmla="*/ 214313 w 323564"/>
                <a:gd name="connsiteY92" fmla="*/ 167449 h 273748"/>
                <a:gd name="connsiteX93" fmla="*/ 207550 w 323564"/>
                <a:gd name="connsiteY93" fmla="*/ 157924 h 273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23564" h="273748">
                  <a:moveTo>
                    <a:pt x="57722" y="134874"/>
                  </a:moveTo>
                  <a:lnTo>
                    <a:pt x="53912" y="145066"/>
                  </a:lnTo>
                  <a:lnTo>
                    <a:pt x="42958" y="140208"/>
                  </a:lnTo>
                  <a:lnTo>
                    <a:pt x="32480" y="143446"/>
                  </a:lnTo>
                  <a:lnTo>
                    <a:pt x="15431" y="137255"/>
                  </a:lnTo>
                  <a:lnTo>
                    <a:pt x="18193" y="129445"/>
                  </a:lnTo>
                  <a:lnTo>
                    <a:pt x="12002" y="123349"/>
                  </a:lnTo>
                  <a:lnTo>
                    <a:pt x="4858" y="126968"/>
                  </a:lnTo>
                  <a:lnTo>
                    <a:pt x="5620" y="134779"/>
                  </a:lnTo>
                  <a:lnTo>
                    <a:pt x="0" y="137065"/>
                  </a:lnTo>
                  <a:lnTo>
                    <a:pt x="0" y="137065"/>
                  </a:lnTo>
                  <a:lnTo>
                    <a:pt x="6001" y="146590"/>
                  </a:lnTo>
                  <a:lnTo>
                    <a:pt x="15526" y="173546"/>
                  </a:lnTo>
                  <a:lnTo>
                    <a:pt x="35338" y="208312"/>
                  </a:lnTo>
                  <a:lnTo>
                    <a:pt x="35338" y="228600"/>
                  </a:lnTo>
                  <a:lnTo>
                    <a:pt x="27432" y="227076"/>
                  </a:lnTo>
                  <a:lnTo>
                    <a:pt x="38672" y="248698"/>
                  </a:lnTo>
                  <a:lnTo>
                    <a:pt x="36385" y="259175"/>
                  </a:lnTo>
                  <a:lnTo>
                    <a:pt x="69723" y="273748"/>
                  </a:lnTo>
                  <a:lnTo>
                    <a:pt x="79248" y="265938"/>
                  </a:lnTo>
                  <a:lnTo>
                    <a:pt x="104966" y="264033"/>
                  </a:lnTo>
                  <a:lnTo>
                    <a:pt x="120491" y="255460"/>
                  </a:lnTo>
                  <a:lnTo>
                    <a:pt x="165068" y="259937"/>
                  </a:lnTo>
                  <a:lnTo>
                    <a:pt x="169069" y="254698"/>
                  </a:lnTo>
                  <a:lnTo>
                    <a:pt x="198787" y="249841"/>
                  </a:lnTo>
                  <a:lnTo>
                    <a:pt x="225838" y="233743"/>
                  </a:lnTo>
                  <a:lnTo>
                    <a:pt x="267748" y="194500"/>
                  </a:lnTo>
                  <a:lnTo>
                    <a:pt x="294513" y="152209"/>
                  </a:lnTo>
                  <a:lnTo>
                    <a:pt x="314611" y="135064"/>
                  </a:lnTo>
                  <a:lnTo>
                    <a:pt x="323564" y="105251"/>
                  </a:lnTo>
                  <a:lnTo>
                    <a:pt x="323564" y="99727"/>
                  </a:lnTo>
                  <a:lnTo>
                    <a:pt x="310039" y="99727"/>
                  </a:lnTo>
                  <a:lnTo>
                    <a:pt x="306324" y="99727"/>
                  </a:lnTo>
                  <a:lnTo>
                    <a:pt x="306324" y="109823"/>
                  </a:lnTo>
                  <a:lnTo>
                    <a:pt x="295942" y="109823"/>
                  </a:lnTo>
                  <a:lnTo>
                    <a:pt x="287750" y="104680"/>
                  </a:lnTo>
                  <a:lnTo>
                    <a:pt x="286036" y="98774"/>
                  </a:lnTo>
                  <a:lnTo>
                    <a:pt x="282321" y="98774"/>
                  </a:lnTo>
                  <a:lnTo>
                    <a:pt x="282321" y="91154"/>
                  </a:lnTo>
                  <a:lnTo>
                    <a:pt x="289084" y="78867"/>
                  </a:lnTo>
                  <a:lnTo>
                    <a:pt x="294132" y="75533"/>
                  </a:lnTo>
                  <a:lnTo>
                    <a:pt x="303657" y="81915"/>
                  </a:lnTo>
                  <a:lnTo>
                    <a:pt x="308324" y="71818"/>
                  </a:lnTo>
                  <a:lnTo>
                    <a:pt x="308324" y="49721"/>
                  </a:lnTo>
                  <a:lnTo>
                    <a:pt x="298799" y="28956"/>
                  </a:lnTo>
                  <a:lnTo>
                    <a:pt x="299561" y="21241"/>
                  </a:lnTo>
                  <a:lnTo>
                    <a:pt x="295180" y="9334"/>
                  </a:lnTo>
                  <a:lnTo>
                    <a:pt x="289941" y="3905"/>
                  </a:lnTo>
                  <a:lnTo>
                    <a:pt x="273558" y="4667"/>
                  </a:lnTo>
                  <a:lnTo>
                    <a:pt x="263176" y="0"/>
                  </a:lnTo>
                  <a:lnTo>
                    <a:pt x="248317" y="3048"/>
                  </a:lnTo>
                  <a:lnTo>
                    <a:pt x="244316" y="8953"/>
                  </a:lnTo>
                  <a:lnTo>
                    <a:pt x="230791" y="12382"/>
                  </a:lnTo>
                  <a:lnTo>
                    <a:pt x="225171" y="24289"/>
                  </a:lnTo>
                  <a:lnTo>
                    <a:pt x="219170" y="23431"/>
                  </a:lnTo>
                  <a:lnTo>
                    <a:pt x="209645" y="30575"/>
                  </a:lnTo>
                  <a:lnTo>
                    <a:pt x="206026" y="45053"/>
                  </a:lnTo>
                  <a:lnTo>
                    <a:pt x="197644" y="52673"/>
                  </a:lnTo>
                  <a:lnTo>
                    <a:pt x="184499" y="54388"/>
                  </a:lnTo>
                  <a:lnTo>
                    <a:pt x="184499" y="62865"/>
                  </a:lnTo>
                  <a:lnTo>
                    <a:pt x="177260" y="76867"/>
                  </a:lnTo>
                  <a:lnTo>
                    <a:pt x="167259" y="76105"/>
                  </a:lnTo>
                  <a:lnTo>
                    <a:pt x="156115" y="76867"/>
                  </a:lnTo>
                  <a:lnTo>
                    <a:pt x="137065" y="65817"/>
                  </a:lnTo>
                  <a:lnTo>
                    <a:pt x="125825" y="68008"/>
                  </a:lnTo>
                  <a:lnTo>
                    <a:pt x="121825" y="83248"/>
                  </a:lnTo>
                  <a:lnTo>
                    <a:pt x="103061" y="98393"/>
                  </a:lnTo>
                  <a:lnTo>
                    <a:pt x="87440" y="97917"/>
                  </a:lnTo>
                  <a:lnTo>
                    <a:pt x="81915" y="101822"/>
                  </a:lnTo>
                  <a:lnTo>
                    <a:pt x="79915" y="92297"/>
                  </a:lnTo>
                  <a:lnTo>
                    <a:pt x="86677" y="83820"/>
                  </a:lnTo>
                  <a:lnTo>
                    <a:pt x="77915" y="61341"/>
                  </a:lnTo>
                  <a:lnTo>
                    <a:pt x="68390" y="54483"/>
                  </a:lnTo>
                  <a:lnTo>
                    <a:pt x="68390" y="54483"/>
                  </a:lnTo>
                  <a:lnTo>
                    <a:pt x="68390" y="132016"/>
                  </a:lnTo>
                  <a:close/>
                  <a:moveTo>
                    <a:pt x="214884" y="153448"/>
                  </a:moveTo>
                  <a:lnTo>
                    <a:pt x="220790" y="142208"/>
                  </a:lnTo>
                  <a:lnTo>
                    <a:pt x="226409" y="143065"/>
                  </a:lnTo>
                  <a:lnTo>
                    <a:pt x="230029" y="138398"/>
                  </a:lnTo>
                  <a:lnTo>
                    <a:pt x="239554" y="135064"/>
                  </a:lnTo>
                  <a:lnTo>
                    <a:pt x="247555" y="143542"/>
                  </a:lnTo>
                  <a:lnTo>
                    <a:pt x="253556" y="145828"/>
                  </a:lnTo>
                  <a:lnTo>
                    <a:pt x="256127" y="152305"/>
                  </a:lnTo>
                  <a:lnTo>
                    <a:pt x="249365" y="158115"/>
                  </a:lnTo>
                  <a:lnTo>
                    <a:pt x="250127" y="164401"/>
                  </a:lnTo>
                  <a:lnTo>
                    <a:pt x="243459" y="167926"/>
                  </a:lnTo>
                  <a:lnTo>
                    <a:pt x="235744" y="167164"/>
                  </a:lnTo>
                  <a:lnTo>
                    <a:pt x="230600" y="170878"/>
                  </a:lnTo>
                  <a:lnTo>
                    <a:pt x="228791" y="181070"/>
                  </a:lnTo>
                  <a:lnTo>
                    <a:pt x="222028" y="179356"/>
                  </a:lnTo>
                  <a:lnTo>
                    <a:pt x="218694" y="173546"/>
                  </a:lnTo>
                  <a:lnTo>
                    <a:pt x="213741" y="172307"/>
                  </a:lnTo>
                  <a:lnTo>
                    <a:pt x="214313" y="167449"/>
                  </a:lnTo>
                  <a:lnTo>
                    <a:pt x="207550" y="15792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6" name="Freeform: Shape 2756">
              <a:extLst>
                <a:ext uri="{FF2B5EF4-FFF2-40B4-BE49-F238E27FC236}">
                  <a16:creationId xmlns:a16="http://schemas.microsoft.com/office/drawing/2014/main" id="{BFC8F05A-47A6-F8B9-0573-EF9DC50262F6}"/>
                </a:ext>
              </a:extLst>
            </p:cNvPr>
            <p:cNvSpPr/>
            <p:nvPr/>
          </p:nvSpPr>
          <p:spPr>
            <a:xfrm>
              <a:off x="2555748" y="4370959"/>
              <a:ext cx="207073" cy="269557"/>
            </a:xfrm>
            <a:custGeom>
              <a:avLst/>
              <a:gdLst>
                <a:gd name="connsiteX0" fmla="*/ 204502 w 207073"/>
                <a:gd name="connsiteY0" fmla="*/ 3334 h 269557"/>
                <a:gd name="connsiteX1" fmla="*/ 194596 w 207073"/>
                <a:gd name="connsiteY1" fmla="*/ 0 h 269557"/>
                <a:gd name="connsiteX2" fmla="*/ 180689 w 207073"/>
                <a:gd name="connsiteY2" fmla="*/ 9811 h 269557"/>
                <a:gd name="connsiteX3" fmla="*/ 127540 w 207073"/>
                <a:gd name="connsiteY3" fmla="*/ 16573 h 269557"/>
                <a:gd name="connsiteX4" fmla="*/ 108680 w 207073"/>
                <a:gd name="connsiteY4" fmla="*/ 26670 h 269557"/>
                <a:gd name="connsiteX5" fmla="*/ 94393 w 207073"/>
                <a:gd name="connsiteY5" fmla="*/ 19717 h 269557"/>
                <a:gd name="connsiteX6" fmla="*/ 78295 w 207073"/>
                <a:gd name="connsiteY6" fmla="*/ 32290 h 269557"/>
                <a:gd name="connsiteX7" fmla="*/ 65818 w 207073"/>
                <a:gd name="connsiteY7" fmla="*/ 31528 h 269557"/>
                <a:gd name="connsiteX8" fmla="*/ 45625 w 207073"/>
                <a:gd name="connsiteY8" fmla="*/ 10096 h 269557"/>
                <a:gd name="connsiteX9" fmla="*/ 38671 w 207073"/>
                <a:gd name="connsiteY9" fmla="*/ 21527 h 269557"/>
                <a:gd name="connsiteX10" fmla="*/ 32861 w 207073"/>
                <a:gd name="connsiteY10" fmla="*/ 28765 h 269557"/>
                <a:gd name="connsiteX11" fmla="*/ 48006 w 207073"/>
                <a:gd name="connsiteY11" fmla="*/ 51149 h 269557"/>
                <a:gd name="connsiteX12" fmla="*/ 53816 w 207073"/>
                <a:gd name="connsiteY12" fmla="*/ 53054 h 269557"/>
                <a:gd name="connsiteX13" fmla="*/ 60388 w 207073"/>
                <a:gd name="connsiteY13" fmla="*/ 60388 h 269557"/>
                <a:gd name="connsiteX14" fmla="*/ 117634 w 207073"/>
                <a:gd name="connsiteY14" fmla="*/ 78962 h 269557"/>
                <a:gd name="connsiteX15" fmla="*/ 138113 w 207073"/>
                <a:gd name="connsiteY15" fmla="*/ 78962 h 269557"/>
                <a:gd name="connsiteX16" fmla="*/ 78962 w 207073"/>
                <a:gd name="connsiteY16" fmla="*/ 141637 h 269557"/>
                <a:gd name="connsiteX17" fmla="*/ 59626 w 207073"/>
                <a:gd name="connsiteY17" fmla="*/ 139732 h 269557"/>
                <a:gd name="connsiteX18" fmla="*/ 39433 w 207073"/>
                <a:gd name="connsiteY18" fmla="*/ 148304 h 269557"/>
                <a:gd name="connsiteX19" fmla="*/ 38290 w 207073"/>
                <a:gd name="connsiteY19" fmla="*/ 153638 h 269557"/>
                <a:gd name="connsiteX20" fmla="*/ 21622 w 207073"/>
                <a:gd name="connsiteY20" fmla="*/ 155638 h 269557"/>
                <a:gd name="connsiteX21" fmla="*/ 18574 w 207073"/>
                <a:gd name="connsiteY21" fmla="*/ 159544 h 269557"/>
                <a:gd name="connsiteX22" fmla="*/ 0 w 207073"/>
                <a:gd name="connsiteY22" fmla="*/ 182689 h 269557"/>
                <a:gd name="connsiteX23" fmla="*/ 0 w 207073"/>
                <a:gd name="connsiteY23" fmla="*/ 255841 h 269557"/>
                <a:gd name="connsiteX24" fmla="*/ 11620 w 207073"/>
                <a:gd name="connsiteY24" fmla="*/ 269367 h 269557"/>
                <a:gd name="connsiteX25" fmla="*/ 11811 w 207073"/>
                <a:gd name="connsiteY25" fmla="*/ 269557 h 269557"/>
                <a:gd name="connsiteX26" fmla="*/ 19526 w 207073"/>
                <a:gd name="connsiteY26" fmla="*/ 256413 h 269557"/>
                <a:gd name="connsiteX27" fmla="*/ 67151 w 207073"/>
                <a:gd name="connsiteY27" fmla="*/ 210883 h 269557"/>
                <a:gd name="connsiteX28" fmla="*/ 100108 w 207073"/>
                <a:gd name="connsiteY28" fmla="*/ 190405 h 269557"/>
                <a:gd name="connsiteX29" fmla="*/ 151924 w 207073"/>
                <a:gd name="connsiteY29" fmla="*/ 130302 h 269557"/>
                <a:gd name="connsiteX30" fmla="*/ 195548 w 207073"/>
                <a:gd name="connsiteY30" fmla="*/ 52102 h 269557"/>
                <a:gd name="connsiteX31" fmla="*/ 196882 w 207073"/>
                <a:gd name="connsiteY31" fmla="*/ 34195 h 269557"/>
                <a:gd name="connsiteX32" fmla="*/ 207073 w 207073"/>
                <a:gd name="connsiteY32" fmla="*/ 31528 h 269557"/>
                <a:gd name="connsiteX33" fmla="*/ 204502 w 207073"/>
                <a:gd name="connsiteY33" fmla="*/ 3334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7073" h="269557">
                  <a:moveTo>
                    <a:pt x="204502" y="3334"/>
                  </a:moveTo>
                  <a:lnTo>
                    <a:pt x="194596" y="0"/>
                  </a:lnTo>
                  <a:lnTo>
                    <a:pt x="180689" y="9811"/>
                  </a:lnTo>
                  <a:lnTo>
                    <a:pt x="127540" y="16573"/>
                  </a:lnTo>
                  <a:lnTo>
                    <a:pt x="108680" y="26670"/>
                  </a:lnTo>
                  <a:lnTo>
                    <a:pt x="94393" y="19717"/>
                  </a:lnTo>
                  <a:lnTo>
                    <a:pt x="78295" y="32290"/>
                  </a:lnTo>
                  <a:lnTo>
                    <a:pt x="65818" y="31528"/>
                  </a:lnTo>
                  <a:lnTo>
                    <a:pt x="45625" y="10096"/>
                  </a:lnTo>
                  <a:lnTo>
                    <a:pt x="38671" y="21527"/>
                  </a:lnTo>
                  <a:lnTo>
                    <a:pt x="32861" y="28765"/>
                  </a:lnTo>
                  <a:lnTo>
                    <a:pt x="48006" y="51149"/>
                  </a:lnTo>
                  <a:lnTo>
                    <a:pt x="53816" y="53054"/>
                  </a:lnTo>
                  <a:lnTo>
                    <a:pt x="60388" y="60388"/>
                  </a:lnTo>
                  <a:lnTo>
                    <a:pt x="117634" y="78962"/>
                  </a:lnTo>
                  <a:lnTo>
                    <a:pt x="138113" y="78962"/>
                  </a:lnTo>
                  <a:lnTo>
                    <a:pt x="78962" y="141637"/>
                  </a:lnTo>
                  <a:lnTo>
                    <a:pt x="59626" y="139732"/>
                  </a:lnTo>
                  <a:lnTo>
                    <a:pt x="39433" y="148304"/>
                  </a:lnTo>
                  <a:lnTo>
                    <a:pt x="38290" y="153638"/>
                  </a:lnTo>
                  <a:lnTo>
                    <a:pt x="21622" y="155638"/>
                  </a:lnTo>
                  <a:lnTo>
                    <a:pt x="18574" y="159544"/>
                  </a:lnTo>
                  <a:lnTo>
                    <a:pt x="0" y="182689"/>
                  </a:lnTo>
                  <a:lnTo>
                    <a:pt x="0" y="255841"/>
                  </a:lnTo>
                  <a:lnTo>
                    <a:pt x="11620" y="269367"/>
                  </a:lnTo>
                  <a:lnTo>
                    <a:pt x="11811" y="269557"/>
                  </a:lnTo>
                  <a:lnTo>
                    <a:pt x="19526" y="256413"/>
                  </a:lnTo>
                  <a:lnTo>
                    <a:pt x="67151" y="210883"/>
                  </a:lnTo>
                  <a:lnTo>
                    <a:pt x="100108" y="190405"/>
                  </a:lnTo>
                  <a:lnTo>
                    <a:pt x="151924" y="130302"/>
                  </a:lnTo>
                  <a:lnTo>
                    <a:pt x="195548" y="52102"/>
                  </a:lnTo>
                  <a:lnTo>
                    <a:pt x="196882" y="34195"/>
                  </a:lnTo>
                  <a:lnTo>
                    <a:pt x="207073" y="31528"/>
                  </a:lnTo>
                  <a:lnTo>
                    <a:pt x="204502" y="333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7" name="Freeform: Shape 2757">
              <a:extLst>
                <a:ext uri="{FF2B5EF4-FFF2-40B4-BE49-F238E27FC236}">
                  <a16:creationId xmlns:a16="http://schemas.microsoft.com/office/drawing/2014/main" id="{16F7F09D-7749-D132-31DF-FD45D6255C98}"/>
                </a:ext>
              </a:extLst>
            </p:cNvPr>
            <p:cNvSpPr/>
            <p:nvPr/>
          </p:nvSpPr>
          <p:spPr>
            <a:xfrm>
              <a:off x="1480661" y="4411535"/>
              <a:ext cx="61245" cy="61054"/>
            </a:xfrm>
            <a:custGeom>
              <a:avLst/>
              <a:gdLst>
                <a:gd name="connsiteX0" fmla="*/ 22193 w 61245"/>
                <a:gd name="connsiteY0" fmla="*/ 47434 h 61054"/>
                <a:gd name="connsiteX1" fmla="*/ 15907 w 61245"/>
                <a:gd name="connsiteY1" fmla="*/ 51721 h 61054"/>
                <a:gd name="connsiteX2" fmla="*/ 36004 w 61245"/>
                <a:gd name="connsiteY2" fmla="*/ 61055 h 61054"/>
                <a:gd name="connsiteX3" fmla="*/ 43815 w 61245"/>
                <a:gd name="connsiteY3" fmla="*/ 50768 h 61054"/>
                <a:gd name="connsiteX4" fmla="*/ 53340 w 61245"/>
                <a:gd name="connsiteY4" fmla="*/ 44005 h 61054"/>
                <a:gd name="connsiteX5" fmla="*/ 53340 w 61245"/>
                <a:gd name="connsiteY5" fmla="*/ 39338 h 61054"/>
                <a:gd name="connsiteX6" fmla="*/ 60484 w 61245"/>
                <a:gd name="connsiteY6" fmla="*/ 37242 h 61054"/>
                <a:gd name="connsiteX7" fmla="*/ 61246 w 61245"/>
                <a:gd name="connsiteY7" fmla="*/ 29527 h 61054"/>
                <a:gd name="connsiteX8" fmla="*/ 61246 w 61245"/>
                <a:gd name="connsiteY8" fmla="*/ 29432 h 61054"/>
                <a:gd name="connsiteX9" fmla="*/ 58579 w 61245"/>
                <a:gd name="connsiteY9" fmla="*/ 29337 h 61054"/>
                <a:gd name="connsiteX10" fmla="*/ 54578 w 61245"/>
                <a:gd name="connsiteY10" fmla="*/ 33242 h 61054"/>
                <a:gd name="connsiteX11" fmla="*/ 49054 w 61245"/>
                <a:gd name="connsiteY11" fmla="*/ 31242 h 61054"/>
                <a:gd name="connsiteX12" fmla="*/ 54388 w 61245"/>
                <a:gd name="connsiteY12" fmla="*/ 24193 h 61054"/>
                <a:gd name="connsiteX13" fmla="*/ 51816 w 61245"/>
                <a:gd name="connsiteY13" fmla="*/ 21622 h 61054"/>
                <a:gd name="connsiteX14" fmla="*/ 53435 w 61245"/>
                <a:gd name="connsiteY14" fmla="*/ 17812 h 61054"/>
                <a:gd name="connsiteX15" fmla="*/ 48768 w 61245"/>
                <a:gd name="connsiteY15" fmla="*/ 16478 h 61054"/>
                <a:gd name="connsiteX16" fmla="*/ 50864 w 61245"/>
                <a:gd name="connsiteY16" fmla="*/ 11334 h 61054"/>
                <a:gd name="connsiteX17" fmla="*/ 41148 w 61245"/>
                <a:gd name="connsiteY17" fmla="*/ 0 h 61054"/>
                <a:gd name="connsiteX18" fmla="*/ 28289 w 61245"/>
                <a:gd name="connsiteY18" fmla="*/ 0 h 61054"/>
                <a:gd name="connsiteX19" fmla="*/ 24384 w 61245"/>
                <a:gd name="connsiteY19" fmla="*/ 3334 h 61054"/>
                <a:gd name="connsiteX20" fmla="*/ 20002 w 61245"/>
                <a:gd name="connsiteY20" fmla="*/ 476 h 61054"/>
                <a:gd name="connsiteX21" fmla="*/ 15335 w 61245"/>
                <a:gd name="connsiteY21" fmla="*/ 2572 h 61054"/>
                <a:gd name="connsiteX22" fmla="*/ 11525 w 61245"/>
                <a:gd name="connsiteY22" fmla="*/ 12382 h 61054"/>
                <a:gd name="connsiteX23" fmla="*/ 6286 w 61245"/>
                <a:gd name="connsiteY23" fmla="*/ 12382 h 61054"/>
                <a:gd name="connsiteX24" fmla="*/ 5524 w 61245"/>
                <a:gd name="connsiteY24" fmla="*/ 18288 h 61054"/>
                <a:gd name="connsiteX25" fmla="*/ 0 w 61245"/>
                <a:gd name="connsiteY25" fmla="*/ 19050 h 61054"/>
                <a:gd name="connsiteX26" fmla="*/ 6668 w 61245"/>
                <a:gd name="connsiteY26" fmla="*/ 41529 h 61054"/>
                <a:gd name="connsiteX27" fmla="*/ 22193 w 61245"/>
                <a:gd name="connsiteY27" fmla="*/ 47434 h 6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245" h="61054">
                  <a:moveTo>
                    <a:pt x="22193" y="47434"/>
                  </a:moveTo>
                  <a:lnTo>
                    <a:pt x="15907" y="51721"/>
                  </a:lnTo>
                  <a:lnTo>
                    <a:pt x="36004" y="61055"/>
                  </a:lnTo>
                  <a:lnTo>
                    <a:pt x="43815" y="50768"/>
                  </a:lnTo>
                  <a:lnTo>
                    <a:pt x="53340" y="44005"/>
                  </a:lnTo>
                  <a:lnTo>
                    <a:pt x="53340" y="39338"/>
                  </a:lnTo>
                  <a:lnTo>
                    <a:pt x="60484" y="37242"/>
                  </a:lnTo>
                  <a:lnTo>
                    <a:pt x="61246" y="29527"/>
                  </a:lnTo>
                  <a:lnTo>
                    <a:pt x="61246" y="29432"/>
                  </a:lnTo>
                  <a:lnTo>
                    <a:pt x="58579" y="29337"/>
                  </a:lnTo>
                  <a:lnTo>
                    <a:pt x="54578" y="33242"/>
                  </a:lnTo>
                  <a:lnTo>
                    <a:pt x="49054" y="31242"/>
                  </a:lnTo>
                  <a:lnTo>
                    <a:pt x="54388" y="24193"/>
                  </a:lnTo>
                  <a:lnTo>
                    <a:pt x="51816" y="21622"/>
                  </a:lnTo>
                  <a:lnTo>
                    <a:pt x="53435" y="17812"/>
                  </a:lnTo>
                  <a:lnTo>
                    <a:pt x="48768" y="16478"/>
                  </a:lnTo>
                  <a:lnTo>
                    <a:pt x="50864" y="11334"/>
                  </a:lnTo>
                  <a:lnTo>
                    <a:pt x="41148" y="0"/>
                  </a:lnTo>
                  <a:lnTo>
                    <a:pt x="28289" y="0"/>
                  </a:lnTo>
                  <a:lnTo>
                    <a:pt x="24384" y="3334"/>
                  </a:lnTo>
                  <a:lnTo>
                    <a:pt x="20002" y="476"/>
                  </a:lnTo>
                  <a:lnTo>
                    <a:pt x="15335" y="2572"/>
                  </a:lnTo>
                  <a:lnTo>
                    <a:pt x="11525" y="12382"/>
                  </a:lnTo>
                  <a:lnTo>
                    <a:pt x="6286" y="12382"/>
                  </a:lnTo>
                  <a:lnTo>
                    <a:pt x="5524" y="18288"/>
                  </a:lnTo>
                  <a:lnTo>
                    <a:pt x="0" y="19050"/>
                  </a:lnTo>
                  <a:lnTo>
                    <a:pt x="6668" y="41529"/>
                  </a:lnTo>
                  <a:lnTo>
                    <a:pt x="22193" y="4743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8" name="Freeform: Shape 2758">
              <a:extLst>
                <a:ext uri="{FF2B5EF4-FFF2-40B4-BE49-F238E27FC236}">
                  <a16:creationId xmlns:a16="http://schemas.microsoft.com/office/drawing/2014/main" id="{4C124C58-2968-3C94-ECE0-B9CB66840404}"/>
                </a:ext>
              </a:extLst>
            </p:cNvPr>
            <p:cNvSpPr/>
            <p:nvPr/>
          </p:nvSpPr>
          <p:spPr>
            <a:xfrm>
              <a:off x="1396841" y="4274185"/>
              <a:ext cx="122681" cy="90963"/>
            </a:xfrm>
            <a:custGeom>
              <a:avLst/>
              <a:gdLst>
                <a:gd name="connsiteX0" fmla="*/ 120301 w 122681"/>
                <a:gd name="connsiteY0" fmla="*/ 84106 h 90963"/>
                <a:gd name="connsiteX1" fmla="*/ 121634 w 122681"/>
                <a:gd name="connsiteY1" fmla="*/ 76200 h 90963"/>
                <a:gd name="connsiteX2" fmla="*/ 116967 w 122681"/>
                <a:gd name="connsiteY2" fmla="*/ 67437 h 90963"/>
                <a:gd name="connsiteX3" fmla="*/ 111538 w 122681"/>
                <a:gd name="connsiteY3" fmla="*/ 70104 h 90963"/>
                <a:gd name="connsiteX4" fmla="*/ 107156 w 122681"/>
                <a:gd name="connsiteY4" fmla="*/ 63532 h 90963"/>
                <a:gd name="connsiteX5" fmla="*/ 110776 w 122681"/>
                <a:gd name="connsiteY5" fmla="*/ 60103 h 90963"/>
                <a:gd name="connsiteX6" fmla="*/ 109728 w 122681"/>
                <a:gd name="connsiteY6" fmla="*/ 51435 h 90963"/>
                <a:gd name="connsiteX7" fmla="*/ 105632 w 122681"/>
                <a:gd name="connsiteY7" fmla="*/ 48196 h 90963"/>
                <a:gd name="connsiteX8" fmla="*/ 104870 w 122681"/>
                <a:gd name="connsiteY8" fmla="*/ 38957 h 90963"/>
                <a:gd name="connsiteX9" fmla="*/ 99917 w 122681"/>
                <a:gd name="connsiteY9" fmla="*/ 35338 h 90963"/>
                <a:gd name="connsiteX10" fmla="*/ 91916 w 122681"/>
                <a:gd name="connsiteY10" fmla="*/ 32671 h 90963"/>
                <a:gd name="connsiteX11" fmla="*/ 91440 w 122681"/>
                <a:gd name="connsiteY11" fmla="*/ 26384 h 90963"/>
                <a:gd name="connsiteX12" fmla="*/ 84773 w 122681"/>
                <a:gd name="connsiteY12" fmla="*/ 23431 h 90963"/>
                <a:gd name="connsiteX13" fmla="*/ 80867 w 122681"/>
                <a:gd name="connsiteY13" fmla="*/ 13145 h 90963"/>
                <a:gd name="connsiteX14" fmla="*/ 72390 w 122681"/>
                <a:gd name="connsiteY14" fmla="*/ 12668 h 90963"/>
                <a:gd name="connsiteX15" fmla="*/ 63532 w 122681"/>
                <a:gd name="connsiteY15" fmla="*/ 3143 h 90963"/>
                <a:gd name="connsiteX16" fmla="*/ 54293 w 122681"/>
                <a:gd name="connsiteY16" fmla="*/ 3143 h 90963"/>
                <a:gd name="connsiteX17" fmla="*/ 48863 w 122681"/>
                <a:gd name="connsiteY17" fmla="*/ 0 h 90963"/>
                <a:gd name="connsiteX18" fmla="*/ 45815 w 122681"/>
                <a:gd name="connsiteY18" fmla="*/ 4191 h 90963"/>
                <a:gd name="connsiteX19" fmla="*/ 32576 w 122681"/>
                <a:gd name="connsiteY19" fmla="*/ 6096 h 90963"/>
                <a:gd name="connsiteX20" fmla="*/ 28480 w 122681"/>
                <a:gd name="connsiteY20" fmla="*/ 2857 h 90963"/>
                <a:gd name="connsiteX21" fmla="*/ 24098 w 122681"/>
                <a:gd name="connsiteY21" fmla="*/ 12668 h 90963"/>
                <a:gd name="connsiteX22" fmla="*/ 18764 w 122681"/>
                <a:gd name="connsiteY22" fmla="*/ 13906 h 90963"/>
                <a:gd name="connsiteX23" fmla="*/ 12859 w 122681"/>
                <a:gd name="connsiteY23" fmla="*/ 31623 h 90963"/>
                <a:gd name="connsiteX24" fmla="*/ 0 w 122681"/>
                <a:gd name="connsiteY24" fmla="*/ 41148 h 90963"/>
                <a:gd name="connsiteX25" fmla="*/ 18193 w 122681"/>
                <a:gd name="connsiteY25" fmla="*/ 54864 h 90963"/>
                <a:gd name="connsiteX26" fmla="*/ 18193 w 122681"/>
                <a:gd name="connsiteY26" fmla="*/ 60388 h 90963"/>
                <a:gd name="connsiteX27" fmla="*/ 28004 w 122681"/>
                <a:gd name="connsiteY27" fmla="*/ 62579 h 90963"/>
                <a:gd name="connsiteX28" fmla="*/ 38481 w 122681"/>
                <a:gd name="connsiteY28" fmla="*/ 62579 h 90963"/>
                <a:gd name="connsiteX29" fmla="*/ 43339 w 122681"/>
                <a:gd name="connsiteY29" fmla="*/ 57626 h 90963"/>
                <a:gd name="connsiteX30" fmla="*/ 45625 w 122681"/>
                <a:gd name="connsiteY30" fmla="*/ 59055 h 90963"/>
                <a:gd name="connsiteX31" fmla="*/ 49530 w 122681"/>
                <a:gd name="connsiteY31" fmla="*/ 56483 h 90963"/>
                <a:gd name="connsiteX32" fmla="*/ 54007 w 122681"/>
                <a:gd name="connsiteY32" fmla="*/ 58007 h 90963"/>
                <a:gd name="connsiteX33" fmla="*/ 55721 w 122681"/>
                <a:gd name="connsiteY33" fmla="*/ 62008 h 90963"/>
                <a:gd name="connsiteX34" fmla="*/ 59627 w 122681"/>
                <a:gd name="connsiteY34" fmla="*/ 60198 h 90963"/>
                <a:gd name="connsiteX35" fmla="*/ 64198 w 122681"/>
                <a:gd name="connsiteY35" fmla="*/ 64770 h 90963"/>
                <a:gd name="connsiteX36" fmla="*/ 71533 w 122681"/>
                <a:gd name="connsiteY36" fmla="*/ 62389 h 90963"/>
                <a:gd name="connsiteX37" fmla="*/ 74867 w 122681"/>
                <a:gd name="connsiteY37" fmla="*/ 70866 h 90963"/>
                <a:gd name="connsiteX38" fmla="*/ 64580 w 122681"/>
                <a:gd name="connsiteY38" fmla="*/ 72962 h 90963"/>
                <a:gd name="connsiteX39" fmla="*/ 54007 w 122681"/>
                <a:gd name="connsiteY39" fmla="*/ 70485 h 90963"/>
                <a:gd name="connsiteX40" fmla="*/ 47530 w 122681"/>
                <a:gd name="connsiteY40" fmla="*/ 67151 h 90963"/>
                <a:gd name="connsiteX41" fmla="*/ 46006 w 122681"/>
                <a:gd name="connsiteY41" fmla="*/ 70485 h 90963"/>
                <a:gd name="connsiteX42" fmla="*/ 34766 w 122681"/>
                <a:gd name="connsiteY42" fmla="*/ 70485 h 90963"/>
                <a:gd name="connsiteX43" fmla="*/ 34766 w 122681"/>
                <a:gd name="connsiteY43" fmla="*/ 74676 h 90963"/>
                <a:gd name="connsiteX44" fmla="*/ 16764 w 122681"/>
                <a:gd name="connsiteY44" fmla="*/ 74676 h 90963"/>
                <a:gd name="connsiteX45" fmla="*/ 16097 w 122681"/>
                <a:gd name="connsiteY45" fmla="*/ 80677 h 90963"/>
                <a:gd name="connsiteX46" fmla="*/ 34957 w 122681"/>
                <a:gd name="connsiteY46" fmla="*/ 80677 h 90963"/>
                <a:gd name="connsiteX47" fmla="*/ 16193 w 122681"/>
                <a:gd name="connsiteY47" fmla="*/ 90392 h 90963"/>
                <a:gd name="connsiteX48" fmla="*/ 28194 w 122681"/>
                <a:gd name="connsiteY48" fmla="*/ 87439 h 90963"/>
                <a:gd name="connsiteX49" fmla="*/ 38100 w 122681"/>
                <a:gd name="connsiteY49" fmla="*/ 88202 h 90963"/>
                <a:gd name="connsiteX50" fmla="*/ 46196 w 122681"/>
                <a:gd name="connsiteY50" fmla="*/ 83248 h 90963"/>
                <a:gd name="connsiteX51" fmla="*/ 75438 w 122681"/>
                <a:gd name="connsiteY51" fmla="*/ 83725 h 90963"/>
                <a:gd name="connsiteX52" fmla="*/ 86678 w 122681"/>
                <a:gd name="connsiteY52" fmla="*/ 83915 h 90963"/>
                <a:gd name="connsiteX53" fmla="*/ 88773 w 122681"/>
                <a:gd name="connsiteY53" fmla="*/ 88011 h 90963"/>
                <a:gd name="connsiteX54" fmla="*/ 93250 w 122681"/>
                <a:gd name="connsiteY54" fmla="*/ 85058 h 90963"/>
                <a:gd name="connsiteX55" fmla="*/ 102108 w 122681"/>
                <a:gd name="connsiteY55" fmla="*/ 90964 h 90963"/>
                <a:gd name="connsiteX56" fmla="*/ 108490 w 122681"/>
                <a:gd name="connsiteY56" fmla="*/ 87630 h 90963"/>
                <a:gd name="connsiteX57" fmla="*/ 112966 w 122681"/>
                <a:gd name="connsiteY57" fmla="*/ 89249 h 90963"/>
                <a:gd name="connsiteX58" fmla="*/ 122682 w 122681"/>
                <a:gd name="connsiteY58" fmla="*/ 88582 h 90963"/>
                <a:gd name="connsiteX59" fmla="*/ 120301 w 122681"/>
                <a:gd name="connsiteY59" fmla="*/ 84106 h 9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2681" h="90963">
                  <a:moveTo>
                    <a:pt x="120301" y="84106"/>
                  </a:moveTo>
                  <a:lnTo>
                    <a:pt x="121634" y="76200"/>
                  </a:lnTo>
                  <a:lnTo>
                    <a:pt x="116967" y="67437"/>
                  </a:lnTo>
                  <a:lnTo>
                    <a:pt x="111538" y="70104"/>
                  </a:lnTo>
                  <a:lnTo>
                    <a:pt x="107156" y="63532"/>
                  </a:lnTo>
                  <a:lnTo>
                    <a:pt x="110776" y="60103"/>
                  </a:lnTo>
                  <a:lnTo>
                    <a:pt x="109728" y="51435"/>
                  </a:lnTo>
                  <a:lnTo>
                    <a:pt x="105632" y="48196"/>
                  </a:lnTo>
                  <a:lnTo>
                    <a:pt x="104870" y="38957"/>
                  </a:lnTo>
                  <a:lnTo>
                    <a:pt x="99917" y="35338"/>
                  </a:lnTo>
                  <a:lnTo>
                    <a:pt x="91916" y="32671"/>
                  </a:lnTo>
                  <a:lnTo>
                    <a:pt x="91440" y="26384"/>
                  </a:lnTo>
                  <a:lnTo>
                    <a:pt x="84773" y="23431"/>
                  </a:lnTo>
                  <a:lnTo>
                    <a:pt x="80867" y="13145"/>
                  </a:lnTo>
                  <a:lnTo>
                    <a:pt x="72390" y="12668"/>
                  </a:lnTo>
                  <a:lnTo>
                    <a:pt x="63532" y="3143"/>
                  </a:lnTo>
                  <a:lnTo>
                    <a:pt x="54293" y="3143"/>
                  </a:lnTo>
                  <a:lnTo>
                    <a:pt x="48863" y="0"/>
                  </a:lnTo>
                  <a:lnTo>
                    <a:pt x="45815" y="4191"/>
                  </a:lnTo>
                  <a:lnTo>
                    <a:pt x="32576" y="6096"/>
                  </a:lnTo>
                  <a:lnTo>
                    <a:pt x="28480" y="2857"/>
                  </a:lnTo>
                  <a:lnTo>
                    <a:pt x="24098" y="12668"/>
                  </a:lnTo>
                  <a:lnTo>
                    <a:pt x="18764" y="13906"/>
                  </a:lnTo>
                  <a:lnTo>
                    <a:pt x="12859" y="31623"/>
                  </a:lnTo>
                  <a:lnTo>
                    <a:pt x="0" y="41148"/>
                  </a:lnTo>
                  <a:lnTo>
                    <a:pt x="18193" y="54864"/>
                  </a:lnTo>
                  <a:lnTo>
                    <a:pt x="18193" y="60388"/>
                  </a:lnTo>
                  <a:lnTo>
                    <a:pt x="28004" y="62579"/>
                  </a:lnTo>
                  <a:lnTo>
                    <a:pt x="38481" y="62579"/>
                  </a:lnTo>
                  <a:lnTo>
                    <a:pt x="43339" y="57626"/>
                  </a:lnTo>
                  <a:lnTo>
                    <a:pt x="45625" y="59055"/>
                  </a:lnTo>
                  <a:lnTo>
                    <a:pt x="49530" y="56483"/>
                  </a:lnTo>
                  <a:lnTo>
                    <a:pt x="54007" y="58007"/>
                  </a:lnTo>
                  <a:lnTo>
                    <a:pt x="55721" y="62008"/>
                  </a:lnTo>
                  <a:lnTo>
                    <a:pt x="59627" y="60198"/>
                  </a:lnTo>
                  <a:lnTo>
                    <a:pt x="64198" y="64770"/>
                  </a:lnTo>
                  <a:lnTo>
                    <a:pt x="71533" y="62389"/>
                  </a:lnTo>
                  <a:lnTo>
                    <a:pt x="74867" y="70866"/>
                  </a:lnTo>
                  <a:lnTo>
                    <a:pt x="64580" y="72962"/>
                  </a:lnTo>
                  <a:lnTo>
                    <a:pt x="54007" y="70485"/>
                  </a:lnTo>
                  <a:lnTo>
                    <a:pt x="47530" y="67151"/>
                  </a:lnTo>
                  <a:lnTo>
                    <a:pt x="46006" y="70485"/>
                  </a:lnTo>
                  <a:lnTo>
                    <a:pt x="34766" y="70485"/>
                  </a:lnTo>
                  <a:lnTo>
                    <a:pt x="34766" y="74676"/>
                  </a:lnTo>
                  <a:lnTo>
                    <a:pt x="16764" y="74676"/>
                  </a:lnTo>
                  <a:lnTo>
                    <a:pt x="16097" y="80677"/>
                  </a:lnTo>
                  <a:lnTo>
                    <a:pt x="34957" y="80677"/>
                  </a:lnTo>
                  <a:lnTo>
                    <a:pt x="16193" y="90392"/>
                  </a:lnTo>
                  <a:lnTo>
                    <a:pt x="28194" y="87439"/>
                  </a:lnTo>
                  <a:lnTo>
                    <a:pt x="38100" y="88202"/>
                  </a:lnTo>
                  <a:lnTo>
                    <a:pt x="46196" y="83248"/>
                  </a:lnTo>
                  <a:lnTo>
                    <a:pt x="75438" y="83725"/>
                  </a:lnTo>
                  <a:lnTo>
                    <a:pt x="86678" y="83915"/>
                  </a:lnTo>
                  <a:lnTo>
                    <a:pt x="88773" y="88011"/>
                  </a:lnTo>
                  <a:lnTo>
                    <a:pt x="93250" y="85058"/>
                  </a:lnTo>
                  <a:lnTo>
                    <a:pt x="102108" y="90964"/>
                  </a:lnTo>
                  <a:lnTo>
                    <a:pt x="108490" y="87630"/>
                  </a:lnTo>
                  <a:lnTo>
                    <a:pt x="112966" y="89249"/>
                  </a:lnTo>
                  <a:lnTo>
                    <a:pt x="122682" y="88582"/>
                  </a:lnTo>
                  <a:lnTo>
                    <a:pt x="120301" y="8410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69" name="Freeform: Shape 2759">
              <a:extLst>
                <a:ext uri="{FF2B5EF4-FFF2-40B4-BE49-F238E27FC236}">
                  <a16:creationId xmlns:a16="http://schemas.microsoft.com/office/drawing/2014/main" id="{AB54E58B-A369-AB7F-7633-3325E631697E}"/>
                </a:ext>
              </a:extLst>
            </p:cNvPr>
            <p:cNvSpPr/>
            <p:nvPr/>
          </p:nvSpPr>
          <p:spPr>
            <a:xfrm>
              <a:off x="2315432" y="4631086"/>
              <a:ext cx="41243" cy="34575"/>
            </a:xfrm>
            <a:custGeom>
              <a:avLst/>
              <a:gdLst>
                <a:gd name="connsiteX0" fmla="*/ 38767 w 41243"/>
                <a:gd name="connsiteY0" fmla="*/ 16193 h 34575"/>
                <a:gd name="connsiteX1" fmla="*/ 39053 w 41243"/>
                <a:gd name="connsiteY1" fmla="*/ 8858 h 34575"/>
                <a:gd name="connsiteX2" fmla="*/ 32766 w 41243"/>
                <a:gd name="connsiteY2" fmla="*/ 0 h 34575"/>
                <a:gd name="connsiteX3" fmla="*/ 29051 w 41243"/>
                <a:gd name="connsiteY3" fmla="*/ 0 h 34575"/>
                <a:gd name="connsiteX4" fmla="*/ 23813 w 41243"/>
                <a:gd name="connsiteY4" fmla="*/ 8096 h 34575"/>
                <a:gd name="connsiteX5" fmla="*/ 20098 w 41243"/>
                <a:gd name="connsiteY5" fmla="*/ 4000 h 34575"/>
                <a:gd name="connsiteX6" fmla="*/ 14764 w 41243"/>
                <a:gd name="connsiteY6" fmla="*/ 6096 h 34575"/>
                <a:gd name="connsiteX7" fmla="*/ 9906 w 41243"/>
                <a:gd name="connsiteY7" fmla="*/ 7906 h 34575"/>
                <a:gd name="connsiteX8" fmla="*/ 5239 w 41243"/>
                <a:gd name="connsiteY8" fmla="*/ 15430 h 34575"/>
                <a:gd name="connsiteX9" fmla="*/ 6763 w 41243"/>
                <a:gd name="connsiteY9" fmla="*/ 19907 h 34575"/>
                <a:gd name="connsiteX10" fmla="*/ 0 w 41243"/>
                <a:gd name="connsiteY10" fmla="*/ 24574 h 34575"/>
                <a:gd name="connsiteX11" fmla="*/ 0 w 41243"/>
                <a:gd name="connsiteY11" fmla="*/ 30385 h 34575"/>
                <a:gd name="connsiteX12" fmla="*/ 3715 w 41243"/>
                <a:gd name="connsiteY12" fmla="*/ 32099 h 34575"/>
                <a:gd name="connsiteX13" fmla="*/ 3810 w 41243"/>
                <a:gd name="connsiteY13" fmla="*/ 32195 h 34575"/>
                <a:gd name="connsiteX14" fmla="*/ 5048 w 41243"/>
                <a:gd name="connsiteY14" fmla="*/ 28765 h 34575"/>
                <a:gd name="connsiteX15" fmla="*/ 10859 w 41243"/>
                <a:gd name="connsiteY15" fmla="*/ 30385 h 34575"/>
                <a:gd name="connsiteX16" fmla="*/ 11621 w 41243"/>
                <a:gd name="connsiteY16" fmla="*/ 34576 h 34575"/>
                <a:gd name="connsiteX17" fmla="*/ 20765 w 41243"/>
                <a:gd name="connsiteY17" fmla="*/ 32861 h 34575"/>
                <a:gd name="connsiteX18" fmla="*/ 21908 w 41243"/>
                <a:gd name="connsiteY18" fmla="*/ 23813 h 34575"/>
                <a:gd name="connsiteX19" fmla="*/ 26384 w 41243"/>
                <a:gd name="connsiteY19" fmla="*/ 26861 h 34575"/>
                <a:gd name="connsiteX20" fmla="*/ 30194 w 41243"/>
                <a:gd name="connsiteY20" fmla="*/ 23813 h 34575"/>
                <a:gd name="connsiteX21" fmla="*/ 34481 w 41243"/>
                <a:gd name="connsiteY21" fmla="*/ 26289 h 34575"/>
                <a:gd name="connsiteX22" fmla="*/ 40481 w 41243"/>
                <a:gd name="connsiteY22" fmla="*/ 26289 h 34575"/>
                <a:gd name="connsiteX23" fmla="*/ 41243 w 41243"/>
                <a:gd name="connsiteY23" fmla="*/ 19526 h 34575"/>
                <a:gd name="connsiteX24" fmla="*/ 38767 w 41243"/>
                <a:gd name="connsiteY24" fmla="*/ 16193 h 3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243" h="34575">
                  <a:moveTo>
                    <a:pt x="38767" y="16193"/>
                  </a:moveTo>
                  <a:lnTo>
                    <a:pt x="39053" y="8858"/>
                  </a:lnTo>
                  <a:lnTo>
                    <a:pt x="32766" y="0"/>
                  </a:lnTo>
                  <a:lnTo>
                    <a:pt x="29051" y="0"/>
                  </a:lnTo>
                  <a:lnTo>
                    <a:pt x="23813" y="8096"/>
                  </a:lnTo>
                  <a:lnTo>
                    <a:pt x="20098" y="4000"/>
                  </a:lnTo>
                  <a:lnTo>
                    <a:pt x="14764" y="6096"/>
                  </a:lnTo>
                  <a:lnTo>
                    <a:pt x="9906" y="7906"/>
                  </a:lnTo>
                  <a:lnTo>
                    <a:pt x="5239" y="15430"/>
                  </a:lnTo>
                  <a:lnTo>
                    <a:pt x="6763" y="19907"/>
                  </a:lnTo>
                  <a:lnTo>
                    <a:pt x="0" y="24574"/>
                  </a:lnTo>
                  <a:lnTo>
                    <a:pt x="0" y="30385"/>
                  </a:lnTo>
                  <a:lnTo>
                    <a:pt x="3715" y="32099"/>
                  </a:lnTo>
                  <a:lnTo>
                    <a:pt x="3810" y="32195"/>
                  </a:lnTo>
                  <a:lnTo>
                    <a:pt x="5048" y="28765"/>
                  </a:lnTo>
                  <a:lnTo>
                    <a:pt x="10859" y="30385"/>
                  </a:lnTo>
                  <a:lnTo>
                    <a:pt x="11621" y="34576"/>
                  </a:lnTo>
                  <a:lnTo>
                    <a:pt x="20765" y="32861"/>
                  </a:lnTo>
                  <a:lnTo>
                    <a:pt x="21908" y="23813"/>
                  </a:lnTo>
                  <a:lnTo>
                    <a:pt x="26384" y="26861"/>
                  </a:lnTo>
                  <a:lnTo>
                    <a:pt x="30194" y="23813"/>
                  </a:lnTo>
                  <a:lnTo>
                    <a:pt x="34481" y="26289"/>
                  </a:lnTo>
                  <a:lnTo>
                    <a:pt x="40481" y="26289"/>
                  </a:lnTo>
                  <a:lnTo>
                    <a:pt x="41243" y="19526"/>
                  </a:lnTo>
                  <a:lnTo>
                    <a:pt x="38767" y="1619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0" name="Freeform: Shape 2760">
              <a:extLst>
                <a:ext uri="{FF2B5EF4-FFF2-40B4-BE49-F238E27FC236}">
                  <a16:creationId xmlns:a16="http://schemas.microsoft.com/office/drawing/2014/main" id="{BD2D880A-ADBF-D26D-F469-AA2D516EFD4A}"/>
                </a:ext>
              </a:extLst>
            </p:cNvPr>
            <p:cNvSpPr/>
            <p:nvPr/>
          </p:nvSpPr>
          <p:spPr>
            <a:xfrm>
              <a:off x="1963674" y="4534598"/>
              <a:ext cx="150018" cy="174498"/>
            </a:xfrm>
            <a:custGeom>
              <a:avLst/>
              <a:gdLst>
                <a:gd name="connsiteX0" fmla="*/ 41053 w 150018"/>
                <a:gd name="connsiteY0" fmla="*/ 50768 h 174498"/>
                <a:gd name="connsiteX1" fmla="*/ 53054 w 150018"/>
                <a:gd name="connsiteY1" fmla="*/ 46577 h 174498"/>
                <a:gd name="connsiteX2" fmla="*/ 62293 w 150018"/>
                <a:gd name="connsiteY2" fmla="*/ 48101 h 174498"/>
                <a:gd name="connsiteX3" fmla="*/ 67342 w 150018"/>
                <a:gd name="connsiteY3" fmla="*/ 57721 h 174498"/>
                <a:gd name="connsiteX4" fmla="*/ 64294 w 150018"/>
                <a:gd name="connsiteY4" fmla="*/ 64294 h 174498"/>
                <a:gd name="connsiteX5" fmla="*/ 58102 w 150018"/>
                <a:gd name="connsiteY5" fmla="*/ 64294 h 174498"/>
                <a:gd name="connsiteX6" fmla="*/ 54197 w 150018"/>
                <a:gd name="connsiteY6" fmla="*/ 78677 h 174498"/>
                <a:gd name="connsiteX7" fmla="*/ 66961 w 150018"/>
                <a:gd name="connsiteY7" fmla="*/ 85249 h 174498"/>
                <a:gd name="connsiteX8" fmla="*/ 65437 w 150018"/>
                <a:gd name="connsiteY8" fmla="*/ 96488 h 174498"/>
                <a:gd name="connsiteX9" fmla="*/ 67342 w 150018"/>
                <a:gd name="connsiteY9" fmla="*/ 110014 h 174498"/>
                <a:gd name="connsiteX10" fmla="*/ 63913 w 150018"/>
                <a:gd name="connsiteY10" fmla="*/ 113824 h 174498"/>
                <a:gd name="connsiteX11" fmla="*/ 62293 w 150018"/>
                <a:gd name="connsiteY11" fmla="*/ 123158 h 174498"/>
                <a:gd name="connsiteX12" fmla="*/ 54959 w 150018"/>
                <a:gd name="connsiteY12" fmla="*/ 124682 h 174498"/>
                <a:gd name="connsiteX13" fmla="*/ 53435 w 150018"/>
                <a:gd name="connsiteY13" fmla="*/ 116586 h 174498"/>
                <a:gd name="connsiteX14" fmla="*/ 46482 w 150018"/>
                <a:gd name="connsiteY14" fmla="*/ 123158 h 174498"/>
                <a:gd name="connsiteX15" fmla="*/ 38767 w 150018"/>
                <a:gd name="connsiteY15" fmla="*/ 121634 h 174498"/>
                <a:gd name="connsiteX16" fmla="*/ 32575 w 150018"/>
                <a:gd name="connsiteY16" fmla="*/ 110014 h 174498"/>
                <a:gd name="connsiteX17" fmla="*/ 26765 w 150018"/>
                <a:gd name="connsiteY17" fmla="*/ 112681 h 174498"/>
                <a:gd name="connsiteX18" fmla="*/ 28289 w 150018"/>
                <a:gd name="connsiteY18" fmla="*/ 120872 h 174498"/>
                <a:gd name="connsiteX19" fmla="*/ 15907 w 150018"/>
                <a:gd name="connsiteY19" fmla="*/ 121634 h 174498"/>
                <a:gd name="connsiteX20" fmla="*/ 8572 w 150018"/>
                <a:gd name="connsiteY20" fmla="*/ 118872 h 174498"/>
                <a:gd name="connsiteX21" fmla="*/ 10573 w 150018"/>
                <a:gd name="connsiteY21" fmla="*/ 126873 h 174498"/>
                <a:gd name="connsiteX22" fmla="*/ 8287 w 150018"/>
                <a:gd name="connsiteY22" fmla="*/ 130778 h 174498"/>
                <a:gd name="connsiteX23" fmla="*/ 14002 w 150018"/>
                <a:gd name="connsiteY23" fmla="*/ 134588 h 174498"/>
                <a:gd name="connsiteX24" fmla="*/ 12668 w 150018"/>
                <a:gd name="connsiteY24" fmla="*/ 137731 h 174498"/>
                <a:gd name="connsiteX25" fmla="*/ 18097 w 150018"/>
                <a:gd name="connsiteY25" fmla="*/ 139827 h 174498"/>
                <a:gd name="connsiteX26" fmla="*/ 16288 w 150018"/>
                <a:gd name="connsiteY26" fmla="*/ 144971 h 174498"/>
                <a:gd name="connsiteX27" fmla="*/ 17812 w 150018"/>
                <a:gd name="connsiteY27" fmla="*/ 148590 h 174498"/>
                <a:gd name="connsiteX28" fmla="*/ 11906 w 150018"/>
                <a:gd name="connsiteY28" fmla="*/ 148876 h 174498"/>
                <a:gd name="connsiteX29" fmla="*/ 7239 w 150018"/>
                <a:gd name="connsiteY29" fmla="*/ 143161 h 174498"/>
                <a:gd name="connsiteX30" fmla="*/ 0 w 150018"/>
                <a:gd name="connsiteY30" fmla="*/ 153448 h 174498"/>
                <a:gd name="connsiteX31" fmla="*/ 0 w 150018"/>
                <a:gd name="connsiteY31" fmla="*/ 153448 h 174498"/>
                <a:gd name="connsiteX32" fmla="*/ 18574 w 150018"/>
                <a:gd name="connsiteY32" fmla="*/ 174403 h 174498"/>
                <a:gd name="connsiteX33" fmla="*/ 18574 w 150018"/>
                <a:gd name="connsiteY33" fmla="*/ 174498 h 174498"/>
                <a:gd name="connsiteX34" fmla="*/ 24765 w 150018"/>
                <a:gd name="connsiteY34" fmla="*/ 169736 h 174498"/>
                <a:gd name="connsiteX35" fmla="*/ 26003 w 150018"/>
                <a:gd name="connsiteY35" fmla="*/ 165163 h 174498"/>
                <a:gd name="connsiteX36" fmla="*/ 32004 w 150018"/>
                <a:gd name="connsiteY36" fmla="*/ 165926 h 174498"/>
                <a:gd name="connsiteX37" fmla="*/ 34671 w 150018"/>
                <a:gd name="connsiteY37" fmla="*/ 160877 h 174498"/>
                <a:gd name="connsiteX38" fmla="*/ 45910 w 150018"/>
                <a:gd name="connsiteY38" fmla="*/ 171545 h 174498"/>
                <a:gd name="connsiteX39" fmla="*/ 51911 w 150018"/>
                <a:gd name="connsiteY39" fmla="*/ 168402 h 174498"/>
                <a:gd name="connsiteX40" fmla="*/ 52483 w 150018"/>
                <a:gd name="connsiteY40" fmla="*/ 161449 h 174498"/>
                <a:gd name="connsiteX41" fmla="*/ 58102 w 150018"/>
                <a:gd name="connsiteY41" fmla="*/ 162401 h 174498"/>
                <a:gd name="connsiteX42" fmla="*/ 65056 w 150018"/>
                <a:gd name="connsiteY42" fmla="*/ 158782 h 174498"/>
                <a:gd name="connsiteX43" fmla="*/ 68294 w 150018"/>
                <a:gd name="connsiteY43" fmla="*/ 162782 h 174498"/>
                <a:gd name="connsiteX44" fmla="*/ 64675 w 150018"/>
                <a:gd name="connsiteY44" fmla="*/ 165735 h 174498"/>
                <a:gd name="connsiteX45" fmla="*/ 65627 w 150018"/>
                <a:gd name="connsiteY45" fmla="*/ 171545 h 174498"/>
                <a:gd name="connsiteX46" fmla="*/ 69342 w 150018"/>
                <a:gd name="connsiteY46" fmla="*/ 170402 h 174498"/>
                <a:gd name="connsiteX47" fmla="*/ 72771 w 150018"/>
                <a:gd name="connsiteY47" fmla="*/ 172307 h 174498"/>
                <a:gd name="connsiteX48" fmla="*/ 82296 w 150018"/>
                <a:gd name="connsiteY48" fmla="*/ 160496 h 174498"/>
                <a:gd name="connsiteX49" fmla="*/ 86868 w 150018"/>
                <a:gd name="connsiteY49" fmla="*/ 160115 h 174498"/>
                <a:gd name="connsiteX50" fmla="*/ 89059 w 150018"/>
                <a:gd name="connsiteY50" fmla="*/ 154686 h 174498"/>
                <a:gd name="connsiteX51" fmla="*/ 96012 w 150018"/>
                <a:gd name="connsiteY51" fmla="*/ 153543 h 174498"/>
                <a:gd name="connsiteX52" fmla="*/ 102775 w 150018"/>
                <a:gd name="connsiteY52" fmla="*/ 140398 h 174498"/>
                <a:gd name="connsiteX53" fmla="*/ 100870 w 150018"/>
                <a:gd name="connsiteY53" fmla="*/ 134588 h 174498"/>
                <a:gd name="connsiteX54" fmla="*/ 100679 w 150018"/>
                <a:gd name="connsiteY54" fmla="*/ 118491 h 174498"/>
                <a:gd name="connsiteX55" fmla="*/ 106108 w 150018"/>
                <a:gd name="connsiteY55" fmla="*/ 113633 h 174498"/>
                <a:gd name="connsiteX56" fmla="*/ 114586 w 150018"/>
                <a:gd name="connsiteY56" fmla="*/ 98393 h 174498"/>
                <a:gd name="connsiteX57" fmla="*/ 123444 w 150018"/>
                <a:gd name="connsiteY57" fmla="*/ 95250 h 174498"/>
                <a:gd name="connsiteX58" fmla="*/ 131636 w 150018"/>
                <a:gd name="connsiteY58" fmla="*/ 85820 h 174498"/>
                <a:gd name="connsiteX59" fmla="*/ 131445 w 150018"/>
                <a:gd name="connsiteY59" fmla="*/ 78486 h 174498"/>
                <a:gd name="connsiteX60" fmla="*/ 132588 w 150018"/>
                <a:gd name="connsiteY60" fmla="*/ 72104 h 174498"/>
                <a:gd name="connsiteX61" fmla="*/ 136398 w 150018"/>
                <a:gd name="connsiteY61" fmla="*/ 67246 h 174498"/>
                <a:gd name="connsiteX62" fmla="*/ 134493 w 150018"/>
                <a:gd name="connsiteY62" fmla="*/ 56388 h 174498"/>
                <a:gd name="connsiteX63" fmla="*/ 138970 w 150018"/>
                <a:gd name="connsiteY63" fmla="*/ 42863 h 174498"/>
                <a:gd name="connsiteX64" fmla="*/ 138970 w 150018"/>
                <a:gd name="connsiteY64" fmla="*/ 31052 h 174498"/>
                <a:gd name="connsiteX65" fmla="*/ 147066 w 150018"/>
                <a:gd name="connsiteY65" fmla="*/ 15621 h 174498"/>
                <a:gd name="connsiteX66" fmla="*/ 150019 w 150018"/>
                <a:gd name="connsiteY66" fmla="*/ 12478 h 174498"/>
                <a:gd name="connsiteX67" fmla="*/ 149638 w 150018"/>
                <a:gd name="connsiteY67" fmla="*/ 5715 h 174498"/>
                <a:gd name="connsiteX68" fmla="*/ 144780 w 150018"/>
                <a:gd name="connsiteY68" fmla="*/ 3048 h 174498"/>
                <a:gd name="connsiteX69" fmla="*/ 141256 w 150018"/>
                <a:gd name="connsiteY69" fmla="*/ 5905 h 174498"/>
                <a:gd name="connsiteX70" fmla="*/ 137446 w 150018"/>
                <a:gd name="connsiteY70" fmla="*/ 2572 h 174498"/>
                <a:gd name="connsiteX71" fmla="*/ 133159 w 150018"/>
                <a:gd name="connsiteY71" fmla="*/ 4953 h 174498"/>
                <a:gd name="connsiteX72" fmla="*/ 126968 w 150018"/>
                <a:gd name="connsiteY72" fmla="*/ 0 h 174498"/>
                <a:gd name="connsiteX73" fmla="*/ 123634 w 150018"/>
                <a:gd name="connsiteY73" fmla="*/ 4096 h 174498"/>
                <a:gd name="connsiteX74" fmla="*/ 117157 w 150018"/>
                <a:gd name="connsiteY74" fmla="*/ 5144 h 174498"/>
                <a:gd name="connsiteX75" fmla="*/ 109633 w 150018"/>
                <a:gd name="connsiteY75" fmla="*/ 3810 h 174498"/>
                <a:gd name="connsiteX76" fmla="*/ 106299 w 150018"/>
                <a:gd name="connsiteY76" fmla="*/ 10763 h 174498"/>
                <a:gd name="connsiteX77" fmla="*/ 108394 w 150018"/>
                <a:gd name="connsiteY77" fmla="*/ 18288 h 174498"/>
                <a:gd name="connsiteX78" fmla="*/ 102965 w 150018"/>
                <a:gd name="connsiteY78" fmla="*/ 29337 h 174498"/>
                <a:gd name="connsiteX79" fmla="*/ 99060 w 150018"/>
                <a:gd name="connsiteY79" fmla="*/ 32480 h 174498"/>
                <a:gd name="connsiteX80" fmla="*/ 102679 w 150018"/>
                <a:gd name="connsiteY80" fmla="*/ 40196 h 174498"/>
                <a:gd name="connsiteX81" fmla="*/ 97536 w 150018"/>
                <a:gd name="connsiteY81" fmla="*/ 43720 h 174498"/>
                <a:gd name="connsiteX82" fmla="*/ 94488 w 150018"/>
                <a:gd name="connsiteY82" fmla="*/ 38386 h 174498"/>
                <a:gd name="connsiteX83" fmla="*/ 88011 w 150018"/>
                <a:gd name="connsiteY83" fmla="*/ 35338 h 174498"/>
                <a:gd name="connsiteX84" fmla="*/ 83629 w 150018"/>
                <a:gd name="connsiteY84" fmla="*/ 37910 h 174498"/>
                <a:gd name="connsiteX85" fmla="*/ 81058 w 150018"/>
                <a:gd name="connsiteY85" fmla="*/ 33242 h 174498"/>
                <a:gd name="connsiteX86" fmla="*/ 76105 w 150018"/>
                <a:gd name="connsiteY86" fmla="*/ 35814 h 174498"/>
                <a:gd name="connsiteX87" fmla="*/ 68104 w 150018"/>
                <a:gd name="connsiteY87" fmla="*/ 32004 h 174498"/>
                <a:gd name="connsiteX88" fmla="*/ 44196 w 150018"/>
                <a:gd name="connsiteY88" fmla="*/ 32004 h 174498"/>
                <a:gd name="connsiteX89" fmla="*/ 40291 w 150018"/>
                <a:gd name="connsiteY89" fmla="*/ 39148 h 174498"/>
                <a:gd name="connsiteX90" fmla="*/ 41053 w 150018"/>
                <a:gd name="connsiteY90" fmla="*/ 50768 h 17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50018" h="174498">
                  <a:moveTo>
                    <a:pt x="41053" y="50768"/>
                  </a:moveTo>
                  <a:lnTo>
                    <a:pt x="53054" y="46577"/>
                  </a:lnTo>
                  <a:lnTo>
                    <a:pt x="62293" y="48101"/>
                  </a:lnTo>
                  <a:lnTo>
                    <a:pt x="67342" y="57721"/>
                  </a:lnTo>
                  <a:lnTo>
                    <a:pt x="64294" y="64294"/>
                  </a:lnTo>
                  <a:lnTo>
                    <a:pt x="58102" y="64294"/>
                  </a:lnTo>
                  <a:lnTo>
                    <a:pt x="54197" y="78677"/>
                  </a:lnTo>
                  <a:lnTo>
                    <a:pt x="66961" y="85249"/>
                  </a:lnTo>
                  <a:lnTo>
                    <a:pt x="65437" y="96488"/>
                  </a:lnTo>
                  <a:lnTo>
                    <a:pt x="67342" y="110014"/>
                  </a:lnTo>
                  <a:lnTo>
                    <a:pt x="63913" y="113824"/>
                  </a:lnTo>
                  <a:lnTo>
                    <a:pt x="62293" y="123158"/>
                  </a:lnTo>
                  <a:lnTo>
                    <a:pt x="54959" y="124682"/>
                  </a:lnTo>
                  <a:lnTo>
                    <a:pt x="53435" y="116586"/>
                  </a:lnTo>
                  <a:lnTo>
                    <a:pt x="46482" y="123158"/>
                  </a:lnTo>
                  <a:lnTo>
                    <a:pt x="38767" y="121634"/>
                  </a:lnTo>
                  <a:lnTo>
                    <a:pt x="32575" y="110014"/>
                  </a:lnTo>
                  <a:lnTo>
                    <a:pt x="26765" y="112681"/>
                  </a:lnTo>
                  <a:lnTo>
                    <a:pt x="28289" y="120872"/>
                  </a:lnTo>
                  <a:lnTo>
                    <a:pt x="15907" y="121634"/>
                  </a:lnTo>
                  <a:lnTo>
                    <a:pt x="8572" y="118872"/>
                  </a:lnTo>
                  <a:lnTo>
                    <a:pt x="10573" y="126873"/>
                  </a:lnTo>
                  <a:lnTo>
                    <a:pt x="8287" y="130778"/>
                  </a:lnTo>
                  <a:lnTo>
                    <a:pt x="14002" y="134588"/>
                  </a:lnTo>
                  <a:lnTo>
                    <a:pt x="12668" y="137731"/>
                  </a:lnTo>
                  <a:lnTo>
                    <a:pt x="18097" y="139827"/>
                  </a:lnTo>
                  <a:lnTo>
                    <a:pt x="16288" y="144971"/>
                  </a:lnTo>
                  <a:lnTo>
                    <a:pt x="17812" y="148590"/>
                  </a:lnTo>
                  <a:lnTo>
                    <a:pt x="11906" y="148876"/>
                  </a:lnTo>
                  <a:lnTo>
                    <a:pt x="7239" y="143161"/>
                  </a:lnTo>
                  <a:lnTo>
                    <a:pt x="0" y="153448"/>
                  </a:lnTo>
                  <a:lnTo>
                    <a:pt x="0" y="153448"/>
                  </a:lnTo>
                  <a:lnTo>
                    <a:pt x="18574" y="174403"/>
                  </a:lnTo>
                  <a:lnTo>
                    <a:pt x="18574" y="174498"/>
                  </a:lnTo>
                  <a:lnTo>
                    <a:pt x="24765" y="169736"/>
                  </a:lnTo>
                  <a:lnTo>
                    <a:pt x="26003" y="165163"/>
                  </a:lnTo>
                  <a:lnTo>
                    <a:pt x="32004" y="165926"/>
                  </a:lnTo>
                  <a:lnTo>
                    <a:pt x="34671" y="160877"/>
                  </a:lnTo>
                  <a:lnTo>
                    <a:pt x="45910" y="171545"/>
                  </a:lnTo>
                  <a:lnTo>
                    <a:pt x="51911" y="168402"/>
                  </a:lnTo>
                  <a:lnTo>
                    <a:pt x="52483" y="161449"/>
                  </a:lnTo>
                  <a:lnTo>
                    <a:pt x="58102" y="162401"/>
                  </a:lnTo>
                  <a:lnTo>
                    <a:pt x="65056" y="158782"/>
                  </a:lnTo>
                  <a:lnTo>
                    <a:pt x="68294" y="162782"/>
                  </a:lnTo>
                  <a:lnTo>
                    <a:pt x="64675" y="165735"/>
                  </a:lnTo>
                  <a:lnTo>
                    <a:pt x="65627" y="171545"/>
                  </a:lnTo>
                  <a:lnTo>
                    <a:pt x="69342" y="170402"/>
                  </a:lnTo>
                  <a:lnTo>
                    <a:pt x="72771" y="172307"/>
                  </a:lnTo>
                  <a:lnTo>
                    <a:pt x="82296" y="160496"/>
                  </a:lnTo>
                  <a:lnTo>
                    <a:pt x="86868" y="160115"/>
                  </a:lnTo>
                  <a:lnTo>
                    <a:pt x="89059" y="154686"/>
                  </a:lnTo>
                  <a:lnTo>
                    <a:pt x="96012" y="153543"/>
                  </a:lnTo>
                  <a:lnTo>
                    <a:pt x="102775" y="140398"/>
                  </a:lnTo>
                  <a:lnTo>
                    <a:pt x="100870" y="134588"/>
                  </a:lnTo>
                  <a:lnTo>
                    <a:pt x="100679" y="118491"/>
                  </a:lnTo>
                  <a:lnTo>
                    <a:pt x="106108" y="113633"/>
                  </a:lnTo>
                  <a:lnTo>
                    <a:pt x="114586" y="98393"/>
                  </a:lnTo>
                  <a:lnTo>
                    <a:pt x="123444" y="95250"/>
                  </a:lnTo>
                  <a:lnTo>
                    <a:pt x="131636" y="85820"/>
                  </a:lnTo>
                  <a:lnTo>
                    <a:pt x="131445" y="78486"/>
                  </a:lnTo>
                  <a:lnTo>
                    <a:pt x="132588" y="72104"/>
                  </a:lnTo>
                  <a:lnTo>
                    <a:pt x="136398" y="67246"/>
                  </a:lnTo>
                  <a:lnTo>
                    <a:pt x="134493" y="56388"/>
                  </a:lnTo>
                  <a:lnTo>
                    <a:pt x="138970" y="42863"/>
                  </a:lnTo>
                  <a:lnTo>
                    <a:pt x="138970" y="31052"/>
                  </a:lnTo>
                  <a:lnTo>
                    <a:pt x="147066" y="15621"/>
                  </a:lnTo>
                  <a:lnTo>
                    <a:pt x="150019" y="12478"/>
                  </a:lnTo>
                  <a:lnTo>
                    <a:pt x="149638" y="5715"/>
                  </a:lnTo>
                  <a:lnTo>
                    <a:pt x="144780" y="3048"/>
                  </a:lnTo>
                  <a:lnTo>
                    <a:pt x="141256" y="5905"/>
                  </a:lnTo>
                  <a:lnTo>
                    <a:pt x="137446" y="2572"/>
                  </a:lnTo>
                  <a:lnTo>
                    <a:pt x="133159" y="4953"/>
                  </a:lnTo>
                  <a:lnTo>
                    <a:pt x="126968" y="0"/>
                  </a:lnTo>
                  <a:lnTo>
                    <a:pt x="123634" y="4096"/>
                  </a:lnTo>
                  <a:lnTo>
                    <a:pt x="117157" y="5144"/>
                  </a:lnTo>
                  <a:lnTo>
                    <a:pt x="109633" y="3810"/>
                  </a:lnTo>
                  <a:lnTo>
                    <a:pt x="106299" y="10763"/>
                  </a:lnTo>
                  <a:lnTo>
                    <a:pt x="108394" y="18288"/>
                  </a:lnTo>
                  <a:lnTo>
                    <a:pt x="102965" y="29337"/>
                  </a:lnTo>
                  <a:lnTo>
                    <a:pt x="99060" y="32480"/>
                  </a:lnTo>
                  <a:lnTo>
                    <a:pt x="102679" y="40196"/>
                  </a:lnTo>
                  <a:lnTo>
                    <a:pt x="97536" y="43720"/>
                  </a:lnTo>
                  <a:lnTo>
                    <a:pt x="94488" y="38386"/>
                  </a:lnTo>
                  <a:lnTo>
                    <a:pt x="88011" y="35338"/>
                  </a:lnTo>
                  <a:lnTo>
                    <a:pt x="83629" y="37910"/>
                  </a:lnTo>
                  <a:lnTo>
                    <a:pt x="81058" y="33242"/>
                  </a:lnTo>
                  <a:lnTo>
                    <a:pt x="76105" y="35814"/>
                  </a:lnTo>
                  <a:lnTo>
                    <a:pt x="68104" y="32004"/>
                  </a:lnTo>
                  <a:lnTo>
                    <a:pt x="44196" y="32004"/>
                  </a:lnTo>
                  <a:lnTo>
                    <a:pt x="40291" y="39148"/>
                  </a:lnTo>
                  <a:lnTo>
                    <a:pt x="41053" y="5076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1" name="Freeform: Shape 2761">
              <a:extLst>
                <a:ext uri="{FF2B5EF4-FFF2-40B4-BE49-F238E27FC236}">
                  <a16:creationId xmlns:a16="http://schemas.microsoft.com/office/drawing/2014/main" id="{6BFB2886-5821-16BB-56D6-99A4AFCC77DC}"/>
                </a:ext>
              </a:extLst>
            </p:cNvPr>
            <p:cNvSpPr/>
            <p:nvPr/>
          </p:nvSpPr>
          <p:spPr>
            <a:xfrm>
              <a:off x="1799177" y="4331811"/>
              <a:ext cx="234410" cy="193262"/>
            </a:xfrm>
            <a:custGeom>
              <a:avLst/>
              <a:gdLst>
                <a:gd name="connsiteX0" fmla="*/ 224600 w 234410"/>
                <a:gd name="connsiteY0" fmla="*/ 31718 h 193262"/>
                <a:gd name="connsiteX1" fmla="*/ 222599 w 234410"/>
                <a:gd name="connsiteY1" fmla="*/ 16478 h 193262"/>
                <a:gd name="connsiteX2" fmla="*/ 214313 w 234410"/>
                <a:gd name="connsiteY2" fmla="*/ 2762 h 193262"/>
                <a:gd name="connsiteX3" fmla="*/ 207454 w 234410"/>
                <a:gd name="connsiteY3" fmla="*/ 2762 h 193262"/>
                <a:gd name="connsiteX4" fmla="*/ 205169 w 234410"/>
                <a:gd name="connsiteY4" fmla="*/ 7906 h 193262"/>
                <a:gd name="connsiteX5" fmla="*/ 196310 w 234410"/>
                <a:gd name="connsiteY5" fmla="*/ 11049 h 193262"/>
                <a:gd name="connsiteX6" fmla="*/ 191262 w 234410"/>
                <a:gd name="connsiteY6" fmla="*/ 18955 h 193262"/>
                <a:gd name="connsiteX7" fmla="*/ 171164 w 234410"/>
                <a:gd name="connsiteY7" fmla="*/ 10668 h 193262"/>
                <a:gd name="connsiteX8" fmla="*/ 145161 w 234410"/>
                <a:gd name="connsiteY8" fmla="*/ 13430 h 193262"/>
                <a:gd name="connsiteX9" fmla="*/ 135541 w 234410"/>
                <a:gd name="connsiteY9" fmla="*/ 23717 h 193262"/>
                <a:gd name="connsiteX10" fmla="*/ 118110 w 234410"/>
                <a:gd name="connsiteY10" fmla="*/ 22098 h 193262"/>
                <a:gd name="connsiteX11" fmla="*/ 113824 w 234410"/>
                <a:gd name="connsiteY11" fmla="*/ 16574 h 193262"/>
                <a:gd name="connsiteX12" fmla="*/ 99917 w 234410"/>
                <a:gd name="connsiteY12" fmla="*/ 11430 h 193262"/>
                <a:gd name="connsiteX13" fmla="*/ 88678 w 234410"/>
                <a:gd name="connsiteY13" fmla="*/ 15812 h 193262"/>
                <a:gd name="connsiteX14" fmla="*/ 82106 w 234410"/>
                <a:gd name="connsiteY14" fmla="*/ 19336 h 193262"/>
                <a:gd name="connsiteX15" fmla="*/ 77438 w 234410"/>
                <a:gd name="connsiteY15" fmla="*/ 9430 h 193262"/>
                <a:gd name="connsiteX16" fmla="*/ 70485 w 234410"/>
                <a:gd name="connsiteY16" fmla="*/ 3143 h 193262"/>
                <a:gd name="connsiteX17" fmla="*/ 65913 w 234410"/>
                <a:gd name="connsiteY17" fmla="*/ 7525 h 193262"/>
                <a:gd name="connsiteX18" fmla="*/ 55054 w 234410"/>
                <a:gd name="connsiteY18" fmla="*/ 0 h 193262"/>
                <a:gd name="connsiteX19" fmla="*/ 49244 w 234410"/>
                <a:gd name="connsiteY19" fmla="*/ 5525 h 193262"/>
                <a:gd name="connsiteX20" fmla="*/ 42291 w 234410"/>
                <a:gd name="connsiteY20" fmla="*/ 5906 h 193262"/>
                <a:gd name="connsiteX21" fmla="*/ 39148 w 234410"/>
                <a:gd name="connsiteY21" fmla="*/ 1143 h 193262"/>
                <a:gd name="connsiteX22" fmla="*/ 27527 w 234410"/>
                <a:gd name="connsiteY22" fmla="*/ 8287 h 193262"/>
                <a:gd name="connsiteX23" fmla="*/ 26384 w 234410"/>
                <a:gd name="connsiteY23" fmla="*/ 19717 h 193262"/>
                <a:gd name="connsiteX24" fmla="*/ 17907 w 234410"/>
                <a:gd name="connsiteY24" fmla="*/ 27623 h 193262"/>
                <a:gd name="connsiteX25" fmla="*/ 18669 w 234410"/>
                <a:gd name="connsiteY25" fmla="*/ 40672 h 193262"/>
                <a:gd name="connsiteX26" fmla="*/ 15145 w 234410"/>
                <a:gd name="connsiteY26" fmla="*/ 50959 h 193262"/>
                <a:gd name="connsiteX27" fmla="*/ 19431 w 234410"/>
                <a:gd name="connsiteY27" fmla="*/ 54959 h 193262"/>
                <a:gd name="connsiteX28" fmla="*/ 17907 w 234410"/>
                <a:gd name="connsiteY28" fmla="*/ 59246 h 193262"/>
                <a:gd name="connsiteX29" fmla="*/ 23146 w 234410"/>
                <a:gd name="connsiteY29" fmla="*/ 63341 h 193262"/>
                <a:gd name="connsiteX30" fmla="*/ 22098 w 234410"/>
                <a:gd name="connsiteY30" fmla="*/ 72009 h 193262"/>
                <a:gd name="connsiteX31" fmla="*/ 15907 w 234410"/>
                <a:gd name="connsiteY31" fmla="*/ 72009 h 193262"/>
                <a:gd name="connsiteX32" fmla="*/ 15907 w 234410"/>
                <a:gd name="connsiteY32" fmla="*/ 82296 h 193262"/>
                <a:gd name="connsiteX33" fmla="*/ 8192 w 234410"/>
                <a:gd name="connsiteY33" fmla="*/ 86963 h 193262"/>
                <a:gd name="connsiteX34" fmla="*/ 8192 w 234410"/>
                <a:gd name="connsiteY34" fmla="*/ 97727 h 193262"/>
                <a:gd name="connsiteX35" fmla="*/ 476 w 234410"/>
                <a:gd name="connsiteY35" fmla="*/ 99346 h 193262"/>
                <a:gd name="connsiteX36" fmla="*/ 0 w 234410"/>
                <a:gd name="connsiteY36" fmla="*/ 151638 h 193262"/>
                <a:gd name="connsiteX37" fmla="*/ 0 w 234410"/>
                <a:gd name="connsiteY37" fmla="*/ 151638 h 193262"/>
                <a:gd name="connsiteX38" fmla="*/ 32194 w 234410"/>
                <a:gd name="connsiteY38" fmla="*/ 151638 h 193262"/>
                <a:gd name="connsiteX39" fmla="*/ 45053 w 234410"/>
                <a:gd name="connsiteY39" fmla="*/ 163830 h 193262"/>
                <a:gd name="connsiteX40" fmla="*/ 55912 w 234410"/>
                <a:gd name="connsiteY40" fmla="*/ 160973 h 193262"/>
                <a:gd name="connsiteX41" fmla="*/ 53340 w 234410"/>
                <a:gd name="connsiteY41" fmla="*/ 181642 h 193262"/>
                <a:gd name="connsiteX42" fmla="*/ 65913 w 234410"/>
                <a:gd name="connsiteY42" fmla="*/ 193262 h 193262"/>
                <a:gd name="connsiteX43" fmla="*/ 89344 w 234410"/>
                <a:gd name="connsiteY43" fmla="*/ 188595 h 193262"/>
                <a:gd name="connsiteX44" fmla="*/ 92583 w 234410"/>
                <a:gd name="connsiteY44" fmla="*/ 181356 h 193262"/>
                <a:gd name="connsiteX45" fmla="*/ 96869 w 234410"/>
                <a:gd name="connsiteY45" fmla="*/ 188595 h 193262"/>
                <a:gd name="connsiteX46" fmla="*/ 109442 w 234410"/>
                <a:gd name="connsiteY46" fmla="*/ 187643 h 193262"/>
                <a:gd name="connsiteX47" fmla="*/ 107156 w 234410"/>
                <a:gd name="connsiteY47" fmla="*/ 179070 h 193262"/>
                <a:gd name="connsiteX48" fmla="*/ 114395 w 234410"/>
                <a:gd name="connsiteY48" fmla="*/ 182975 h 193262"/>
                <a:gd name="connsiteX49" fmla="*/ 119920 w 234410"/>
                <a:gd name="connsiteY49" fmla="*/ 175451 h 193262"/>
                <a:gd name="connsiteX50" fmla="*/ 121920 w 234410"/>
                <a:gd name="connsiteY50" fmla="*/ 167640 h 193262"/>
                <a:gd name="connsiteX51" fmla="*/ 120206 w 234410"/>
                <a:gd name="connsiteY51" fmla="*/ 162020 h 193262"/>
                <a:gd name="connsiteX52" fmla="*/ 129921 w 234410"/>
                <a:gd name="connsiteY52" fmla="*/ 152495 h 193262"/>
                <a:gd name="connsiteX53" fmla="*/ 138017 w 234410"/>
                <a:gd name="connsiteY53" fmla="*/ 149828 h 193262"/>
                <a:gd name="connsiteX54" fmla="*/ 138494 w 234410"/>
                <a:gd name="connsiteY54" fmla="*/ 142685 h 193262"/>
                <a:gd name="connsiteX55" fmla="*/ 145733 w 234410"/>
                <a:gd name="connsiteY55" fmla="*/ 137446 h 193262"/>
                <a:gd name="connsiteX56" fmla="*/ 147256 w 234410"/>
                <a:gd name="connsiteY56" fmla="*/ 142685 h 193262"/>
                <a:gd name="connsiteX57" fmla="*/ 153162 w 234410"/>
                <a:gd name="connsiteY57" fmla="*/ 142875 h 193262"/>
                <a:gd name="connsiteX58" fmla="*/ 155258 w 234410"/>
                <a:gd name="connsiteY58" fmla="*/ 136684 h 193262"/>
                <a:gd name="connsiteX59" fmla="*/ 163544 w 234410"/>
                <a:gd name="connsiteY59" fmla="*/ 143446 h 193262"/>
                <a:gd name="connsiteX60" fmla="*/ 164306 w 234410"/>
                <a:gd name="connsiteY60" fmla="*/ 150114 h 193262"/>
                <a:gd name="connsiteX61" fmla="*/ 172021 w 234410"/>
                <a:gd name="connsiteY61" fmla="*/ 149066 h 193262"/>
                <a:gd name="connsiteX62" fmla="*/ 174308 w 234410"/>
                <a:gd name="connsiteY62" fmla="*/ 141065 h 193262"/>
                <a:gd name="connsiteX63" fmla="*/ 181832 w 234410"/>
                <a:gd name="connsiteY63" fmla="*/ 136684 h 193262"/>
                <a:gd name="connsiteX64" fmla="*/ 178689 w 234410"/>
                <a:gd name="connsiteY64" fmla="*/ 131826 h 193262"/>
                <a:gd name="connsiteX65" fmla="*/ 186690 w 234410"/>
                <a:gd name="connsiteY65" fmla="*/ 120491 h 193262"/>
                <a:gd name="connsiteX66" fmla="*/ 186976 w 234410"/>
                <a:gd name="connsiteY66" fmla="*/ 111157 h 193262"/>
                <a:gd name="connsiteX67" fmla="*/ 191834 w 234410"/>
                <a:gd name="connsiteY67" fmla="*/ 110109 h 193262"/>
                <a:gd name="connsiteX68" fmla="*/ 191834 w 234410"/>
                <a:gd name="connsiteY68" fmla="*/ 104966 h 193262"/>
                <a:gd name="connsiteX69" fmla="*/ 199073 w 234410"/>
                <a:gd name="connsiteY69" fmla="*/ 104489 h 193262"/>
                <a:gd name="connsiteX70" fmla="*/ 199358 w 234410"/>
                <a:gd name="connsiteY70" fmla="*/ 91535 h 193262"/>
                <a:gd name="connsiteX71" fmla="*/ 207359 w 234410"/>
                <a:gd name="connsiteY71" fmla="*/ 89249 h 193262"/>
                <a:gd name="connsiteX72" fmla="*/ 206597 w 234410"/>
                <a:gd name="connsiteY72" fmla="*/ 78962 h 193262"/>
                <a:gd name="connsiteX73" fmla="*/ 212027 w 234410"/>
                <a:gd name="connsiteY73" fmla="*/ 76867 h 193262"/>
                <a:gd name="connsiteX74" fmla="*/ 213074 w 234410"/>
                <a:gd name="connsiteY74" fmla="*/ 67056 h 193262"/>
                <a:gd name="connsiteX75" fmla="*/ 221266 w 234410"/>
                <a:gd name="connsiteY75" fmla="*/ 53054 h 193262"/>
                <a:gd name="connsiteX76" fmla="*/ 226409 w 234410"/>
                <a:gd name="connsiteY76" fmla="*/ 54388 h 193262"/>
                <a:gd name="connsiteX77" fmla="*/ 233648 w 234410"/>
                <a:gd name="connsiteY77" fmla="*/ 49340 h 193262"/>
                <a:gd name="connsiteX78" fmla="*/ 234410 w 234410"/>
                <a:gd name="connsiteY78" fmla="*/ 35147 h 193262"/>
                <a:gd name="connsiteX79" fmla="*/ 224600 w 234410"/>
                <a:gd name="connsiteY79" fmla="*/ 31718 h 19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34410" h="193262">
                  <a:moveTo>
                    <a:pt x="224600" y="31718"/>
                  </a:moveTo>
                  <a:lnTo>
                    <a:pt x="222599" y="16478"/>
                  </a:lnTo>
                  <a:lnTo>
                    <a:pt x="214313" y="2762"/>
                  </a:lnTo>
                  <a:lnTo>
                    <a:pt x="207454" y="2762"/>
                  </a:lnTo>
                  <a:lnTo>
                    <a:pt x="205169" y="7906"/>
                  </a:lnTo>
                  <a:lnTo>
                    <a:pt x="196310" y="11049"/>
                  </a:lnTo>
                  <a:lnTo>
                    <a:pt x="191262" y="18955"/>
                  </a:lnTo>
                  <a:lnTo>
                    <a:pt x="171164" y="10668"/>
                  </a:lnTo>
                  <a:lnTo>
                    <a:pt x="145161" y="13430"/>
                  </a:lnTo>
                  <a:lnTo>
                    <a:pt x="135541" y="23717"/>
                  </a:lnTo>
                  <a:lnTo>
                    <a:pt x="118110" y="22098"/>
                  </a:lnTo>
                  <a:lnTo>
                    <a:pt x="113824" y="16574"/>
                  </a:lnTo>
                  <a:lnTo>
                    <a:pt x="99917" y="11430"/>
                  </a:lnTo>
                  <a:lnTo>
                    <a:pt x="88678" y="15812"/>
                  </a:lnTo>
                  <a:lnTo>
                    <a:pt x="82106" y="19336"/>
                  </a:lnTo>
                  <a:lnTo>
                    <a:pt x="77438" y="9430"/>
                  </a:lnTo>
                  <a:lnTo>
                    <a:pt x="70485" y="3143"/>
                  </a:lnTo>
                  <a:lnTo>
                    <a:pt x="65913" y="7525"/>
                  </a:lnTo>
                  <a:lnTo>
                    <a:pt x="55054" y="0"/>
                  </a:lnTo>
                  <a:lnTo>
                    <a:pt x="49244" y="5525"/>
                  </a:lnTo>
                  <a:lnTo>
                    <a:pt x="42291" y="5906"/>
                  </a:lnTo>
                  <a:lnTo>
                    <a:pt x="39148" y="1143"/>
                  </a:lnTo>
                  <a:lnTo>
                    <a:pt x="27527" y="8287"/>
                  </a:lnTo>
                  <a:lnTo>
                    <a:pt x="26384" y="19717"/>
                  </a:lnTo>
                  <a:lnTo>
                    <a:pt x="17907" y="27623"/>
                  </a:lnTo>
                  <a:lnTo>
                    <a:pt x="18669" y="40672"/>
                  </a:lnTo>
                  <a:lnTo>
                    <a:pt x="15145" y="50959"/>
                  </a:lnTo>
                  <a:lnTo>
                    <a:pt x="19431" y="54959"/>
                  </a:lnTo>
                  <a:lnTo>
                    <a:pt x="17907" y="59246"/>
                  </a:lnTo>
                  <a:lnTo>
                    <a:pt x="23146" y="63341"/>
                  </a:lnTo>
                  <a:lnTo>
                    <a:pt x="22098" y="72009"/>
                  </a:lnTo>
                  <a:lnTo>
                    <a:pt x="15907" y="72009"/>
                  </a:lnTo>
                  <a:lnTo>
                    <a:pt x="15907" y="82296"/>
                  </a:lnTo>
                  <a:lnTo>
                    <a:pt x="8192" y="86963"/>
                  </a:lnTo>
                  <a:lnTo>
                    <a:pt x="8192" y="97727"/>
                  </a:lnTo>
                  <a:lnTo>
                    <a:pt x="476" y="99346"/>
                  </a:lnTo>
                  <a:lnTo>
                    <a:pt x="0" y="151638"/>
                  </a:lnTo>
                  <a:lnTo>
                    <a:pt x="0" y="151638"/>
                  </a:lnTo>
                  <a:lnTo>
                    <a:pt x="32194" y="151638"/>
                  </a:lnTo>
                  <a:lnTo>
                    <a:pt x="45053" y="163830"/>
                  </a:lnTo>
                  <a:lnTo>
                    <a:pt x="55912" y="160973"/>
                  </a:lnTo>
                  <a:lnTo>
                    <a:pt x="53340" y="181642"/>
                  </a:lnTo>
                  <a:lnTo>
                    <a:pt x="65913" y="193262"/>
                  </a:lnTo>
                  <a:lnTo>
                    <a:pt x="89344" y="188595"/>
                  </a:lnTo>
                  <a:lnTo>
                    <a:pt x="92583" y="181356"/>
                  </a:lnTo>
                  <a:lnTo>
                    <a:pt x="96869" y="188595"/>
                  </a:lnTo>
                  <a:lnTo>
                    <a:pt x="109442" y="187643"/>
                  </a:lnTo>
                  <a:lnTo>
                    <a:pt x="107156" y="179070"/>
                  </a:lnTo>
                  <a:lnTo>
                    <a:pt x="114395" y="182975"/>
                  </a:lnTo>
                  <a:lnTo>
                    <a:pt x="119920" y="175451"/>
                  </a:lnTo>
                  <a:lnTo>
                    <a:pt x="121920" y="167640"/>
                  </a:lnTo>
                  <a:lnTo>
                    <a:pt x="120206" y="162020"/>
                  </a:lnTo>
                  <a:lnTo>
                    <a:pt x="129921" y="152495"/>
                  </a:lnTo>
                  <a:lnTo>
                    <a:pt x="138017" y="149828"/>
                  </a:lnTo>
                  <a:lnTo>
                    <a:pt x="138494" y="142685"/>
                  </a:lnTo>
                  <a:lnTo>
                    <a:pt x="145733" y="137446"/>
                  </a:lnTo>
                  <a:lnTo>
                    <a:pt x="147256" y="142685"/>
                  </a:lnTo>
                  <a:lnTo>
                    <a:pt x="153162" y="142875"/>
                  </a:lnTo>
                  <a:lnTo>
                    <a:pt x="155258" y="136684"/>
                  </a:lnTo>
                  <a:lnTo>
                    <a:pt x="163544" y="143446"/>
                  </a:lnTo>
                  <a:lnTo>
                    <a:pt x="164306" y="150114"/>
                  </a:lnTo>
                  <a:lnTo>
                    <a:pt x="172021" y="149066"/>
                  </a:lnTo>
                  <a:lnTo>
                    <a:pt x="174308" y="141065"/>
                  </a:lnTo>
                  <a:lnTo>
                    <a:pt x="181832" y="136684"/>
                  </a:lnTo>
                  <a:lnTo>
                    <a:pt x="178689" y="131826"/>
                  </a:lnTo>
                  <a:lnTo>
                    <a:pt x="186690" y="120491"/>
                  </a:lnTo>
                  <a:lnTo>
                    <a:pt x="186976" y="111157"/>
                  </a:lnTo>
                  <a:lnTo>
                    <a:pt x="191834" y="110109"/>
                  </a:lnTo>
                  <a:lnTo>
                    <a:pt x="191834" y="104966"/>
                  </a:lnTo>
                  <a:lnTo>
                    <a:pt x="199073" y="104489"/>
                  </a:lnTo>
                  <a:lnTo>
                    <a:pt x="199358" y="91535"/>
                  </a:lnTo>
                  <a:lnTo>
                    <a:pt x="207359" y="89249"/>
                  </a:lnTo>
                  <a:lnTo>
                    <a:pt x="206597" y="78962"/>
                  </a:lnTo>
                  <a:lnTo>
                    <a:pt x="212027" y="76867"/>
                  </a:lnTo>
                  <a:lnTo>
                    <a:pt x="213074" y="67056"/>
                  </a:lnTo>
                  <a:lnTo>
                    <a:pt x="221266" y="53054"/>
                  </a:lnTo>
                  <a:lnTo>
                    <a:pt x="226409" y="54388"/>
                  </a:lnTo>
                  <a:lnTo>
                    <a:pt x="233648" y="49340"/>
                  </a:lnTo>
                  <a:lnTo>
                    <a:pt x="234410" y="35147"/>
                  </a:lnTo>
                  <a:lnTo>
                    <a:pt x="224600" y="3171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2" name="Freeform: Shape 2762">
              <a:extLst>
                <a:ext uri="{FF2B5EF4-FFF2-40B4-BE49-F238E27FC236}">
                  <a16:creationId xmlns:a16="http://schemas.microsoft.com/office/drawing/2014/main" id="{57BA9346-DFD9-7CDF-8AEA-E7A6C7FA053D}"/>
                </a:ext>
              </a:extLst>
            </p:cNvPr>
            <p:cNvSpPr/>
            <p:nvPr/>
          </p:nvSpPr>
          <p:spPr>
            <a:xfrm>
              <a:off x="1746789" y="4134834"/>
              <a:ext cx="314420" cy="242792"/>
            </a:xfrm>
            <a:custGeom>
              <a:avLst/>
              <a:gdLst>
                <a:gd name="connsiteX0" fmla="*/ 269939 w 314420"/>
                <a:gd name="connsiteY0" fmla="*/ 184499 h 242792"/>
                <a:gd name="connsiteX1" fmla="*/ 269939 w 314420"/>
                <a:gd name="connsiteY1" fmla="*/ 178118 h 242792"/>
                <a:gd name="connsiteX2" fmla="*/ 282321 w 314420"/>
                <a:gd name="connsiteY2" fmla="*/ 159734 h 242792"/>
                <a:gd name="connsiteX3" fmla="*/ 304038 w 314420"/>
                <a:gd name="connsiteY3" fmla="*/ 136684 h 242792"/>
                <a:gd name="connsiteX4" fmla="*/ 308800 w 314420"/>
                <a:gd name="connsiteY4" fmla="*/ 76105 h 242792"/>
                <a:gd name="connsiteX5" fmla="*/ 314420 w 314420"/>
                <a:gd name="connsiteY5" fmla="*/ 67437 h 242792"/>
                <a:gd name="connsiteX6" fmla="*/ 305181 w 314420"/>
                <a:gd name="connsiteY6" fmla="*/ 57531 h 242792"/>
                <a:gd name="connsiteX7" fmla="*/ 306896 w 314420"/>
                <a:gd name="connsiteY7" fmla="*/ 54007 h 242792"/>
                <a:gd name="connsiteX8" fmla="*/ 298133 w 314420"/>
                <a:gd name="connsiteY8" fmla="*/ 42386 h 242792"/>
                <a:gd name="connsiteX9" fmla="*/ 298609 w 314420"/>
                <a:gd name="connsiteY9" fmla="*/ 32099 h 242792"/>
                <a:gd name="connsiteX10" fmla="*/ 294608 w 314420"/>
                <a:gd name="connsiteY10" fmla="*/ 11525 h 242792"/>
                <a:gd name="connsiteX11" fmla="*/ 294513 w 314420"/>
                <a:gd name="connsiteY11" fmla="*/ 11430 h 242792"/>
                <a:gd name="connsiteX12" fmla="*/ 279654 w 314420"/>
                <a:gd name="connsiteY12" fmla="*/ 19717 h 242792"/>
                <a:gd name="connsiteX13" fmla="*/ 265652 w 314420"/>
                <a:gd name="connsiteY13" fmla="*/ 7429 h 242792"/>
                <a:gd name="connsiteX14" fmla="*/ 233934 w 314420"/>
                <a:gd name="connsiteY14" fmla="*/ 0 h 242792"/>
                <a:gd name="connsiteX15" fmla="*/ 144971 w 314420"/>
                <a:gd name="connsiteY15" fmla="*/ 56293 h 242792"/>
                <a:gd name="connsiteX16" fmla="*/ 112395 w 314420"/>
                <a:gd name="connsiteY16" fmla="*/ 85439 h 242792"/>
                <a:gd name="connsiteX17" fmla="*/ 81534 w 314420"/>
                <a:gd name="connsiteY17" fmla="*/ 91440 h 242792"/>
                <a:gd name="connsiteX18" fmla="*/ 81248 w 314420"/>
                <a:gd name="connsiteY18" fmla="*/ 92202 h 242792"/>
                <a:gd name="connsiteX19" fmla="*/ 81248 w 314420"/>
                <a:gd name="connsiteY19" fmla="*/ 147542 h 242792"/>
                <a:gd name="connsiteX20" fmla="*/ 75343 w 314420"/>
                <a:gd name="connsiteY20" fmla="*/ 154114 h 242792"/>
                <a:gd name="connsiteX21" fmla="*/ 74771 w 314420"/>
                <a:gd name="connsiteY21" fmla="*/ 161735 h 242792"/>
                <a:gd name="connsiteX22" fmla="*/ 68104 w 314420"/>
                <a:gd name="connsiteY22" fmla="*/ 163354 h 242792"/>
                <a:gd name="connsiteX23" fmla="*/ 67818 w 314420"/>
                <a:gd name="connsiteY23" fmla="*/ 168593 h 242792"/>
                <a:gd name="connsiteX24" fmla="*/ 56960 w 314420"/>
                <a:gd name="connsiteY24" fmla="*/ 166783 h 242792"/>
                <a:gd name="connsiteX25" fmla="*/ 22955 w 314420"/>
                <a:gd name="connsiteY25" fmla="*/ 169354 h 242792"/>
                <a:gd name="connsiteX26" fmla="*/ 16193 w 314420"/>
                <a:gd name="connsiteY26" fmla="*/ 176213 h 242792"/>
                <a:gd name="connsiteX27" fmla="*/ 2286 w 314420"/>
                <a:gd name="connsiteY27" fmla="*/ 174403 h 242792"/>
                <a:gd name="connsiteX28" fmla="*/ 1905 w 314420"/>
                <a:gd name="connsiteY28" fmla="*/ 180689 h 242792"/>
                <a:gd name="connsiteX29" fmla="*/ 0 w 314420"/>
                <a:gd name="connsiteY29" fmla="*/ 186023 h 242792"/>
                <a:gd name="connsiteX30" fmla="*/ 5239 w 314420"/>
                <a:gd name="connsiteY30" fmla="*/ 190881 h 242792"/>
                <a:gd name="connsiteX31" fmla="*/ 4858 w 314420"/>
                <a:gd name="connsiteY31" fmla="*/ 195072 h 242792"/>
                <a:gd name="connsiteX32" fmla="*/ 10192 w 314420"/>
                <a:gd name="connsiteY32" fmla="*/ 201644 h 242792"/>
                <a:gd name="connsiteX33" fmla="*/ 17526 w 314420"/>
                <a:gd name="connsiteY33" fmla="*/ 204216 h 242792"/>
                <a:gd name="connsiteX34" fmla="*/ 21527 w 314420"/>
                <a:gd name="connsiteY34" fmla="*/ 209169 h 242792"/>
                <a:gd name="connsiteX35" fmla="*/ 16478 w 314420"/>
                <a:gd name="connsiteY35" fmla="*/ 209836 h 242792"/>
                <a:gd name="connsiteX36" fmla="*/ 16478 w 314420"/>
                <a:gd name="connsiteY36" fmla="*/ 214598 h 242792"/>
                <a:gd name="connsiteX37" fmla="*/ 19812 w 314420"/>
                <a:gd name="connsiteY37" fmla="*/ 215551 h 242792"/>
                <a:gd name="connsiteX38" fmla="*/ 28480 w 314420"/>
                <a:gd name="connsiteY38" fmla="*/ 223552 h 242792"/>
                <a:gd name="connsiteX39" fmla="*/ 32480 w 314420"/>
                <a:gd name="connsiteY39" fmla="*/ 223552 h 242792"/>
                <a:gd name="connsiteX40" fmla="*/ 36385 w 314420"/>
                <a:gd name="connsiteY40" fmla="*/ 220218 h 242792"/>
                <a:gd name="connsiteX41" fmla="*/ 40577 w 314420"/>
                <a:gd name="connsiteY41" fmla="*/ 222599 h 242792"/>
                <a:gd name="connsiteX42" fmla="*/ 41910 w 314420"/>
                <a:gd name="connsiteY42" fmla="*/ 227171 h 242792"/>
                <a:gd name="connsiteX43" fmla="*/ 36481 w 314420"/>
                <a:gd name="connsiteY43" fmla="*/ 229362 h 242792"/>
                <a:gd name="connsiteX44" fmla="*/ 44767 w 314420"/>
                <a:gd name="connsiteY44" fmla="*/ 239935 h 242792"/>
                <a:gd name="connsiteX45" fmla="*/ 47816 w 314420"/>
                <a:gd name="connsiteY45" fmla="*/ 235648 h 242792"/>
                <a:gd name="connsiteX46" fmla="*/ 46673 w 314420"/>
                <a:gd name="connsiteY46" fmla="*/ 230981 h 242792"/>
                <a:gd name="connsiteX47" fmla="*/ 54007 w 314420"/>
                <a:gd name="connsiteY47" fmla="*/ 228219 h 242792"/>
                <a:gd name="connsiteX48" fmla="*/ 61341 w 314420"/>
                <a:gd name="connsiteY48" fmla="*/ 237268 h 242792"/>
                <a:gd name="connsiteX49" fmla="*/ 69342 w 314420"/>
                <a:gd name="connsiteY49" fmla="*/ 242792 h 242792"/>
                <a:gd name="connsiteX50" fmla="*/ 69342 w 314420"/>
                <a:gd name="connsiteY50" fmla="*/ 242792 h 242792"/>
                <a:gd name="connsiteX51" fmla="*/ 71056 w 314420"/>
                <a:gd name="connsiteY51" fmla="*/ 237649 h 242792"/>
                <a:gd name="connsiteX52" fmla="*/ 70294 w 314420"/>
                <a:gd name="connsiteY52" fmla="*/ 224600 h 242792"/>
                <a:gd name="connsiteX53" fmla="*/ 78772 w 314420"/>
                <a:gd name="connsiteY53" fmla="*/ 216694 h 242792"/>
                <a:gd name="connsiteX54" fmla="*/ 79915 w 314420"/>
                <a:gd name="connsiteY54" fmla="*/ 205264 h 242792"/>
                <a:gd name="connsiteX55" fmla="*/ 91535 w 314420"/>
                <a:gd name="connsiteY55" fmla="*/ 198120 h 242792"/>
                <a:gd name="connsiteX56" fmla="*/ 94679 w 314420"/>
                <a:gd name="connsiteY56" fmla="*/ 202883 h 242792"/>
                <a:gd name="connsiteX57" fmla="*/ 101632 w 314420"/>
                <a:gd name="connsiteY57" fmla="*/ 202502 h 242792"/>
                <a:gd name="connsiteX58" fmla="*/ 107442 w 314420"/>
                <a:gd name="connsiteY58" fmla="*/ 196977 h 242792"/>
                <a:gd name="connsiteX59" fmla="*/ 118300 w 314420"/>
                <a:gd name="connsiteY59" fmla="*/ 204502 h 242792"/>
                <a:gd name="connsiteX60" fmla="*/ 122873 w 314420"/>
                <a:gd name="connsiteY60" fmla="*/ 200120 h 242792"/>
                <a:gd name="connsiteX61" fmla="*/ 129826 w 314420"/>
                <a:gd name="connsiteY61" fmla="*/ 206407 h 242792"/>
                <a:gd name="connsiteX62" fmla="*/ 134493 w 314420"/>
                <a:gd name="connsiteY62" fmla="*/ 216313 h 242792"/>
                <a:gd name="connsiteX63" fmla="*/ 141065 w 314420"/>
                <a:gd name="connsiteY63" fmla="*/ 212788 h 242792"/>
                <a:gd name="connsiteX64" fmla="*/ 152305 w 314420"/>
                <a:gd name="connsiteY64" fmla="*/ 208407 h 242792"/>
                <a:gd name="connsiteX65" fmla="*/ 166211 w 314420"/>
                <a:gd name="connsiteY65" fmla="*/ 213551 h 242792"/>
                <a:gd name="connsiteX66" fmla="*/ 170498 w 314420"/>
                <a:gd name="connsiteY66" fmla="*/ 219075 h 242792"/>
                <a:gd name="connsiteX67" fmla="*/ 187928 w 314420"/>
                <a:gd name="connsiteY67" fmla="*/ 220694 h 242792"/>
                <a:gd name="connsiteX68" fmla="*/ 197548 w 314420"/>
                <a:gd name="connsiteY68" fmla="*/ 210407 h 242792"/>
                <a:gd name="connsiteX69" fmla="*/ 223552 w 314420"/>
                <a:gd name="connsiteY69" fmla="*/ 207645 h 242792"/>
                <a:gd name="connsiteX70" fmla="*/ 243650 w 314420"/>
                <a:gd name="connsiteY70" fmla="*/ 215932 h 242792"/>
                <a:gd name="connsiteX71" fmla="*/ 248698 w 314420"/>
                <a:gd name="connsiteY71" fmla="*/ 208026 h 242792"/>
                <a:gd name="connsiteX72" fmla="*/ 257556 w 314420"/>
                <a:gd name="connsiteY72" fmla="*/ 204883 h 242792"/>
                <a:gd name="connsiteX73" fmla="*/ 259842 w 314420"/>
                <a:gd name="connsiteY73" fmla="*/ 199739 h 242792"/>
                <a:gd name="connsiteX74" fmla="*/ 266700 w 314420"/>
                <a:gd name="connsiteY74" fmla="*/ 199739 h 242792"/>
                <a:gd name="connsiteX75" fmla="*/ 263938 w 314420"/>
                <a:gd name="connsiteY75" fmla="*/ 186880 h 242792"/>
                <a:gd name="connsiteX76" fmla="*/ 269939 w 314420"/>
                <a:gd name="connsiteY76" fmla="*/ 184499 h 24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4420" h="242792">
                  <a:moveTo>
                    <a:pt x="269939" y="184499"/>
                  </a:moveTo>
                  <a:lnTo>
                    <a:pt x="269939" y="178118"/>
                  </a:lnTo>
                  <a:lnTo>
                    <a:pt x="282321" y="159734"/>
                  </a:lnTo>
                  <a:lnTo>
                    <a:pt x="304038" y="136684"/>
                  </a:lnTo>
                  <a:lnTo>
                    <a:pt x="308800" y="76105"/>
                  </a:lnTo>
                  <a:lnTo>
                    <a:pt x="314420" y="67437"/>
                  </a:lnTo>
                  <a:lnTo>
                    <a:pt x="305181" y="57531"/>
                  </a:lnTo>
                  <a:lnTo>
                    <a:pt x="306896" y="54007"/>
                  </a:lnTo>
                  <a:lnTo>
                    <a:pt x="298133" y="42386"/>
                  </a:lnTo>
                  <a:lnTo>
                    <a:pt x="298609" y="32099"/>
                  </a:lnTo>
                  <a:lnTo>
                    <a:pt x="294608" y="11525"/>
                  </a:lnTo>
                  <a:lnTo>
                    <a:pt x="294513" y="11430"/>
                  </a:lnTo>
                  <a:lnTo>
                    <a:pt x="279654" y="19717"/>
                  </a:lnTo>
                  <a:lnTo>
                    <a:pt x="265652" y="7429"/>
                  </a:lnTo>
                  <a:lnTo>
                    <a:pt x="233934" y="0"/>
                  </a:lnTo>
                  <a:lnTo>
                    <a:pt x="144971" y="56293"/>
                  </a:lnTo>
                  <a:lnTo>
                    <a:pt x="112395" y="85439"/>
                  </a:lnTo>
                  <a:lnTo>
                    <a:pt x="81534" y="91440"/>
                  </a:lnTo>
                  <a:lnTo>
                    <a:pt x="81248" y="92202"/>
                  </a:lnTo>
                  <a:lnTo>
                    <a:pt x="81248" y="147542"/>
                  </a:lnTo>
                  <a:lnTo>
                    <a:pt x="75343" y="154114"/>
                  </a:lnTo>
                  <a:lnTo>
                    <a:pt x="74771" y="161735"/>
                  </a:lnTo>
                  <a:lnTo>
                    <a:pt x="68104" y="163354"/>
                  </a:lnTo>
                  <a:lnTo>
                    <a:pt x="67818" y="168593"/>
                  </a:lnTo>
                  <a:lnTo>
                    <a:pt x="56960" y="166783"/>
                  </a:lnTo>
                  <a:lnTo>
                    <a:pt x="22955" y="169354"/>
                  </a:lnTo>
                  <a:lnTo>
                    <a:pt x="16193" y="176213"/>
                  </a:lnTo>
                  <a:lnTo>
                    <a:pt x="2286" y="174403"/>
                  </a:lnTo>
                  <a:lnTo>
                    <a:pt x="1905" y="180689"/>
                  </a:lnTo>
                  <a:lnTo>
                    <a:pt x="0" y="186023"/>
                  </a:lnTo>
                  <a:lnTo>
                    <a:pt x="5239" y="190881"/>
                  </a:lnTo>
                  <a:lnTo>
                    <a:pt x="4858" y="195072"/>
                  </a:lnTo>
                  <a:lnTo>
                    <a:pt x="10192" y="201644"/>
                  </a:lnTo>
                  <a:lnTo>
                    <a:pt x="17526" y="204216"/>
                  </a:lnTo>
                  <a:lnTo>
                    <a:pt x="21527" y="209169"/>
                  </a:lnTo>
                  <a:lnTo>
                    <a:pt x="16478" y="209836"/>
                  </a:lnTo>
                  <a:lnTo>
                    <a:pt x="16478" y="214598"/>
                  </a:lnTo>
                  <a:lnTo>
                    <a:pt x="19812" y="215551"/>
                  </a:lnTo>
                  <a:lnTo>
                    <a:pt x="28480" y="223552"/>
                  </a:lnTo>
                  <a:lnTo>
                    <a:pt x="32480" y="223552"/>
                  </a:lnTo>
                  <a:lnTo>
                    <a:pt x="36385" y="220218"/>
                  </a:lnTo>
                  <a:lnTo>
                    <a:pt x="40577" y="222599"/>
                  </a:lnTo>
                  <a:lnTo>
                    <a:pt x="41910" y="227171"/>
                  </a:lnTo>
                  <a:lnTo>
                    <a:pt x="36481" y="229362"/>
                  </a:lnTo>
                  <a:lnTo>
                    <a:pt x="44767" y="239935"/>
                  </a:lnTo>
                  <a:lnTo>
                    <a:pt x="47816" y="235648"/>
                  </a:lnTo>
                  <a:lnTo>
                    <a:pt x="46673" y="230981"/>
                  </a:lnTo>
                  <a:lnTo>
                    <a:pt x="54007" y="228219"/>
                  </a:lnTo>
                  <a:lnTo>
                    <a:pt x="61341" y="237268"/>
                  </a:lnTo>
                  <a:lnTo>
                    <a:pt x="69342" y="242792"/>
                  </a:lnTo>
                  <a:lnTo>
                    <a:pt x="69342" y="242792"/>
                  </a:lnTo>
                  <a:lnTo>
                    <a:pt x="71056" y="237649"/>
                  </a:lnTo>
                  <a:lnTo>
                    <a:pt x="70294" y="224600"/>
                  </a:lnTo>
                  <a:lnTo>
                    <a:pt x="78772" y="216694"/>
                  </a:lnTo>
                  <a:lnTo>
                    <a:pt x="79915" y="205264"/>
                  </a:lnTo>
                  <a:lnTo>
                    <a:pt x="91535" y="198120"/>
                  </a:lnTo>
                  <a:lnTo>
                    <a:pt x="94679" y="202883"/>
                  </a:lnTo>
                  <a:lnTo>
                    <a:pt x="101632" y="202502"/>
                  </a:lnTo>
                  <a:lnTo>
                    <a:pt x="107442" y="196977"/>
                  </a:lnTo>
                  <a:lnTo>
                    <a:pt x="118300" y="204502"/>
                  </a:lnTo>
                  <a:lnTo>
                    <a:pt x="122873" y="200120"/>
                  </a:lnTo>
                  <a:lnTo>
                    <a:pt x="129826" y="206407"/>
                  </a:lnTo>
                  <a:lnTo>
                    <a:pt x="134493" y="216313"/>
                  </a:lnTo>
                  <a:lnTo>
                    <a:pt x="141065" y="212788"/>
                  </a:lnTo>
                  <a:lnTo>
                    <a:pt x="152305" y="208407"/>
                  </a:lnTo>
                  <a:lnTo>
                    <a:pt x="166211" y="213551"/>
                  </a:lnTo>
                  <a:lnTo>
                    <a:pt x="170498" y="219075"/>
                  </a:lnTo>
                  <a:lnTo>
                    <a:pt x="187928" y="220694"/>
                  </a:lnTo>
                  <a:lnTo>
                    <a:pt x="197548" y="210407"/>
                  </a:lnTo>
                  <a:lnTo>
                    <a:pt x="223552" y="207645"/>
                  </a:lnTo>
                  <a:lnTo>
                    <a:pt x="243650" y="215932"/>
                  </a:lnTo>
                  <a:lnTo>
                    <a:pt x="248698" y="208026"/>
                  </a:lnTo>
                  <a:lnTo>
                    <a:pt x="257556" y="204883"/>
                  </a:lnTo>
                  <a:lnTo>
                    <a:pt x="259842" y="199739"/>
                  </a:lnTo>
                  <a:lnTo>
                    <a:pt x="266700" y="199739"/>
                  </a:lnTo>
                  <a:lnTo>
                    <a:pt x="263938" y="186880"/>
                  </a:lnTo>
                  <a:lnTo>
                    <a:pt x="269939" y="18449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3" name="Freeform: Shape 2763">
              <a:extLst>
                <a:ext uri="{FF2B5EF4-FFF2-40B4-BE49-F238E27FC236}">
                  <a16:creationId xmlns:a16="http://schemas.microsoft.com/office/drawing/2014/main" id="{741C8317-9F5C-EC89-4014-90E9EE22534B}"/>
                </a:ext>
              </a:extLst>
            </p:cNvPr>
            <p:cNvSpPr/>
            <p:nvPr/>
          </p:nvSpPr>
          <p:spPr>
            <a:xfrm>
              <a:off x="1977485" y="4948554"/>
              <a:ext cx="267366" cy="251269"/>
            </a:xfrm>
            <a:custGeom>
              <a:avLst/>
              <a:gdLst>
                <a:gd name="connsiteX0" fmla="*/ 183928 w 267366"/>
                <a:gd name="connsiteY0" fmla="*/ 102584 h 251269"/>
                <a:gd name="connsiteX1" fmla="*/ 183928 w 267366"/>
                <a:gd name="connsiteY1" fmla="*/ 31623 h 251269"/>
                <a:gd name="connsiteX2" fmla="*/ 229267 w 267366"/>
                <a:gd name="connsiteY2" fmla="*/ 24194 h 251269"/>
                <a:gd name="connsiteX3" fmla="*/ 235458 w 267366"/>
                <a:gd name="connsiteY3" fmla="*/ 32004 h 251269"/>
                <a:gd name="connsiteX4" fmla="*/ 248984 w 267366"/>
                <a:gd name="connsiteY4" fmla="*/ 20574 h 251269"/>
                <a:gd name="connsiteX5" fmla="*/ 252889 w 267366"/>
                <a:gd name="connsiteY5" fmla="*/ 23717 h 251269"/>
                <a:gd name="connsiteX6" fmla="*/ 257461 w 267366"/>
                <a:gd name="connsiteY6" fmla="*/ 19050 h 251269"/>
                <a:gd name="connsiteX7" fmla="*/ 267367 w 267366"/>
                <a:gd name="connsiteY7" fmla="*/ 17812 h 251269"/>
                <a:gd name="connsiteX8" fmla="*/ 263271 w 267366"/>
                <a:gd name="connsiteY8" fmla="*/ 11144 h 251269"/>
                <a:gd name="connsiteX9" fmla="*/ 245840 w 267366"/>
                <a:gd name="connsiteY9" fmla="*/ 9144 h 251269"/>
                <a:gd name="connsiteX10" fmla="*/ 191262 w 267366"/>
                <a:gd name="connsiteY10" fmla="*/ 20955 h 251269"/>
                <a:gd name="connsiteX11" fmla="*/ 186309 w 267366"/>
                <a:gd name="connsiteY11" fmla="*/ 17431 h 251269"/>
                <a:gd name="connsiteX12" fmla="*/ 176975 w 267366"/>
                <a:gd name="connsiteY12" fmla="*/ 20193 h 251269"/>
                <a:gd name="connsiteX13" fmla="*/ 139065 w 267366"/>
                <a:gd name="connsiteY13" fmla="*/ 15812 h 251269"/>
                <a:gd name="connsiteX14" fmla="*/ 131350 w 267366"/>
                <a:gd name="connsiteY14" fmla="*/ 9525 h 251269"/>
                <a:gd name="connsiteX15" fmla="*/ 45053 w 267366"/>
                <a:gd name="connsiteY15" fmla="*/ 9525 h 251269"/>
                <a:gd name="connsiteX16" fmla="*/ 31909 w 267366"/>
                <a:gd name="connsiteY16" fmla="*/ 0 h 251269"/>
                <a:gd name="connsiteX17" fmla="*/ 22193 w 267366"/>
                <a:gd name="connsiteY17" fmla="*/ 0 h 251269"/>
                <a:gd name="connsiteX18" fmla="*/ 14097 w 267366"/>
                <a:gd name="connsiteY18" fmla="*/ 5525 h 251269"/>
                <a:gd name="connsiteX19" fmla="*/ 5525 w 267366"/>
                <a:gd name="connsiteY19" fmla="*/ 2762 h 251269"/>
                <a:gd name="connsiteX20" fmla="*/ 0 w 267366"/>
                <a:gd name="connsiteY20" fmla="*/ 5525 h 251269"/>
                <a:gd name="connsiteX21" fmla="*/ 0 w 267366"/>
                <a:gd name="connsiteY21" fmla="*/ 5620 h 251269"/>
                <a:gd name="connsiteX22" fmla="*/ 476 w 267366"/>
                <a:gd name="connsiteY22" fmla="*/ 22288 h 251269"/>
                <a:gd name="connsiteX23" fmla="*/ 27908 w 267366"/>
                <a:gd name="connsiteY23" fmla="*/ 65151 h 251269"/>
                <a:gd name="connsiteX24" fmla="*/ 32194 w 267366"/>
                <a:gd name="connsiteY24" fmla="*/ 79248 h 251269"/>
                <a:gd name="connsiteX25" fmla="*/ 51625 w 267366"/>
                <a:gd name="connsiteY25" fmla="*/ 109347 h 251269"/>
                <a:gd name="connsiteX26" fmla="*/ 54673 w 267366"/>
                <a:gd name="connsiteY26" fmla="*/ 117729 h 251269"/>
                <a:gd name="connsiteX27" fmla="*/ 52959 w 267366"/>
                <a:gd name="connsiteY27" fmla="*/ 127254 h 251269"/>
                <a:gd name="connsiteX28" fmla="*/ 53340 w 267366"/>
                <a:gd name="connsiteY28" fmla="*/ 148209 h 251269"/>
                <a:gd name="connsiteX29" fmla="*/ 60865 w 267366"/>
                <a:gd name="connsiteY29" fmla="*/ 167545 h 251269"/>
                <a:gd name="connsiteX30" fmla="*/ 60579 w 267366"/>
                <a:gd name="connsiteY30" fmla="*/ 182213 h 251269"/>
                <a:gd name="connsiteX31" fmla="*/ 69818 w 267366"/>
                <a:gd name="connsiteY31" fmla="*/ 215170 h 251269"/>
                <a:gd name="connsiteX32" fmla="*/ 78772 w 267366"/>
                <a:gd name="connsiteY32" fmla="*/ 230219 h 251269"/>
                <a:gd name="connsiteX33" fmla="*/ 93250 w 267366"/>
                <a:gd name="connsiteY33" fmla="*/ 241840 h 251269"/>
                <a:gd name="connsiteX34" fmla="*/ 93917 w 267366"/>
                <a:gd name="connsiteY34" fmla="*/ 242888 h 251269"/>
                <a:gd name="connsiteX35" fmla="*/ 94012 w 267366"/>
                <a:gd name="connsiteY35" fmla="*/ 242888 h 251269"/>
                <a:gd name="connsiteX36" fmla="*/ 99631 w 267366"/>
                <a:gd name="connsiteY36" fmla="*/ 240602 h 251269"/>
                <a:gd name="connsiteX37" fmla="*/ 98869 w 267366"/>
                <a:gd name="connsiteY37" fmla="*/ 232791 h 251269"/>
                <a:gd name="connsiteX38" fmla="*/ 105823 w 267366"/>
                <a:gd name="connsiteY38" fmla="*/ 229553 h 251269"/>
                <a:gd name="connsiteX39" fmla="*/ 112014 w 267366"/>
                <a:gd name="connsiteY39" fmla="*/ 235649 h 251269"/>
                <a:gd name="connsiteX40" fmla="*/ 109252 w 267366"/>
                <a:gd name="connsiteY40" fmla="*/ 243459 h 251269"/>
                <a:gd name="connsiteX41" fmla="*/ 126302 w 267366"/>
                <a:gd name="connsiteY41" fmla="*/ 249650 h 251269"/>
                <a:gd name="connsiteX42" fmla="*/ 136779 w 267366"/>
                <a:gd name="connsiteY42" fmla="*/ 246412 h 251269"/>
                <a:gd name="connsiteX43" fmla="*/ 147923 w 267366"/>
                <a:gd name="connsiteY43" fmla="*/ 251270 h 251269"/>
                <a:gd name="connsiteX44" fmla="*/ 151829 w 267366"/>
                <a:gd name="connsiteY44" fmla="*/ 240983 h 251269"/>
                <a:gd name="connsiteX45" fmla="*/ 161925 w 267366"/>
                <a:gd name="connsiteY45" fmla="*/ 238125 h 251269"/>
                <a:gd name="connsiteX46" fmla="*/ 161925 w 267366"/>
                <a:gd name="connsiteY46" fmla="*/ 160592 h 251269"/>
                <a:gd name="connsiteX47" fmla="*/ 161925 w 267366"/>
                <a:gd name="connsiteY47" fmla="*/ 102584 h 251269"/>
                <a:gd name="connsiteX48" fmla="*/ 183928 w 267366"/>
                <a:gd name="connsiteY48" fmla="*/ 102584 h 25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67366" h="251269">
                  <a:moveTo>
                    <a:pt x="183928" y="102584"/>
                  </a:moveTo>
                  <a:lnTo>
                    <a:pt x="183928" y="31623"/>
                  </a:lnTo>
                  <a:lnTo>
                    <a:pt x="229267" y="24194"/>
                  </a:lnTo>
                  <a:lnTo>
                    <a:pt x="235458" y="32004"/>
                  </a:lnTo>
                  <a:lnTo>
                    <a:pt x="248984" y="20574"/>
                  </a:lnTo>
                  <a:lnTo>
                    <a:pt x="252889" y="23717"/>
                  </a:lnTo>
                  <a:lnTo>
                    <a:pt x="257461" y="19050"/>
                  </a:lnTo>
                  <a:lnTo>
                    <a:pt x="267367" y="17812"/>
                  </a:lnTo>
                  <a:lnTo>
                    <a:pt x="263271" y="11144"/>
                  </a:lnTo>
                  <a:lnTo>
                    <a:pt x="245840" y="9144"/>
                  </a:lnTo>
                  <a:lnTo>
                    <a:pt x="191262" y="20955"/>
                  </a:lnTo>
                  <a:lnTo>
                    <a:pt x="186309" y="17431"/>
                  </a:lnTo>
                  <a:lnTo>
                    <a:pt x="176975" y="20193"/>
                  </a:lnTo>
                  <a:lnTo>
                    <a:pt x="139065" y="15812"/>
                  </a:lnTo>
                  <a:lnTo>
                    <a:pt x="131350" y="9525"/>
                  </a:lnTo>
                  <a:lnTo>
                    <a:pt x="45053" y="9525"/>
                  </a:lnTo>
                  <a:lnTo>
                    <a:pt x="31909" y="0"/>
                  </a:lnTo>
                  <a:lnTo>
                    <a:pt x="22193" y="0"/>
                  </a:lnTo>
                  <a:lnTo>
                    <a:pt x="14097" y="5525"/>
                  </a:lnTo>
                  <a:lnTo>
                    <a:pt x="5525" y="2762"/>
                  </a:lnTo>
                  <a:lnTo>
                    <a:pt x="0" y="5525"/>
                  </a:lnTo>
                  <a:lnTo>
                    <a:pt x="0" y="5620"/>
                  </a:lnTo>
                  <a:lnTo>
                    <a:pt x="476" y="22288"/>
                  </a:lnTo>
                  <a:lnTo>
                    <a:pt x="27908" y="65151"/>
                  </a:lnTo>
                  <a:lnTo>
                    <a:pt x="32194" y="79248"/>
                  </a:lnTo>
                  <a:lnTo>
                    <a:pt x="51625" y="109347"/>
                  </a:lnTo>
                  <a:lnTo>
                    <a:pt x="54673" y="117729"/>
                  </a:lnTo>
                  <a:lnTo>
                    <a:pt x="52959" y="127254"/>
                  </a:lnTo>
                  <a:lnTo>
                    <a:pt x="53340" y="148209"/>
                  </a:lnTo>
                  <a:lnTo>
                    <a:pt x="60865" y="167545"/>
                  </a:lnTo>
                  <a:lnTo>
                    <a:pt x="60579" y="182213"/>
                  </a:lnTo>
                  <a:lnTo>
                    <a:pt x="69818" y="215170"/>
                  </a:lnTo>
                  <a:lnTo>
                    <a:pt x="78772" y="230219"/>
                  </a:lnTo>
                  <a:lnTo>
                    <a:pt x="93250" y="241840"/>
                  </a:lnTo>
                  <a:lnTo>
                    <a:pt x="93917" y="242888"/>
                  </a:lnTo>
                  <a:lnTo>
                    <a:pt x="94012" y="242888"/>
                  </a:lnTo>
                  <a:lnTo>
                    <a:pt x="99631" y="240602"/>
                  </a:lnTo>
                  <a:lnTo>
                    <a:pt x="98869" y="232791"/>
                  </a:lnTo>
                  <a:lnTo>
                    <a:pt x="105823" y="229553"/>
                  </a:lnTo>
                  <a:lnTo>
                    <a:pt x="112014" y="235649"/>
                  </a:lnTo>
                  <a:lnTo>
                    <a:pt x="109252" y="243459"/>
                  </a:lnTo>
                  <a:lnTo>
                    <a:pt x="126302" y="249650"/>
                  </a:lnTo>
                  <a:lnTo>
                    <a:pt x="136779" y="246412"/>
                  </a:lnTo>
                  <a:lnTo>
                    <a:pt x="147923" y="251270"/>
                  </a:lnTo>
                  <a:lnTo>
                    <a:pt x="151829" y="240983"/>
                  </a:lnTo>
                  <a:lnTo>
                    <a:pt x="161925" y="238125"/>
                  </a:lnTo>
                  <a:lnTo>
                    <a:pt x="161925" y="160592"/>
                  </a:lnTo>
                  <a:lnTo>
                    <a:pt x="161925" y="102584"/>
                  </a:lnTo>
                  <a:lnTo>
                    <a:pt x="183928" y="10258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4" name="Freeform: Shape 2764">
              <a:extLst>
                <a:ext uri="{FF2B5EF4-FFF2-40B4-BE49-F238E27FC236}">
                  <a16:creationId xmlns:a16="http://schemas.microsoft.com/office/drawing/2014/main" id="{E98114D0-46A3-6813-0B56-A1BED1B58E44}"/>
                </a:ext>
              </a:extLst>
            </p:cNvPr>
            <p:cNvSpPr/>
            <p:nvPr/>
          </p:nvSpPr>
          <p:spPr>
            <a:xfrm>
              <a:off x="2342387" y="4818062"/>
              <a:ext cx="211169" cy="335946"/>
            </a:xfrm>
            <a:custGeom>
              <a:avLst/>
              <a:gdLst>
                <a:gd name="connsiteX0" fmla="*/ 210121 w 211169"/>
                <a:gd name="connsiteY0" fmla="*/ 78296 h 335946"/>
                <a:gd name="connsiteX1" fmla="*/ 206788 w 211169"/>
                <a:gd name="connsiteY1" fmla="*/ 81629 h 335946"/>
                <a:gd name="connsiteX2" fmla="*/ 206121 w 211169"/>
                <a:gd name="connsiteY2" fmla="*/ 49530 h 335946"/>
                <a:gd name="connsiteX3" fmla="*/ 201740 w 211169"/>
                <a:gd name="connsiteY3" fmla="*/ 47911 h 335946"/>
                <a:gd name="connsiteX4" fmla="*/ 207169 w 211169"/>
                <a:gd name="connsiteY4" fmla="*/ 45148 h 335946"/>
                <a:gd name="connsiteX5" fmla="*/ 201168 w 211169"/>
                <a:gd name="connsiteY5" fmla="*/ 15812 h 335946"/>
                <a:gd name="connsiteX6" fmla="*/ 207169 w 211169"/>
                <a:gd name="connsiteY6" fmla="*/ 2953 h 335946"/>
                <a:gd name="connsiteX7" fmla="*/ 202692 w 211169"/>
                <a:gd name="connsiteY7" fmla="*/ 0 h 335946"/>
                <a:gd name="connsiteX8" fmla="*/ 179737 w 211169"/>
                <a:gd name="connsiteY8" fmla="*/ 12668 h 335946"/>
                <a:gd name="connsiteX9" fmla="*/ 171545 w 211169"/>
                <a:gd name="connsiteY9" fmla="*/ 12668 h 335946"/>
                <a:gd name="connsiteX10" fmla="*/ 164973 w 211169"/>
                <a:gd name="connsiteY10" fmla="*/ 18193 h 335946"/>
                <a:gd name="connsiteX11" fmla="*/ 157639 w 211169"/>
                <a:gd name="connsiteY11" fmla="*/ 12668 h 335946"/>
                <a:gd name="connsiteX12" fmla="*/ 151448 w 211169"/>
                <a:gd name="connsiteY12" fmla="*/ 15049 h 335946"/>
                <a:gd name="connsiteX13" fmla="*/ 150686 w 211169"/>
                <a:gd name="connsiteY13" fmla="*/ 20955 h 335946"/>
                <a:gd name="connsiteX14" fmla="*/ 143732 w 211169"/>
                <a:gd name="connsiteY14" fmla="*/ 24193 h 335946"/>
                <a:gd name="connsiteX15" fmla="*/ 134017 w 211169"/>
                <a:gd name="connsiteY15" fmla="*/ 18193 h 335946"/>
                <a:gd name="connsiteX16" fmla="*/ 126683 w 211169"/>
                <a:gd name="connsiteY16" fmla="*/ 24574 h 335946"/>
                <a:gd name="connsiteX17" fmla="*/ 119729 w 211169"/>
                <a:gd name="connsiteY17" fmla="*/ 24193 h 335946"/>
                <a:gd name="connsiteX18" fmla="*/ 112776 w 211169"/>
                <a:gd name="connsiteY18" fmla="*/ 16288 h 335946"/>
                <a:gd name="connsiteX19" fmla="*/ 106204 w 211169"/>
                <a:gd name="connsiteY19" fmla="*/ 20955 h 335946"/>
                <a:gd name="connsiteX20" fmla="*/ 95726 w 211169"/>
                <a:gd name="connsiteY20" fmla="*/ 21431 h 335946"/>
                <a:gd name="connsiteX21" fmla="*/ 90297 w 211169"/>
                <a:gd name="connsiteY21" fmla="*/ 34004 h 335946"/>
                <a:gd name="connsiteX22" fmla="*/ 92583 w 211169"/>
                <a:gd name="connsiteY22" fmla="*/ 61722 h 335946"/>
                <a:gd name="connsiteX23" fmla="*/ 98488 w 211169"/>
                <a:gd name="connsiteY23" fmla="*/ 67818 h 335946"/>
                <a:gd name="connsiteX24" fmla="*/ 98584 w 211169"/>
                <a:gd name="connsiteY24" fmla="*/ 67818 h 335946"/>
                <a:gd name="connsiteX25" fmla="*/ 103727 w 211169"/>
                <a:gd name="connsiteY25" fmla="*/ 67532 h 335946"/>
                <a:gd name="connsiteX26" fmla="*/ 114300 w 211169"/>
                <a:gd name="connsiteY26" fmla="*/ 82772 h 335946"/>
                <a:gd name="connsiteX27" fmla="*/ 110680 w 211169"/>
                <a:gd name="connsiteY27" fmla="*/ 94679 h 335946"/>
                <a:gd name="connsiteX28" fmla="*/ 113538 w 211169"/>
                <a:gd name="connsiteY28" fmla="*/ 99917 h 335946"/>
                <a:gd name="connsiteX29" fmla="*/ 112014 w 211169"/>
                <a:gd name="connsiteY29" fmla="*/ 111538 h 335946"/>
                <a:gd name="connsiteX30" fmla="*/ 103442 w 211169"/>
                <a:gd name="connsiteY30" fmla="*/ 112871 h 335946"/>
                <a:gd name="connsiteX31" fmla="*/ 100108 w 211169"/>
                <a:gd name="connsiteY31" fmla="*/ 121063 h 335946"/>
                <a:gd name="connsiteX32" fmla="*/ 103442 w 211169"/>
                <a:gd name="connsiteY32" fmla="*/ 124968 h 335946"/>
                <a:gd name="connsiteX33" fmla="*/ 101441 w 211169"/>
                <a:gd name="connsiteY33" fmla="*/ 134207 h 335946"/>
                <a:gd name="connsiteX34" fmla="*/ 94679 w 211169"/>
                <a:gd name="connsiteY34" fmla="*/ 133921 h 335946"/>
                <a:gd name="connsiteX35" fmla="*/ 96203 w 211169"/>
                <a:gd name="connsiteY35" fmla="*/ 127635 h 335946"/>
                <a:gd name="connsiteX36" fmla="*/ 86678 w 211169"/>
                <a:gd name="connsiteY36" fmla="*/ 118396 h 335946"/>
                <a:gd name="connsiteX37" fmla="*/ 84677 w 211169"/>
                <a:gd name="connsiteY37" fmla="*/ 112586 h 335946"/>
                <a:gd name="connsiteX38" fmla="*/ 79724 w 211169"/>
                <a:gd name="connsiteY38" fmla="*/ 107347 h 335946"/>
                <a:gd name="connsiteX39" fmla="*/ 87249 w 211169"/>
                <a:gd name="connsiteY39" fmla="*/ 96774 h 335946"/>
                <a:gd name="connsiteX40" fmla="*/ 86678 w 211169"/>
                <a:gd name="connsiteY40" fmla="*/ 85439 h 335946"/>
                <a:gd name="connsiteX41" fmla="*/ 80486 w 211169"/>
                <a:gd name="connsiteY41" fmla="*/ 79153 h 335946"/>
                <a:gd name="connsiteX42" fmla="*/ 68866 w 211169"/>
                <a:gd name="connsiteY42" fmla="*/ 82010 h 335946"/>
                <a:gd name="connsiteX43" fmla="*/ 60388 w 211169"/>
                <a:gd name="connsiteY43" fmla="*/ 70199 h 335946"/>
                <a:gd name="connsiteX44" fmla="*/ 56674 w 211169"/>
                <a:gd name="connsiteY44" fmla="*/ 71438 h 335946"/>
                <a:gd name="connsiteX45" fmla="*/ 21908 w 211169"/>
                <a:gd name="connsiteY45" fmla="*/ 83629 h 335946"/>
                <a:gd name="connsiteX46" fmla="*/ 0 w 211169"/>
                <a:gd name="connsiteY46" fmla="*/ 90202 h 335946"/>
                <a:gd name="connsiteX47" fmla="*/ 4381 w 211169"/>
                <a:gd name="connsiteY47" fmla="*/ 103632 h 335946"/>
                <a:gd name="connsiteX48" fmla="*/ 4667 w 211169"/>
                <a:gd name="connsiteY48" fmla="*/ 110776 h 335946"/>
                <a:gd name="connsiteX49" fmla="*/ 21146 w 211169"/>
                <a:gd name="connsiteY49" fmla="*/ 111252 h 335946"/>
                <a:gd name="connsiteX50" fmla="*/ 24289 w 211169"/>
                <a:gd name="connsiteY50" fmla="*/ 114681 h 335946"/>
                <a:gd name="connsiteX51" fmla="*/ 30766 w 211169"/>
                <a:gd name="connsiteY51" fmla="*/ 114967 h 335946"/>
                <a:gd name="connsiteX52" fmla="*/ 34862 w 211169"/>
                <a:gd name="connsiteY52" fmla="*/ 120205 h 335946"/>
                <a:gd name="connsiteX53" fmla="*/ 41053 w 211169"/>
                <a:gd name="connsiteY53" fmla="*/ 118396 h 335946"/>
                <a:gd name="connsiteX54" fmla="*/ 49530 w 211169"/>
                <a:gd name="connsiteY54" fmla="*/ 122111 h 335946"/>
                <a:gd name="connsiteX55" fmla="*/ 50292 w 211169"/>
                <a:gd name="connsiteY55" fmla="*/ 124682 h 335946"/>
                <a:gd name="connsiteX56" fmla="*/ 57055 w 211169"/>
                <a:gd name="connsiteY56" fmla="*/ 124968 h 335946"/>
                <a:gd name="connsiteX57" fmla="*/ 52864 w 211169"/>
                <a:gd name="connsiteY57" fmla="*/ 130302 h 335946"/>
                <a:gd name="connsiteX58" fmla="*/ 56293 w 211169"/>
                <a:gd name="connsiteY58" fmla="*/ 137350 h 335946"/>
                <a:gd name="connsiteX59" fmla="*/ 54483 w 211169"/>
                <a:gd name="connsiteY59" fmla="*/ 141065 h 335946"/>
                <a:gd name="connsiteX60" fmla="*/ 57055 w 211169"/>
                <a:gd name="connsiteY60" fmla="*/ 144018 h 335946"/>
                <a:gd name="connsiteX61" fmla="*/ 54959 w 211169"/>
                <a:gd name="connsiteY61" fmla="*/ 155067 h 335946"/>
                <a:gd name="connsiteX62" fmla="*/ 57341 w 211169"/>
                <a:gd name="connsiteY62" fmla="*/ 160020 h 335946"/>
                <a:gd name="connsiteX63" fmla="*/ 52864 w 211169"/>
                <a:gd name="connsiteY63" fmla="*/ 161925 h 335946"/>
                <a:gd name="connsiteX64" fmla="*/ 54959 w 211169"/>
                <a:gd name="connsiteY64" fmla="*/ 166592 h 335946"/>
                <a:gd name="connsiteX65" fmla="*/ 49340 w 211169"/>
                <a:gd name="connsiteY65" fmla="*/ 167164 h 335946"/>
                <a:gd name="connsiteX66" fmla="*/ 49340 w 211169"/>
                <a:gd name="connsiteY66" fmla="*/ 171640 h 335946"/>
                <a:gd name="connsiteX67" fmla="*/ 53435 w 211169"/>
                <a:gd name="connsiteY67" fmla="*/ 173260 h 335946"/>
                <a:gd name="connsiteX68" fmla="*/ 51340 w 211169"/>
                <a:gd name="connsiteY68" fmla="*/ 182213 h 335946"/>
                <a:gd name="connsiteX69" fmla="*/ 56483 w 211169"/>
                <a:gd name="connsiteY69" fmla="*/ 186690 h 335946"/>
                <a:gd name="connsiteX70" fmla="*/ 56483 w 211169"/>
                <a:gd name="connsiteY70" fmla="*/ 191929 h 335946"/>
                <a:gd name="connsiteX71" fmla="*/ 49816 w 211169"/>
                <a:gd name="connsiteY71" fmla="*/ 203073 h 335946"/>
                <a:gd name="connsiteX72" fmla="*/ 44672 w 211169"/>
                <a:gd name="connsiteY72" fmla="*/ 203073 h 335946"/>
                <a:gd name="connsiteX73" fmla="*/ 45910 w 211169"/>
                <a:gd name="connsiteY73" fmla="*/ 211074 h 335946"/>
                <a:gd name="connsiteX74" fmla="*/ 42577 w 211169"/>
                <a:gd name="connsiteY74" fmla="*/ 215170 h 335946"/>
                <a:gd name="connsiteX75" fmla="*/ 44387 w 211169"/>
                <a:gd name="connsiteY75" fmla="*/ 219837 h 335946"/>
                <a:gd name="connsiteX76" fmla="*/ 21241 w 211169"/>
                <a:gd name="connsiteY76" fmla="*/ 243554 h 335946"/>
                <a:gd name="connsiteX77" fmla="*/ 23146 w 211169"/>
                <a:gd name="connsiteY77" fmla="*/ 245650 h 335946"/>
                <a:gd name="connsiteX78" fmla="*/ 27527 w 211169"/>
                <a:gd name="connsiteY78" fmla="*/ 257461 h 335946"/>
                <a:gd name="connsiteX79" fmla="*/ 26765 w 211169"/>
                <a:gd name="connsiteY79" fmla="*/ 265176 h 335946"/>
                <a:gd name="connsiteX80" fmla="*/ 36767 w 211169"/>
                <a:gd name="connsiteY80" fmla="*/ 285940 h 335946"/>
                <a:gd name="connsiteX81" fmla="*/ 36767 w 211169"/>
                <a:gd name="connsiteY81" fmla="*/ 308038 h 335946"/>
                <a:gd name="connsiteX82" fmla="*/ 32099 w 211169"/>
                <a:gd name="connsiteY82" fmla="*/ 318135 h 335946"/>
                <a:gd name="connsiteX83" fmla="*/ 37148 w 211169"/>
                <a:gd name="connsiteY83" fmla="*/ 317087 h 335946"/>
                <a:gd name="connsiteX84" fmla="*/ 38100 w 211169"/>
                <a:gd name="connsiteY84" fmla="*/ 322231 h 335946"/>
                <a:gd name="connsiteX85" fmla="*/ 36481 w 211169"/>
                <a:gd name="connsiteY85" fmla="*/ 324707 h 335946"/>
                <a:gd name="connsiteX86" fmla="*/ 38672 w 211169"/>
                <a:gd name="connsiteY86" fmla="*/ 328613 h 335946"/>
                <a:gd name="connsiteX87" fmla="*/ 38672 w 211169"/>
                <a:gd name="connsiteY87" fmla="*/ 335756 h 335946"/>
                <a:gd name="connsiteX88" fmla="*/ 52292 w 211169"/>
                <a:gd name="connsiteY88" fmla="*/ 335947 h 335946"/>
                <a:gd name="connsiteX89" fmla="*/ 52006 w 211169"/>
                <a:gd name="connsiteY89" fmla="*/ 309563 h 335946"/>
                <a:gd name="connsiteX90" fmla="*/ 59912 w 211169"/>
                <a:gd name="connsiteY90" fmla="*/ 303276 h 335946"/>
                <a:gd name="connsiteX91" fmla="*/ 96203 w 211169"/>
                <a:gd name="connsiteY91" fmla="*/ 289274 h 335946"/>
                <a:gd name="connsiteX92" fmla="*/ 105156 w 211169"/>
                <a:gd name="connsiteY92" fmla="*/ 278035 h 335946"/>
                <a:gd name="connsiteX93" fmla="*/ 104775 w 211169"/>
                <a:gd name="connsiteY93" fmla="*/ 248221 h 335946"/>
                <a:gd name="connsiteX94" fmla="*/ 106394 w 211169"/>
                <a:gd name="connsiteY94" fmla="*/ 238887 h 335946"/>
                <a:gd name="connsiteX95" fmla="*/ 102013 w 211169"/>
                <a:gd name="connsiteY95" fmla="*/ 242411 h 335946"/>
                <a:gd name="connsiteX96" fmla="*/ 97536 w 211169"/>
                <a:gd name="connsiteY96" fmla="*/ 211455 h 335946"/>
                <a:gd name="connsiteX97" fmla="*/ 88583 w 211169"/>
                <a:gd name="connsiteY97" fmla="*/ 203073 h 335946"/>
                <a:gd name="connsiteX98" fmla="*/ 91821 w 211169"/>
                <a:gd name="connsiteY98" fmla="*/ 191453 h 335946"/>
                <a:gd name="connsiteX99" fmla="*/ 86678 w 211169"/>
                <a:gd name="connsiteY99" fmla="*/ 183832 h 335946"/>
                <a:gd name="connsiteX100" fmla="*/ 122968 w 211169"/>
                <a:gd name="connsiteY100" fmla="*/ 167354 h 335946"/>
                <a:gd name="connsiteX101" fmla="*/ 131540 w 211169"/>
                <a:gd name="connsiteY101" fmla="*/ 148780 h 335946"/>
                <a:gd name="connsiteX102" fmla="*/ 156305 w 211169"/>
                <a:gd name="connsiteY102" fmla="*/ 134588 h 335946"/>
                <a:gd name="connsiteX103" fmla="*/ 176117 w 211169"/>
                <a:gd name="connsiteY103" fmla="*/ 130873 h 335946"/>
                <a:gd name="connsiteX104" fmla="*/ 191262 w 211169"/>
                <a:gd name="connsiteY104" fmla="*/ 119443 h 335946"/>
                <a:gd name="connsiteX105" fmla="*/ 211169 w 211169"/>
                <a:gd name="connsiteY105" fmla="*/ 84296 h 335946"/>
                <a:gd name="connsiteX106" fmla="*/ 210121 w 211169"/>
                <a:gd name="connsiteY106" fmla="*/ 78296 h 33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11169" h="335946">
                  <a:moveTo>
                    <a:pt x="210121" y="78296"/>
                  </a:moveTo>
                  <a:lnTo>
                    <a:pt x="206788" y="81629"/>
                  </a:lnTo>
                  <a:lnTo>
                    <a:pt x="206121" y="49530"/>
                  </a:lnTo>
                  <a:lnTo>
                    <a:pt x="201740" y="47911"/>
                  </a:lnTo>
                  <a:lnTo>
                    <a:pt x="207169" y="45148"/>
                  </a:lnTo>
                  <a:lnTo>
                    <a:pt x="201168" y="15812"/>
                  </a:lnTo>
                  <a:lnTo>
                    <a:pt x="207169" y="2953"/>
                  </a:lnTo>
                  <a:lnTo>
                    <a:pt x="202692" y="0"/>
                  </a:lnTo>
                  <a:lnTo>
                    <a:pt x="179737" y="12668"/>
                  </a:lnTo>
                  <a:lnTo>
                    <a:pt x="171545" y="12668"/>
                  </a:lnTo>
                  <a:lnTo>
                    <a:pt x="164973" y="18193"/>
                  </a:lnTo>
                  <a:lnTo>
                    <a:pt x="157639" y="12668"/>
                  </a:lnTo>
                  <a:lnTo>
                    <a:pt x="151448" y="15049"/>
                  </a:lnTo>
                  <a:lnTo>
                    <a:pt x="150686" y="20955"/>
                  </a:lnTo>
                  <a:lnTo>
                    <a:pt x="143732" y="24193"/>
                  </a:lnTo>
                  <a:lnTo>
                    <a:pt x="134017" y="18193"/>
                  </a:lnTo>
                  <a:lnTo>
                    <a:pt x="126683" y="24574"/>
                  </a:lnTo>
                  <a:lnTo>
                    <a:pt x="119729" y="24193"/>
                  </a:lnTo>
                  <a:lnTo>
                    <a:pt x="112776" y="16288"/>
                  </a:lnTo>
                  <a:lnTo>
                    <a:pt x="106204" y="20955"/>
                  </a:lnTo>
                  <a:lnTo>
                    <a:pt x="95726" y="21431"/>
                  </a:lnTo>
                  <a:lnTo>
                    <a:pt x="90297" y="34004"/>
                  </a:lnTo>
                  <a:lnTo>
                    <a:pt x="92583" y="61722"/>
                  </a:lnTo>
                  <a:lnTo>
                    <a:pt x="98488" y="67818"/>
                  </a:lnTo>
                  <a:lnTo>
                    <a:pt x="98584" y="67818"/>
                  </a:lnTo>
                  <a:lnTo>
                    <a:pt x="103727" y="67532"/>
                  </a:lnTo>
                  <a:lnTo>
                    <a:pt x="114300" y="82772"/>
                  </a:lnTo>
                  <a:lnTo>
                    <a:pt x="110680" y="94679"/>
                  </a:lnTo>
                  <a:lnTo>
                    <a:pt x="113538" y="99917"/>
                  </a:lnTo>
                  <a:lnTo>
                    <a:pt x="112014" y="111538"/>
                  </a:lnTo>
                  <a:lnTo>
                    <a:pt x="103442" y="112871"/>
                  </a:lnTo>
                  <a:lnTo>
                    <a:pt x="100108" y="121063"/>
                  </a:lnTo>
                  <a:lnTo>
                    <a:pt x="103442" y="124968"/>
                  </a:lnTo>
                  <a:lnTo>
                    <a:pt x="101441" y="134207"/>
                  </a:lnTo>
                  <a:lnTo>
                    <a:pt x="94679" y="133921"/>
                  </a:lnTo>
                  <a:lnTo>
                    <a:pt x="96203" y="127635"/>
                  </a:lnTo>
                  <a:lnTo>
                    <a:pt x="86678" y="118396"/>
                  </a:lnTo>
                  <a:lnTo>
                    <a:pt x="84677" y="112586"/>
                  </a:lnTo>
                  <a:lnTo>
                    <a:pt x="79724" y="107347"/>
                  </a:lnTo>
                  <a:lnTo>
                    <a:pt x="87249" y="96774"/>
                  </a:lnTo>
                  <a:lnTo>
                    <a:pt x="86678" y="85439"/>
                  </a:lnTo>
                  <a:lnTo>
                    <a:pt x="80486" y="79153"/>
                  </a:lnTo>
                  <a:lnTo>
                    <a:pt x="68866" y="82010"/>
                  </a:lnTo>
                  <a:lnTo>
                    <a:pt x="60388" y="70199"/>
                  </a:lnTo>
                  <a:lnTo>
                    <a:pt x="56674" y="71438"/>
                  </a:lnTo>
                  <a:lnTo>
                    <a:pt x="21908" y="83629"/>
                  </a:lnTo>
                  <a:lnTo>
                    <a:pt x="0" y="90202"/>
                  </a:lnTo>
                  <a:lnTo>
                    <a:pt x="4381" y="103632"/>
                  </a:lnTo>
                  <a:lnTo>
                    <a:pt x="4667" y="110776"/>
                  </a:lnTo>
                  <a:lnTo>
                    <a:pt x="21146" y="111252"/>
                  </a:lnTo>
                  <a:lnTo>
                    <a:pt x="24289" y="114681"/>
                  </a:lnTo>
                  <a:lnTo>
                    <a:pt x="30766" y="114967"/>
                  </a:lnTo>
                  <a:lnTo>
                    <a:pt x="34862" y="120205"/>
                  </a:lnTo>
                  <a:lnTo>
                    <a:pt x="41053" y="118396"/>
                  </a:lnTo>
                  <a:lnTo>
                    <a:pt x="49530" y="122111"/>
                  </a:lnTo>
                  <a:lnTo>
                    <a:pt x="50292" y="124682"/>
                  </a:lnTo>
                  <a:lnTo>
                    <a:pt x="57055" y="124968"/>
                  </a:lnTo>
                  <a:lnTo>
                    <a:pt x="52864" y="130302"/>
                  </a:lnTo>
                  <a:lnTo>
                    <a:pt x="56293" y="137350"/>
                  </a:lnTo>
                  <a:lnTo>
                    <a:pt x="54483" y="141065"/>
                  </a:lnTo>
                  <a:lnTo>
                    <a:pt x="57055" y="144018"/>
                  </a:lnTo>
                  <a:lnTo>
                    <a:pt x="54959" y="155067"/>
                  </a:lnTo>
                  <a:lnTo>
                    <a:pt x="57341" y="160020"/>
                  </a:lnTo>
                  <a:lnTo>
                    <a:pt x="52864" y="161925"/>
                  </a:lnTo>
                  <a:lnTo>
                    <a:pt x="54959" y="166592"/>
                  </a:lnTo>
                  <a:lnTo>
                    <a:pt x="49340" y="167164"/>
                  </a:lnTo>
                  <a:lnTo>
                    <a:pt x="49340" y="171640"/>
                  </a:lnTo>
                  <a:lnTo>
                    <a:pt x="53435" y="173260"/>
                  </a:lnTo>
                  <a:lnTo>
                    <a:pt x="51340" y="182213"/>
                  </a:lnTo>
                  <a:lnTo>
                    <a:pt x="56483" y="186690"/>
                  </a:lnTo>
                  <a:lnTo>
                    <a:pt x="56483" y="191929"/>
                  </a:lnTo>
                  <a:lnTo>
                    <a:pt x="49816" y="203073"/>
                  </a:lnTo>
                  <a:lnTo>
                    <a:pt x="44672" y="203073"/>
                  </a:lnTo>
                  <a:lnTo>
                    <a:pt x="45910" y="211074"/>
                  </a:lnTo>
                  <a:lnTo>
                    <a:pt x="42577" y="215170"/>
                  </a:lnTo>
                  <a:lnTo>
                    <a:pt x="44387" y="219837"/>
                  </a:lnTo>
                  <a:lnTo>
                    <a:pt x="21241" y="243554"/>
                  </a:lnTo>
                  <a:lnTo>
                    <a:pt x="23146" y="245650"/>
                  </a:lnTo>
                  <a:lnTo>
                    <a:pt x="27527" y="257461"/>
                  </a:lnTo>
                  <a:lnTo>
                    <a:pt x="26765" y="265176"/>
                  </a:lnTo>
                  <a:lnTo>
                    <a:pt x="36767" y="285940"/>
                  </a:lnTo>
                  <a:lnTo>
                    <a:pt x="36767" y="308038"/>
                  </a:lnTo>
                  <a:lnTo>
                    <a:pt x="32099" y="318135"/>
                  </a:lnTo>
                  <a:lnTo>
                    <a:pt x="37148" y="317087"/>
                  </a:lnTo>
                  <a:lnTo>
                    <a:pt x="38100" y="322231"/>
                  </a:lnTo>
                  <a:lnTo>
                    <a:pt x="36481" y="324707"/>
                  </a:lnTo>
                  <a:lnTo>
                    <a:pt x="38672" y="328613"/>
                  </a:lnTo>
                  <a:lnTo>
                    <a:pt x="38672" y="335756"/>
                  </a:lnTo>
                  <a:lnTo>
                    <a:pt x="52292" y="335947"/>
                  </a:lnTo>
                  <a:lnTo>
                    <a:pt x="52006" y="309563"/>
                  </a:lnTo>
                  <a:lnTo>
                    <a:pt x="59912" y="303276"/>
                  </a:lnTo>
                  <a:lnTo>
                    <a:pt x="96203" y="289274"/>
                  </a:lnTo>
                  <a:lnTo>
                    <a:pt x="105156" y="278035"/>
                  </a:lnTo>
                  <a:lnTo>
                    <a:pt x="104775" y="248221"/>
                  </a:lnTo>
                  <a:lnTo>
                    <a:pt x="106394" y="238887"/>
                  </a:lnTo>
                  <a:lnTo>
                    <a:pt x="102013" y="242411"/>
                  </a:lnTo>
                  <a:lnTo>
                    <a:pt x="97536" y="211455"/>
                  </a:lnTo>
                  <a:lnTo>
                    <a:pt x="88583" y="203073"/>
                  </a:lnTo>
                  <a:lnTo>
                    <a:pt x="91821" y="191453"/>
                  </a:lnTo>
                  <a:lnTo>
                    <a:pt x="86678" y="183832"/>
                  </a:lnTo>
                  <a:lnTo>
                    <a:pt x="122968" y="167354"/>
                  </a:lnTo>
                  <a:lnTo>
                    <a:pt x="131540" y="148780"/>
                  </a:lnTo>
                  <a:lnTo>
                    <a:pt x="156305" y="134588"/>
                  </a:lnTo>
                  <a:lnTo>
                    <a:pt x="176117" y="130873"/>
                  </a:lnTo>
                  <a:lnTo>
                    <a:pt x="191262" y="119443"/>
                  </a:lnTo>
                  <a:lnTo>
                    <a:pt x="211169" y="84296"/>
                  </a:lnTo>
                  <a:lnTo>
                    <a:pt x="210121" y="782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5" name="Freeform: Shape 2765">
              <a:extLst>
                <a:ext uri="{FF2B5EF4-FFF2-40B4-BE49-F238E27FC236}">
                  <a16:creationId xmlns:a16="http://schemas.microsoft.com/office/drawing/2014/main" id="{2D8B1D54-6861-95E8-A62A-DFCD2D78CCBB}"/>
                </a:ext>
              </a:extLst>
            </p:cNvPr>
            <p:cNvSpPr/>
            <p:nvPr/>
          </p:nvSpPr>
          <p:spPr>
            <a:xfrm>
              <a:off x="1483328" y="3866038"/>
              <a:ext cx="240982" cy="181737"/>
            </a:xfrm>
            <a:custGeom>
              <a:avLst/>
              <a:gdLst>
                <a:gd name="connsiteX0" fmla="*/ 118586 w 240982"/>
                <a:gd name="connsiteY0" fmla="*/ 141065 h 181737"/>
                <a:gd name="connsiteX1" fmla="*/ 130207 w 240982"/>
                <a:gd name="connsiteY1" fmla="*/ 142304 h 181737"/>
                <a:gd name="connsiteX2" fmla="*/ 133255 w 240982"/>
                <a:gd name="connsiteY2" fmla="*/ 135731 h 181737"/>
                <a:gd name="connsiteX3" fmla="*/ 155353 w 240982"/>
                <a:gd name="connsiteY3" fmla="*/ 134112 h 181737"/>
                <a:gd name="connsiteX4" fmla="*/ 162687 w 240982"/>
                <a:gd name="connsiteY4" fmla="*/ 121539 h 181737"/>
                <a:gd name="connsiteX5" fmla="*/ 190214 w 240982"/>
                <a:gd name="connsiteY5" fmla="*/ 110585 h 181737"/>
                <a:gd name="connsiteX6" fmla="*/ 185547 w 240982"/>
                <a:gd name="connsiteY6" fmla="*/ 104394 h 181737"/>
                <a:gd name="connsiteX7" fmla="*/ 184023 w 240982"/>
                <a:gd name="connsiteY7" fmla="*/ 94774 h 181737"/>
                <a:gd name="connsiteX8" fmla="*/ 191738 w 240982"/>
                <a:gd name="connsiteY8" fmla="*/ 95250 h 181737"/>
                <a:gd name="connsiteX9" fmla="*/ 201359 w 240982"/>
                <a:gd name="connsiteY9" fmla="*/ 91726 h 181737"/>
                <a:gd name="connsiteX10" fmla="*/ 204121 w 240982"/>
                <a:gd name="connsiteY10" fmla="*/ 85630 h 181737"/>
                <a:gd name="connsiteX11" fmla="*/ 235363 w 240982"/>
                <a:gd name="connsiteY11" fmla="*/ 85439 h 181737"/>
                <a:gd name="connsiteX12" fmla="*/ 240983 w 240982"/>
                <a:gd name="connsiteY12" fmla="*/ 76676 h 181737"/>
                <a:gd name="connsiteX13" fmla="*/ 232696 w 240982"/>
                <a:gd name="connsiteY13" fmla="*/ 71438 h 181737"/>
                <a:gd name="connsiteX14" fmla="*/ 227838 w 240982"/>
                <a:gd name="connsiteY14" fmla="*/ 61246 h 181737"/>
                <a:gd name="connsiteX15" fmla="*/ 229362 w 240982"/>
                <a:gd name="connsiteY15" fmla="*/ 53626 h 181737"/>
                <a:gd name="connsiteX16" fmla="*/ 225743 w 240982"/>
                <a:gd name="connsiteY16" fmla="*/ 50673 h 181737"/>
                <a:gd name="connsiteX17" fmla="*/ 228314 w 240982"/>
                <a:gd name="connsiteY17" fmla="*/ 42291 h 181737"/>
                <a:gd name="connsiteX18" fmla="*/ 225552 w 240982"/>
                <a:gd name="connsiteY18" fmla="*/ 36671 h 181737"/>
                <a:gd name="connsiteX19" fmla="*/ 227648 w 240982"/>
                <a:gd name="connsiteY19" fmla="*/ 32671 h 181737"/>
                <a:gd name="connsiteX20" fmla="*/ 224028 w 240982"/>
                <a:gd name="connsiteY20" fmla="*/ 29432 h 181737"/>
                <a:gd name="connsiteX21" fmla="*/ 225838 w 240982"/>
                <a:gd name="connsiteY21" fmla="*/ 26098 h 181737"/>
                <a:gd name="connsiteX22" fmla="*/ 215741 w 240982"/>
                <a:gd name="connsiteY22" fmla="*/ 17145 h 181737"/>
                <a:gd name="connsiteX23" fmla="*/ 162306 w 240982"/>
                <a:gd name="connsiteY23" fmla="*/ 12954 h 181737"/>
                <a:gd name="connsiteX24" fmla="*/ 153543 w 240982"/>
                <a:gd name="connsiteY24" fmla="*/ 0 h 181737"/>
                <a:gd name="connsiteX25" fmla="*/ 145637 w 240982"/>
                <a:gd name="connsiteY25" fmla="*/ 4191 h 181737"/>
                <a:gd name="connsiteX26" fmla="*/ 123539 w 240982"/>
                <a:gd name="connsiteY26" fmla="*/ 44482 h 181737"/>
                <a:gd name="connsiteX27" fmla="*/ 96393 w 240982"/>
                <a:gd name="connsiteY27" fmla="*/ 56864 h 181737"/>
                <a:gd name="connsiteX28" fmla="*/ 65723 w 240982"/>
                <a:gd name="connsiteY28" fmla="*/ 101251 h 181737"/>
                <a:gd name="connsiteX29" fmla="*/ 70009 w 240982"/>
                <a:gd name="connsiteY29" fmla="*/ 129159 h 181737"/>
                <a:gd name="connsiteX30" fmla="*/ 32671 w 240982"/>
                <a:gd name="connsiteY30" fmla="*/ 168402 h 181737"/>
                <a:gd name="connsiteX31" fmla="*/ 5334 w 240982"/>
                <a:gd name="connsiteY31" fmla="*/ 175736 h 181737"/>
                <a:gd name="connsiteX32" fmla="*/ 0 w 240982"/>
                <a:gd name="connsiteY32" fmla="*/ 181737 h 181737"/>
                <a:gd name="connsiteX33" fmla="*/ 0 w 240982"/>
                <a:gd name="connsiteY33" fmla="*/ 181737 h 181737"/>
                <a:gd name="connsiteX34" fmla="*/ 89154 w 240982"/>
                <a:gd name="connsiteY34" fmla="*/ 181737 h 181737"/>
                <a:gd name="connsiteX35" fmla="*/ 89154 w 240982"/>
                <a:gd name="connsiteY35" fmla="*/ 159544 h 181737"/>
                <a:gd name="connsiteX36" fmla="*/ 118586 w 240982"/>
                <a:gd name="connsiteY36" fmla="*/ 141065 h 181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0982" h="181737">
                  <a:moveTo>
                    <a:pt x="118586" y="141065"/>
                  </a:moveTo>
                  <a:lnTo>
                    <a:pt x="130207" y="142304"/>
                  </a:lnTo>
                  <a:lnTo>
                    <a:pt x="133255" y="135731"/>
                  </a:lnTo>
                  <a:lnTo>
                    <a:pt x="155353" y="134112"/>
                  </a:lnTo>
                  <a:lnTo>
                    <a:pt x="162687" y="121539"/>
                  </a:lnTo>
                  <a:lnTo>
                    <a:pt x="190214" y="110585"/>
                  </a:lnTo>
                  <a:lnTo>
                    <a:pt x="185547" y="104394"/>
                  </a:lnTo>
                  <a:lnTo>
                    <a:pt x="184023" y="94774"/>
                  </a:lnTo>
                  <a:lnTo>
                    <a:pt x="191738" y="95250"/>
                  </a:lnTo>
                  <a:lnTo>
                    <a:pt x="201359" y="91726"/>
                  </a:lnTo>
                  <a:lnTo>
                    <a:pt x="204121" y="85630"/>
                  </a:lnTo>
                  <a:lnTo>
                    <a:pt x="235363" y="85439"/>
                  </a:lnTo>
                  <a:lnTo>
                    <a:pt x="240983" y="76676"/>
                  </a:lnTo>
                  <a:lnTo>
                    <a:pt x="232696" y="71438"/>
                  </a:lnTo>
                  <a:lnTo>
                    <a:pt x="227838" y="61246"/>
                  </a:lnTo>
                  <a:lnTo>
                    <a:pt x="229362" y="53626"/>
                  </a:lnTo>
                  <a:lnTo>
                    <a:pt x="225743" y="50673"/>
                  </a:lnTo>
                  <a:lnTo>
                    <a:pt x="228314" y="42291"/>
                  </a:lnTo>
                  <a:lnTo>
                    <a:pt x="225552" y="36671"/>
                  </a:lnTo>
                  <a:lnTo>
                    <a:pt x="227648" y="32671"/>
                  </a:lnTo>
                  <a:lnTo>
                    <a:pt x="224028" y="29432"/>
                  </a:lnTo>
                  <a:lnTo>
                    <a:pt x="225838" y="26098"/>
                  </a:lnTo>
                  <a:lnTo>
                    <a:pt x="215741" y="17145"/>
                  </a:lnTo>
                  <a:lnTo>
                    <a:pt x="162306" y="12954"/>
                  </a:lnTo>
                  <a:lnTo>
                    <a:pt x="153543" y="0"/>
                  </a:lnTo>
                  <a:lnTo>
                    <a:pt x="145637" y="4191"/>
                  </a:lnTo>
                  <a:lnTo>
                    <a:pt x="123539" y="44482"/>
                  </a:lnTo>
                  <a:lnTo>
                    <a:pt x="96393" y="56864"/>
                  </a:lnTo>
                  <a:lnTo>
                    <a:pt x="65723" y="101251"/>
                  </a:lnTo>
                  <a:lnTo>
                    <a:pt x="70009" y="129159"/>
                  </a:lnTo>
                  <a:lnTo>
                    <a:pt x="32671" y="168402"/>
                  </a:lnTo>
                  <a:lnTo>
                    <a:pt x="5334" y="175736"/>
                  </a:lnTo>
                  <a:lnTo>
                    <a:pt x="0" y="181737"/>
                  </a:lnTo>
                  <a:lnTo>
                    <a:pt x="0" y="181737"/>
                  </a:lnTo>
                  <a:lnTo>
                    <a:pt x="89154" y="181737"/>
                  </a:lnTo>
                  <a:lnTo>
                    <a:pt x="89154" y="159544"/>
                  </a:lnTo>
                  <a:lnTo>
                    <a:pt x="118586" y="14106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6" name="Freeform: Shape 2766">
              <a:extLst>
                <a:ext uri="{FF2B5EF4-FFF2-40B4-BE49-F238E27FC236}">
                  <a16:creationId xmlns:a16="http://schemas.microsoft.com/office/drawing/2014/main" id="{DFA6700D-1FF1-AD80-349A-E0FA93C2613D}"/>
                </a:ext>
              </a:extLst>
            </p:cNvPr>
            <p:cNvSpPr/>
            <p:nvPr/>
          </p:nvSpPr>
          <p:spPr>
            <a:xfrm>
              <a:off x="1406366" y="4055776"/>
              <a:ext cx="242887" cy="259746"/>
            </a:xfrm>
            <a:custGeom>
              <a:avLst/>
              <a:gdLst>
                <a:gd name="connsiteX0" fmla="*/ 206978 w 242887"/>
                <a:gd name="connsiteY0" fmla="*/ 48196 h 259746"/>
                <a:gd name="connsiteX1" fmla="*/ 242888 w 242887"/>
                <a:gd name="connsiteY1" fmla="*/ 48196 h 259746"/>
                <a:gd name="connsiteX2" fmla="*/ 166116 w 242887"/>
                <a:gd name="connsiteY2" fmla="*/ 0 h 259746"/>
                <a:gd name="connsiteX3" fmla="*/ 166116 w 242887"/>
                <a:gd name="connsiteY3" fmla="*/ 27337 h 259746"/>
                <a:gd name="connsiteX4" fmla="*/ 100393 w 242887"/>
                <a:gd name="connsiteY4" fmla="*/ 27337 h 259746"/>
                <a:gd name="connsiteX5" fmla="*/ 100393 w 242887"/>
                <a:gd name="connsiteY5" fmla="*/ 80296 h 259746"/>
                <a:gd name="connsiteX6" fmla="*/ 86773 w 242887"/>
                <a:gd name="connsiteY6" fmla="*/ 84868 h 259746"/>
                <a:gd name="connsiteX7" fmla="*/ 77915 w 242887"/>
                <a:gd name="connsiteY7" fmla="*/ 94297 h 259746"/>
                <a:gd name="connsiteX8" fmla="*/ 80201 w 242887"/>
                <a:gd name="connsiteY8" fmla="*/ 125063 h 259746"/>
                <a:gd name="connsiteX9" fmla="*/ 2858 w 242887"/>
                <a:gd name="connsiteY9" fmla="*/ 125063 h 259746"/>
                <a:gd name="connsiteX10" fmla="*/ 2572 w 242887"/>
                <a:gd name="connsiteY10" fmla="*/ 125063 h 259746"/>
                <a:gd name="connsiteX11" fmla="*/ 0 w 242887"/>
                <a:gd name="connsiteY11" fmla="*/ 137160 h 259746"/>
                <a:gd name="connsiteX12" fmla="*/ 16859 w 242887"/>
                <a:gd name="connsiteY12" fmla="*/ 148876 h 259746"/>
                <a:gd name="connsiteX13" fmla="*/ 20193 w 242887"/>
                <a:gd name="connsiteY13" fmla="*/ 199072 h 259746"/>
                <a:gd name="connsiteX14" fmla="*/ 9239 w 242887"/>
                <a:gd name="connsiteY14" fmla="*/ 232315 h 259746"/>
                <a:gd name="connsiteX15" fmla="*/ 14573 w 242887"/>
                <a:gd name="connsiteY15" fmla="*/ 231076 h 259746"/>
                <a:gd name="connsiteX16" fmla="*/ 18955 w 242887"/>
                <a:gd name="connsiteY16" fmla="*/ 221266 h 259746"/>
                <a:gd name="connsiteX17" fmla="*/ 23051 w 242887"/>
                <a:gd name="connsiteY17" fmla="*/ 224504 h 259746"/>
                <a:gd name="connsiteX18" fmla="*/ 36290 w 242887"/>
                <a:gd name="connsiteY18" fmla="*/ 222599 h 259746"/>
                <a:gd name="connsiteX19" fmla="*/ 39338 w 242887"/>
                <a:gd name="connsiteY19" fmla="*/ 218408 h 259746"/>
                <a:gd name="connsiteX20" fmla="*/ 44768 w 242887"/>
                <a:gd name="connsiteY20" fmla="*/ 221551 h 259746"/>
                <a:gd name="connsiteX21" fmla="*/ 54007 w 242887"/>
                <a:gd name="connsiteY21" fmla="*/ 221551 h 259746"/>
                <a:gd name="connsiteX22" fmla="*/ 62865 w 242887"/>
                <a:gd name="connsiteY22" fmla="*/ 231076 h 259746"/>
                <a:gd name="connsiteX23" fmla="*/ 71342 w 242887"/>
                <a:gd name="connsiteY23" fmla="*/ 231553 h 259746"/>
                <a:gd name="connsiteX24" fmla="*/ 75248 w 242887"/>
                <a:gd name="connsiteY24" fmla="*/ 241840 h 259746"/>
                <a:gd name="connsiteX25" fmla="*/ 81915 w 242887"/>
                <a:gd name="connsiteY25" fmla="*/ 244792 h 259746"/>
                <a:gd name="connsiteX26" fmla="*/ 82391 w 242887"/>
                <a:gd name="connsiteY26" fmla="*/ 251079 h 259746"/>
                <a:gd name="connsiteX27" fmla="*/ 90392 w 242887"/>
                <a:gd name="connsiteY27" fmla="*/ 253746 h 259746"/>
                <a:gd name="connsiteX28" fmla="*/ 95345 w 242887"/>
                <a:gd name="connsiteY28" fmla="*/ 257365 h 259746"/>
                <a:gd name="connsiteX29" fmla="*/ 98679 w 242887"/>
                <a:gd name="connsiteY29" fmla="*/ 259747 h 259746"/>
                <a:gd name="connsiteX30" fmla="*/ 103823 w 242887"/>
                <a:gd name="connsiteY30" fmla="*/ 257651 h 259746"/>
                <a:gd name="connsiteX31" fmla="*/ 102584 w 242887"/>
                <a:gd name="connsiteY31" fmla="*/ 252127 h 259746"/>
                <a:gd name="connsiteX32" fmla="*/ 105156 w 242887"/>
                <a:gd name="connsiteY32" fmla="*/ 243173 h 259746"/>
                <a:gd name="connsiteX33" fmla="*/ 111062 w 242887"/>
                <a:gd name="connsiteY33" fmla="*/ 241078 h 259746"/>
                <a:gd name="connsiteX34" fmla="*/ 121920 w 242887"/>
                <a:gd name="connsiteY34" fmla="*/ 252413 h 259746"/>
                <a:gd name="connsiteX35" fmla="*/ 125730 w 242887"/>
                <a:gd name="connsiteY35" fmla="*/ 245554 h 259746"/>
                <a:gd name="connsiteX36" fmla="*/ 147161 w 242887"/>
                <a:gd name="connsiteY36" fmla="*/ 245269 h 259746"/>
                <a:gd name="connsiteX37" fmla="*/ 154400 w 242887"/>
                <a:gd name="connsiteY37" fmla="*/ 238696 h 259746"/>
                <a:gd name="connsiteX38" fmla="*/ 154400 w 242887"/>
                <a:gd name="connsiteY38" fmla="*/ 244792 h 259746"/>
                <a:gd name="connsiteX39" fmla="*/ 228695 w 242887"/>
                <a:gd name="connsiteY39" fmla="*/ 244792 h 259746"/>
                <a:gd name="connsiteX40" fmla="*/ 232315 w 242887"/>
                <a:gd name="connsiteY40" fmla="*/ 227838 h 259746"/>
                <a:gd name="connsiteX41" fmla="*/ 226409 w 242887"/>
                <a:gd name="connsiteY41" fmla="*/ 224218 h 259746"/>
                <a:gd name="connsiteX42" fmla="*/ 206978 w 242887"/>
                <a:gd name="connsiteY42" fmla="*/ 48196 h 25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2887" h="259746">
                  <a:moveTo>
                    <a:pt x="206978" y="48196"/>
                  </a:moveTo>
                  <a:lnTo>
                    <a:pt x="242888" y="48196"/>
                  </a:lnTo>
                  <a:lnTo>
                    <a:pt x="166116" y="0"/>
                  </a:lnTo>
                  <a:lnTo>
                    <a:pt x="166116" y="27337"/>
                  </a:lnTo>
                  <a:lnTo>
                    <a:pt x="100393" y="27337"/>
                  </a:lnTo>
                  <a:lnTo>
                    <a:pt x="100393" y="80296"/>
                  </a:lnTo>
                  <a:lnTo>
                    <a:pt x="86773" y="84868"/>
                  </a:lnTo>
                  <a:lnTo>
                    <a:pt x="77915" y="94297"/>
                  </a:lnTo>
                  <a:lnTo>
                    <a:pt x="80201" y="125063"/>
                  </a:lnTo>
                  <a:lnTo>
                    <a:pt x="2858" y="125063"/>
                  </a:lnTo>
                  <a:lnTo>
                    <a:pt x="2572" y="125063"/>
                  </a:lnTo>
                  <a:lnTo>
                    <a:pt x="0" y="137160"/>
                  </a:lnTo>
                  <a:lnTo>
                    <a:pt x="16859" y="148876"/>
                  </a:lnTo>
                  <a:lnTo>
                    <a:pt x="20193" y="199072"/>
                  </a:lnTo>
                  <a:lnTo>
                    <a:pt x="9239" y="232315"/>
                  </a:lnTo>
                  <a:lnTo>
                    <a:pt x="14573" y="231076"/>
                  </a:lnTo>
                  <a:lnTo>
                    <a:pt x="18955" y="221266"/>
                  </a:lnTo>
                  <a:lnTo>
                    <a:pt x="23051" y="224504"/>
                  </a:lnTo>
                  <a:lnTo>
                    <a:pt x="36290" y="222599"/>
                  </a:lnTo>
                  <a:lnTo>
                    <a:pt x="39338" y="218408"/>
                  </a:lnTo>
                  <a:lnTo>
                    <a:pt x="44768" y="221551"/>
                  </a:lnTo>
                  <a:lnTo>
                    <a:pt x="54007" y="221551"/>
                  </a:lnTo>
                  <a:lnTo>
                    <a:pt x="62865" y="231076"/>
                  </a:lnTo>
                  <a:lnTo>
                    <a:pt x="71342" y="231553"/>
                  </a:lnTo>
                  <a:lnTo>
                    <a:pt x="75248" y="241840"/>
                  </a:lnTo>
                  <a:lnTo>
                    <a:pt x="81915" y="244792"/>
                  </a:lnTo>
                  <a:lnTo>
                    <a:pt x="82391" y="251079"/>
                  </a:lnTo>
                  <a:lnTo>
                    <a:pt x="90392" y="253746"/>
                  </a:lnTo>
                  <a:lnTo>
                    <a:pt x="95345" y="257365"/>
                  </a:lnTo>
                  <a:lnTo>
                    <a:pt x="98679" y="259747"/>
                  </a:lnTo>
                  <a:lnTo>
                    <a:pt x="103823" y="257651"/>
                  </a:lnTo>
                  <a:lnTo>
                    <a:pt x="102584" y="252127"/>
                  </a:lnTo>
                  <a:lnTo>
                    <a:pt x="105156" y="243173"/>
                  </a:lnTo>
                  <a:lnTo>
                    <a:pt x="111062" y="241078"/>
                  </a:lnTo>
                  <a:lnTo>
                    <a:pt x="121920" y="252413"/>
                  </a:lnTo>
                  <a:lnTo>
                    <a:pt x="125730" y="245554"/>
                  </a:lnTo>
                  <a:lnTo>
                    <a:pt x="147161" y="245269"/>
                  </a:lnTo>
                  <a:lnTo>
                    <a:pt x="154400" y="238696"/>
                  </a:lnTo>
                  <a:lnTo>
                    <a:pt x="154400" y="244792"/>
                  </a:lnTo>
                  <a:lnTo>
                    <a:pt x="228695" y="244792"/>
                  </a:lnTo>
                  <a:lnTo>
                    <a:pt x="232315" y="227838"/>
                  </a:lnTo>
                  <a:lnTo>
                    <a:pt x="226409" y="224218"/>
                  </a:lnTo>
                  <a:lnTo>
                    <a:pt x="206978" y="481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7" name="Freeform: Shape 2767">
              <a:extLst>
                <a:ext uri="{FF2B5EF4-FFF2-40B4-BE49-F238E27FC236}">
                  <a16:creationId xmlns:a16="http://schemas.microsoft.com/office/drawing/2014/main" id="{CFF43224-85EF-C333-644D-9F2D3882D407}"/>
                </a:ext>
              </a:extLst>
            </p:cNvPr>
            <p:cNvSpPr/>
            <p:nvPr/>
          </p:nvSpPr>
          <p:spPr>
            <a:xfrm>
              <a:off x="1501711" y="4103973"/>
              <a:ext cx="326612" cy="305466"/>
            </a:xfrm>
            <a:custGeom>
              <a:avLst/>
              <a:gdLst>
                <a:gd name="connsiteX0" fmla="*/ 308801 w 326612"/>
                <a:gd name="connsiteY0" fmla="*/ 125825 h 305466"/>
                <a:gd name="connsiteX1" fmla="*/ 303752 w 326612"/>
                <a:gd name="connsiteY1" fmla="*/ 122206 h 305466"/>
                <a:gd name="connsiteX2" fmla="*/ 306800 w 326612"/>
                <a:gd name="connsiteY2" fmla="*/ 117920 h 305466"/>
                <a:gd name="connsiteX3" fmla="*/ 306800 w 326612"/>
                <a:gd name="connsiteY3" fmla="*/ 108775 h 305466"/>
                <a:gd name="connsiteX4" fmla="*/ 290227 w 326612"/>
                <a:gd name="connsiteY4" fmla="*/ 104394 h 305466"/>
                <a:gd name="connsiteX5" fmla="*/ 286703 w 326612"/>
                <a:gd name="connsiteY5" fmla="*/ 98870 h 305466"/>
                <a:gd name="connsiteX6" fmla="*/ 280511 w 326612"/>
                <a:gd name="connsiteY6" fmla="*/ 100489 h 305466"/>
                <a:gd name="connsiteX7" fmla="*/ 275463 w 326612"/>
                <a:gd name="connsiteY7" fmla="*/ 94964 h 305466"/>
                <a:gd name="connsiteX8" fmla="*/ 265081 w 326612"/>
                <a:gd name="connsiteY8" fmla="*/ 89630 h 305466"/>
                <a:gd name="connsiteX9" fmla="*/ 265081 w 326612"/>
                <a:gd name="connsiteY9" fmla="*/ 82201 h 305466"/>
                <a:gd name="connsiteX10" fmla="*/ 147542 w 326612"/>
                <a:gd name="connsiteY10" fmla="*/ 0 h 305466"/>
                <a:gd name="connsiteX11" fmla="*/ 111633 w 326612"/>
                <a:gd name="connsiteY11" fmla="*/ 0 h 305466"/>
                <a:gd name="connsiteX12" fmla="*/ 131064 w 326612"/>
                <a:gd name="connsiteY12" fmla="*/ 176022 h 305466"/>
                <a:gd name="connsiteX13" fmla="*/ 136970 w 326612"/>
                <a:gd name="connsiteY13" fmla="*/ 179641 h 305466"/>
                <a:gd name="connsiteX14" fmla="*/ 133350 w 326612"/>
                <a:gd name="connsiteY14" fmla="*/ 196596 h 305466"/>
                <a:gd name="connsiteX15" fmla="*/ 59055 w 326612"/>
                <a:gd name="connsiteY15" fmla="*/ 196596 h 305466"/>
                <a:gd name="connsiteX16" fmla="*/ 59055 w 326612"/>
                <a:gd name="connsiteY16" fmla="*/ 190500 h 305466"/>
                <a:gd name="connsiteX17" fmla="*/ 51816 w 326612"/>
                <a:gd name="connsiteY17" fmla="*/ 197072 h 305466"/>
                <a:gd name="connsiteX18" fmla="*/ 30385 w 326612"/>
                <a:gd name="connsiteY18" fmla="*/ 197358 h 305466"/>
                <a:gd name="connsiteX19" fmla="*/ 26575 w 326612"/>
                <a:gd name="connsiteY19" fmla="*/ 204216 h 305466"/>
                <a:gd name="connsiteX20" fmla="*/ 15716 w 326612"/>
                <a:gd name="connsiteY20" fmla="*/ 192881 h 305466"/>
                <a:gd name="connsiteX21" fmla="*/ 9811 w 326612"/>
                <a:gd name="connsiteY21" fmla="*/ 194977 h 305466"/>
                <a:gd name="connsiteX22" fmla="*/ 7239 w 326612"/>
                <a:gd name="connsiteY22" fmla="*/ 203930 h 305466"/>
                <a:gd name="connsiteX23" fmla="*/ 8477 w 326612"/>
                <a:gd name="connsiteY23" fmla="*/ 209455 h 305466"/>
                <a:gd name="connsiteX24" fmla="*/ 3334 w 326612"/>
                <a:gd name="connsiteY24" fmla="*/ 211550 h 305466"/>
                <a:gd name="connsiteX25" fmla="*/ 0 w 326612"/>
                <a:gd name="connsiteY25" fmla="*/ 209169 h 305466"/>
                <a:gd name="connsiteX26" fmla="*/ 762 w 326612"/>
                <a:gd name="connsiteY26" fmla="*/ 218408 h 305466"/>
                <a:gd name="connsiteX27" fmla="*/ 4858 w 326612"/>
                <a:gd name="connsiteY27" fmla="*/ 221647 h 305466"/>
                <a:gd name="connsiteX28" fmla="*/ 5905 w 326612"/>
                <a:gd name="connsiteY28" fmla="*/ 230314 h 305466"/>
                <a:gd name="connsiteX29" fmla="*/ 2286 w 326612"/>
                <a:gd name="connsiteY29" fmla="*/ 233744 h 305466"/>
                <a:gd name="connsiteX30" fmla="*/ 6668 w 326612"/>
                <a:gd name="connsiteY30" fmla="*/ 240316 h 305466"/>
                <a:gd name="connsiteX31" fmla="*/ 12097 w 326612"/>
                <a:gd name="connsiteY31" fmla="*/ 237649 h 305466"/>
                <a:gd name="connsiteX32" fmla="*/ 16764 w 326612"/>
                <a:gd name="connsiteY32" fmla="*/ 246412 h 305466"/>
                <a:gd name="connsiteX33" fmla="*/ 15430 w 326612"/>
                <a:gd name="connsiteY33" fmla="*/ 254317 h 305466"/>
                <a:gd name="connsiteX34" fmla="*/ 17812 w 326612"/>
                <a:gd name="connsiteY34" fmla="*/ 258794 h 305466"/>
                <a:gd name="connsiteX35" fmla="*/ 14383 w 326612"/>
                <a:gd name="connsiteY35" fmla="*/ 264033 h 305466"/>
                <a:gd name="connsiteX36" fmla="*/ 20098 w 326612"/>
                <a:gd name="connsiteY36" fmla="*/ 267176 h 305466"/>
                <a:gd name="connsiteX37" fmla="*/ 23146 w 326612"/>
                <a:gd name="connsiteY37" fmla="*/ 262699 h 305466"/>
                <a:gd name="connsiteX38" fmla="*/ 26860 w 326612"/>
                <a:gd name="connsiteY38" fmla="*/ 262985 h 305466"/>
                <a:gd name="connsiteX39" fmla="*/ 31718 w 326612"/>
                <a:gd name="connsiteY39" fmla="*/ 269272 h 305466"/>
                <a:gd name="connsiteX40" fmla="*/ 38195 w 326612"/>
                <a:gd name="connsiteY40" fmla="*/ 262414 h 305466"/>
                <a:gd name="connsiteX41" fmla="*/ 49530 w 326612"/>
                <a:gd name="connsiteY41" fmla="*/ 266129 h 305466"/>
                <a:gd name="connsiteX42" fmla="*/ 56769 w 326612"/>
                <a:gd name="connsiteY42" fmla="*/ 262223 h 305466"/>
                <a:gd name="connsiteX43" fmla="*/ 55721 w 326612"/>
                <a:gd name="connsiteY43" fmla="*/ 258032 h 305466"/>
                <a:gd name="connsiteX44" fmla="*/ 57817 w 326612"/>
                <a:gd name="connsiteY44" fmla="*/ 254317 h 305466"/>
                <a:gd name="connsiteX45" fmla="*/ 64199 w 326612"/>
                <a:gd name="connsiteY45" fmla="*/ 257175 h 305466"/>
                <a:gd name="connsiteX46" fmla="*/ 67818 w 326612"/>
                <a:gd name="connsiteY46" fmla="*/ 267176 h 305466"/>
                <a:gd name="connsiteX47" fmla="*/ 67056 w 326612"/>
                <a:gd name="connsiteY47" fmla="*/ 273844 h 305466"/>
                <a:gd name="connsiteX48" fmla="*/ 76105 w 326612"/>
                <a:gd name="connsiteY48" fmla="*/ 278321 h 305466"/>
                <a:gd name="connsiteX49" fmla="*/ 68104 w 326612"/>
                <a:gd name="connsiteY49" fmla="*/ 285940 h 305466"/>
                <a:gd name="connsiteX50" fmla="*/ 72200 w 326612"/>
                <a:gd name="connsiteY50" fmla="*/ 289084 h 305466"/>
                <a:gd name="connsiteX51" fmla="*/ 75724 w 326612"/>
                <a:gd name="connsiteY51" fmla="*/ 286036 h 305466"/>
                <a:gd name="connsiteX52" fmla="*/ 79153 w 326612"/>
                <a:gd name="connsiteY52" fmla="*/ 287464 h 305466"/>
                <a:gd name="connsiteX53" fmla="*/ 79153 w 326612"/>
                <a:gd name="connsiteY53" fmla="*/ 296608 h 305466"/>
                <a:gd name="connsiteX54" fmla="*/ 84677 w 326612"/>
                <a:gd name="connsiteY54" fmla="*/ 301276 h 305466"/>
                <a:gd name="connsiteX55" fmla="*/ 82296 w 326612"/>
                <a:gd name="connsiteY55" fmla="*/ 305181 h 305466"/>
                <a:gd name="connsiteX56" fmla="*/ 82391 w 326612"/>
                <a:gd name="connsiteY56" fmla="*/ 305181 h 305466"/>
                <a:gd name="connsiteX57" fmla="*/ 87154 w 326612"/>
                <a:gd name="connsiteY57" fmla="*/ 305467 h 305466"/>
                <a:gd name="connsiteX58" fmla="*/ 91535 w 326612"/>
                <a:gd name="connsiteY58" fmla="*/ 298799 h 305466"/>
                <a:gd name="connsiteX59" fmla="*/ 95917 w 326612"/>
                <a:gd name="connsiteY59" fmla="*/ 299561 h 305466"/>
                <a:gd name="connsiteX60" fmla="*/ 96869 w 326612"/>
                <a:gd name="connsiteY60" fmla="*/ 302800 h 305466"/>
                <a:gd name="connsiteX61" fmla="*/ 105347 w 326612"/>
                <a:gd name="connsiteY61" fmla="*/ 305086 h 305466"/>
                <a:gd name="connsiteX62" fmla="*/ 104489 w 326612"/>
                <a:gd name="connsiteY62" fmla="*/ 300323 h 305466"/>
                <a:gd name="connsiteX63" fmla="*/ 110300 w 326612"/>
                <a:gd name="connsiteY63" fmla="*/ 301085 h 305466"/>
                <a:gd name="connsiteX64" fmla="*/ 110014 w 326612"/>
                <a:gd name="connsiteY64" fmla="*/ 294132 h 305466"/>
                <a:gd name="connsiteX65" fmla="*/ 115157 w 326612"/>
                <a:gd name="connsiteY65" fmla="*/ 296704 h 305466"/>
                <a:gd name="connsiteX66" fmla="*/ 115062 w 326612"/>
                <a:gd name="connsiteY66" fmla="*/ 292132 h 305466"/>
                <a:gd name="connsiteX67" fmla="*/ 119825 w 326612"/>
                <a:gd name="connsiteY67" fmla="*/ 291751 h 305466"/>
                <a:gd name="connsiteX68" fmla="*/ 121444 w 326612"/>
                <a:gd name="connsiteY68" fmla="*/ 295275 h 305466"/>
                <a:gd name="connsiteX69" fmla="*/ 118872 w 326612"/>
                <a:gd name="connsiteY69" fmla="*/ 301752 h 305466"/>
                <a:gd name="connsiteX70" fmla="*/ 123253 w 326612"/>
                <a:gd name="connsiteY70" fmla="*/ 303562 h 305466"/>
                <a:gd name="connsiteX71" fmla="*/ 126206 w 326612"/>
                <a:gd name="connsiteY71" fmla="*/ 299561 h 305466"/>
                <a:gd name="connsiteX72" fmla="*/ 133064 w 326612"/>
                <a:gd name="connsiteY72" fmla="*/ 298799 h 305466"/>
                <a:gd name="connsiteX73" fmla="*/ 135636 w 326612"/>
                <a:gd name="connsiteY73" fmla="*/ 291465 h 305466"/>
                <a:gd name="connsiteX74" fmla="*/ 132874 w 326612"/>
                <a:gd name="connsiteY74" fmla="*/ 285655 h 305466"/>
                <a:gd name="connsiteX75" fmla="*/ 138208 w 326612"/>
                <a:gd name="connsiteY75" fmla="*/ 284131 h 305466"/>
                <a:gd name="connsiteX76" fmla="*/ 139255 w 326612"/>
                <a:gd name="connsiteY76" fmla="*/ 275939 h 305466"/>
                <a:gd name="connsiteX77" fmla="*/ 135160 w 326612"/>
                <a:gd name="connsiteY77" fmla="*/ 270415 h 305466"/>
                <a:gd name="connsiteX78" fmla="*/ 142589 w 326612"/>
                <a:gd name="connsiteY78" fmla="*/ 265366 h 305466"/>
                <a:gd name="connsiteX79" fmla="*/ 148780 w 326612"/>
                <a:gd name="connsiteY79" fmla="*/ 266986 h 305466"/>
                <a:gd name="connsiteX80" fmla="*/ 155543 w 326612"/>
                <a:gd name="connsiteY80" fmla="*/ 260128 h 305466"/>
                <a:gd name="connsiteX81" fmla="*/ 154019 w 326612"/>
                <a:gd name="connsiteY81" fmla="*/ 252222 h 305466"/>
                <a:gd name="connsiteX82" fmla="*/ 159449 w 326612"/>
                <a:gd name="connsiteY82" fmla="*/ 251936 h 305466"/>
                <a:gd name="connsiteX83" fmla="*/ 157829 w 326612"/>
                <a:gd name="connsiteY83" fmla="*/ 242411 h 305466"/>
                <a:gd name="connsiteX84" fmla="*/ 163544 w 326612"/>
                <a:gd name="connsiteY84" fmla="*/ 237172 h 305466"/>
                <a:gd name="connsiteX85" fmla="*/ 174117 w 326612"/>
                <a:gd name="connsiteY85" fmla="*/ 244030 h 305466"/>
                <a:gd name="connsiteX86" fmla="*/ 178213 w 326612"/>
                <a:gd name="connsiteY86" fmla="*/ 240887 h 305466"/>
                <a:gd name="connsiteX87" fmla="*/ 177451 w 326612"/>
                <a:gd name="connsiteY87" fmla="*/ 232410 h 305466"/>
                <a:gd name="connsiteX88" fmla="*/ 185452 w 326612"/>
                <a:gd name="connsiteY88" fmla="*/ 234029 h 305466"/>
                <a:gd name="connsiteX89" fmla="*/ 186976 w 326612"/>
                <a:gd name="connsiteY89" fmla="*/ 224790 h 305466"/>
                <a:gd name="connsiteX90" fmla="*/ 193167 w 326612"/>
                <a:gd name="connsiteY90" fmla="*/ 220313 h 305466"/>
                <a:gd name="connsiteX91" fmla="*/ 201930 w 326612"/>
                <a:gd name="connsiteY91" fmla="*/ 224504 h 305466"/>
                <a:gd name="connsiteX92" fmla="*/ 204502 w 326612"/>
                <a:gd name="connsiteY92" fmla="*/ 214789 h 305466"/>
                <a:gd name="connsiteX93" fmla="*/ 220027 w 326612"/>
                <a:gd name="connsiteY93" fmla="*/ 210026 h 305466"/>
                <a:gd name="connsiteX94" fmla="*/ 228505 w 326612"/>
                <a:gd name="connsiteY94" fmla="*/ 203645 h 305466"/>
                <a:gd name="connsiteX95" fmla="*/ 234982 w 326612"/>
                <a:gd name="connsiteY95" fmla="*/ 206883 h 305466"/>
                <a:gd name="connsiteX96" fmla="*/ 247364 w 326612"/>
                <a:gd name="connsiteY96" fmla="*/ 205264 h 305466"/>
                <a:gd name="connsiteX97" fmla="*/ 261271 w 326612"/>
                <a:gd name="connsiteY97" fmla="*/ 207073 h 305466"/>
                <a:gd name="connsiteX98" fmla="*/ 268034 w 326612"/>
                <a:gd name="connsiteY98" fmla="*/ 200215 h 305466"/>
                <a:gd name="connsiteX99" fmla="*/ 302038 w 326612"/>
                <a:gd name="connsiteY99" fmla="*/ 197644 h 305466"/>
                <a:gd name="connsiteX100" fmla="*/ 312896 w 326612"/>
                <a:gd name="connsiteY100" fmla="*/ 199454 h 305466"/>
                <a:gd name="connsiteX101" fmla="*/ 313182 w 326612"/>
                <a:gd name="connsiteY101" fmla="*/ 194215 h 305466"/>
                <a:gd name="connsiteX102" fmla="*/ 319849 w 326612"/>
                <a:gd name="connsiteY102" fmla="*/ 192596 h 305466"/>
                <a:gd name="connsiteX103" fmla="*/ 320421 w 326612"/>
                <a:gd name="connsiteY103" fmla="*/ 184975 h 305466"/>
                <a:gd name="connsiteX104" fmla="*/ 326326 w 326612"/>
                <a:gd name="connsiteY104" fmla="*/ 178403 h 305466"/>
                <a:gd name="connsiteX105" fmla="*/ 326326 w 326612"/>
                <a:gd name="connsiteY105" fmla="*/ 123063 h 305466"/>
                <a:gd name="connsiteX106" fmla="*/ 326612 w 326612"/>
                <a:gd name="connsiteY106" fmla="*/ 122301 h 305466"/>
                <a:gd name="connsiteX107" fmla="*/ 308801 w 326612"/>
                <a:gd name="connsiteY107" fmla="*/ 125825 h 30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26612" h="305466">
                  <a:moveTo>
                    <a:pt x="308801" y="125825"/>
                  </a:moveTo>
                  <a:lnTo>
                    <a:pt x="303752" y="122206"/>
                  </a:lnTo>
                  <a:lnTo>
                    <a:pt x="306800" y="117920"/>
                  </a:lnTo>
                  <a:lnTo>
                    <a:pt x="306800" y="108775"/>
                  </a:lnTo>
                  <a:lnTo>
                    <a:pt x="290227" y="104394"/>
                  </a:lnTo>
                  <a:lnTo>
                    <a:pt x="286703" y="98870"/>
                  </a:lnTo>
                  <a:lnTo>
                    <a:pt x="280511" y="100489"/>
                  </a:lnTo>
                  <a:lnTo>
                    <a:pt x="275463" y="94964"/>
                  </a:lnTo>
                  <a:lnTo>
                    <a:pt x="265081" y="89630"/>
                  </a:lnTo>
                  <a:lnTo>
                    <a:pt x="265081" y="82201"/>
                  </a:lnTo>
                  <a:lnTo>
                    <a:pt x="147542" y="0"/>
                  </a:lnTo>
                  <a:lnTo>
                    <a:pt x="111633" y="0"/>
                  </a:lnTo>
                  <a:lnTo>
                    <a:pt x="131064" y="176022"/>
                  </a:lnTo>
                  <a:lnTo>
                    <a:pt x="136970" y="179641"/>
                  </a:lnTo>
                  <a:lnTo>
                    <a:pt x="133350" y="196596"/>
                  </a:lnTo>
                  <a:lnTo>
                    <a:pt x="59055" y="196596"/>
                  </a:lnTo>
                  <a:lnTo>
                    <a:pt x="59055" y="190500"/>
                  </a:lnTo>
                  <a:lnTo>
                    <a:pt x="51816" y="197072"/>
                  </a:lnTo>
                  <a:lnTo>
                    <a:pt x="30385" y="197358"/>
                  </a:lnTo>
                  <a:lnTo>
                    <a:pt x="26575" y="204216"/>
                  </a:lnTo>
                  <a:lnTo>
                    <a:pt x="15716" y="192881"/>
                  </a:lnTo>
                  <a:lnTo>
                    <a:pt x="9811" y="194977"/>
                  </a:lnTo>
                  <a:lnTo>
                    <a:pt x="7239" y="203930"/>
                  </a:lnTo>
                  <a:lnTo>
                    <a:pt x="8477" y="209455"/>
                  </a:lnTo>
                  <a:lnTo>
                    <a:pt x="3334" y="211550"/>
                  </a:lnTo>
                  <a:lnTo>
                    <a:pt x="0" y="209169"/>
                  </a:lnTo>
                  <a:lnTo>
                    <a:pt x="762" y="218408"/>
                  </a:lnTo>
                  <a:lnTo>
                    <a:pt x="4858" y="221647"/>
                  </a:lnTo>
                  <a:lnTo>
                    <a:pt x="5905" y="230314"/>
                  </a:lnTo>
                  <a:lnTo>
                    <a:pt x="2286" y="233744"/>
                  </a:lnTo>
                  <a:lnTo>
                    <a:pt x="6668" y="240316"/>
                  </a:lnTo>
                  <a:lnTo>
                    <a:pt x="12097" y="237649"/>
                  </a:lnTo>
                  <a:lnTo>
                    <a:pt x="16764" y="246412"/>
                  </a:lnTo>
                  <a:lnTo>
                    <a:pt x="15430" y="254317"/>
                  </a:lnTo>
                  <a:lnTo>
                    <a:pt x="17812" y="258794"/>
                  </a:lnTo>
                  <a:lnTo>
                    <a:pt x="14383" y="264033"/>
                  </a:lnTo>
                  <a:lnTo>
                    <a:pt x="20098" y="267176"/>
                  </a:lnTo>
                  <a:lnTo>
                    <a:pt x="23146" y="262699"/>
                  </a:lnTo>
                  <a:lnTo>
                    <a:pt x="26860" y="262985"/>
                  </a:lnTo>
                  <a:lnTo>
                    <a:pt x="31718" y="269272"/>
                  </a:lnTo>
                  <a:lnTo>
                    <a:pt x="38195" y="262414"/>
                  </a:lnTo>
                  <a:lnTo>
                    <a:pt x="49530" y="266129"/>
                  </a:lnTo>
                  <a:lnTo>
                    <a:pt x="56769" y="262223"/>
                  </a:lnTo>
                  <a:lnTo>
                    <a:pt x="55721" y="258032"/>
                  </a:lnTo>
                  <a:lnTo>
                    <a:pt x="57817" y="254317"/>
                  </a:lnTo>
                  <a:lnTo>
                    <a:pt x="64199" y="257175"/>
                  </a:lnTo>
                  <a:lnTo>
                    <a:pt x="67818" y="267176"/>
                  </a:lnTo>
                  <a:lnTo>
                    <a:pt x="67056" y="273844"/>
                  </a:lnTo>
                  <a:lnTo>
                    <a:pt x="76105" y="278321"/>
                  </a:lnTo>
                  <a:lnTo>
                    <a:pt x="68104" y="285940"/>
                  </a:lnTo>
                  <a:lnTo>
                    <a:pt x="72200" y="289084"/>
                  </a:lnTo>
                  <a:lnTo>
                    <a:pt x="75724" y="286036"/>
                  </a:lnTo>
                  <a:lnTo>
                    <a:pt x="79153" y="287464"/>
                  </a:lnTo>
                  <a:lnTo>
                    <a:pt x="79153" y="296608"/>
                  </a:lnTo>
                  <a:lnTo>
                    <a:pt x="84677" y="301276"/>
                  </a:lnTo>
                  <a:lnTo>
                    <a:pt x="82296" y="305181"/>
                  </a:lnTo>
                  <a:lnTo>
                    <a:pt x="82391" y="305181"/>
                  </a:lnTo>
                  <a:lnTo>
                    <a:pt x="87154" y="305467"/>
                  </a:lnTo>
                  <a:lnTo>
                    <a:pt x="91535" y="298799"/>
                  </a:lnTo>
                  <a:lnTo>
                    <a:pt x="95917" y="299561"/>
                  </a:lnTo>
                  <a:lnTo>
                    <a:pt x="96869" y="302800"/>
                  </a:lnTo>
                  <a:lnTo>
                    <a:pt x="105347" y="305086"/>
                  </a:lnTo>
                  <a:lnTo>
                    <a:pt x="104489" y="300323"/>
                  </a:lnTo>
                  <a:lnTo>
                    <a:pt x="110300" y="301085"/>
                  </a:lnTo>
                  <a:lnTo>
                    <a:pt x="110014" y="294132"/>
                  </a:lnTo>
                  <a:lnTo>
                    <a:pt x="115157" y="296704"/>
                  </a:lnTo>
                  <a:lnTo>
                    <a:pt x="115062" y="292132"/>
                  </a:lnTo>
                  <a:lnTo>
                    <a:pt x="119825" y="291751"/>
                  </a:lnTo>
                  <a:lnTo>
                    <a:pt x="121444" y="295275"/>
                  </a:lnTo>
                  <a:lnTo>
                    <a:pt x="118872" y="301752"/>
                  </a:lnTo>
                  <a:lnTo>
                    <a:pt x="123253" y="303562"/>
                  </a:lnTo>
                  <a:lnTo>
                    <a:pt x="126206" y="299561"/>
                  </a:lnTo>
                  <a:lnTo>
                    <a:pt x="133064" y="298799"/>
                  </a:lnTo>
                  <a:lnTo>
                    <a:pt x="135636" y="291465"/>
                  </a:lnTo>
                  <a:lnTo>
                    <a:pt x="132874" y="285655"/>
                  </a:lnTo>
                  <a:lnTo>
                    <a:pt x="138208" y="284131"/>
                  </a:lnTo>
                  <a:lnTo>
                    <a:pt x="139255" y="275939"/>
                  </a:lnTo>
                  <a:lnTo>
                    <a:pt x="135160" y="270415"/>
                  </a:lnTo>
                  <a:lnTo>
                    <a:pt x="142589" y="265366"/>
                  </a:lnTo>
                  <a:lnTo>
                    <a:pt x="148780" y="266986"/>
                  </a:lnTo>
                  <a:lnTo>
                    <a:pt x="155543" y="260128"/>
                  </a:lnTo>
                  <a:lnTo>
                    <a:pt x="154019" y="252222"/>
                  </a:lnTo>
                  <a:lnTo>
                    <a:pt x="159449" y="251936"/>
                  </a:lnTo>
                  <a:lnTo>
                    <a:pt x="157829" y="242411"/>
                  </a:lnTo>
                  <a:lnTo>
                    <a:pt x="163544" y="237172"/>
                  </a:lnTo>
                  <a:lnTo>
                    <a:pt x="174117" y="244030"/>
                  </a:lnTo>
                  <a:lnTo>
                    <a:pt x="178213" y="240887"/>
                  </a:lnTo>
                  <a:lnTo>
                    <a:pt x="177451" y="232410"/>
                  </a:lnTo>
                  <a:lnTo>
                    <a:pt x="185452" y="234029"/>
                  </a:lnTo>
                  <a:lnTo>
                    <a:pt x="186976" y="224790"/>
                  </a:lnTo>
                  <a:lnTo>
                    <a:pt x="193167" y="220313"/>
                  </a:lnTo>
                  <a:lnTo>
                    <a:pt x="201930" y="224504"/>
                  </a:lnTo>
                  <a:lnTo>
                    <a:pt x="204502" y="214789"/>
                  </a:lnTo>
                  <a:lnTo>
                    <a:pt x="220027" y="210026"/>
                  </a:lnTo>
                  <a:lnTo>
                    <a:pt x="228505" y="203645"/>
                  </a:lnTo>
                  <a:lnTo>
                    <a:pt x="234982" y="206883"/>
                  </a:lnTo>
                  <a:lnTo>
                    <a:pt x="247364" y="205264"/>
                  </a:lnTo>
                  <a:lnTo>
                    <a:pt x="261271" y="207073"/>
                  </a:lnTo>
                  <a:lnTo>
                    <a:pt x="268034" y="200215"/>
                  </a:lnTo>
                  <a:lnTo>
                    <a:pt x="302038" y="197644"/>
                  </a:lnTo>
                  <a:lnTo>
                    <a:pt x="312896" y="199454"/>
                  </a:lnTo>
                  <a:lnTo>
                    <a:pt x="313182" y="194215"/>
                  </a:lnTo>
                  <a:lnTo>
                    <a:pt x="319849" y="192596"/>
                  </a:lnTo>
                  <a:lnTo>
                    <a:pt x="320421" y="184975"/>
                  </a:lnTo>
                  <a:lnTo>
                    <a:pt x="326326" y="178403"/>
                  </a:lnTo>
                  <a:lnTo>
                    <a:pt x="326326" y="123063"/>
                  </a:lnTo>
                  <a:lnTo>
                    <a:pt x="326612" y="122301"/>
                  </a:lnTo>
                  <a:lnTo>
                    <a:pt x="308801" y="12582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8" name="Freeform: Shape 2768">
              <a:extLst>
                <a:ext uri="{FF2B5EF4-FFF2-40B4-BE49-F238E27FC236}">
                  <a16:creationId xmlns:a16="http://schemas.microsoft.com/office/drawing/2014/main" id="{C30088CA-CC63-ADB7-97CF-403D9F807C42}"/>
                </a:ext>
              </a:extLst>
            </p:cNvPr>
            <p:cNvSpPr/>
            <p:nvPr/>
          </p:nvSpPr>
          <p:spPr>
            <a:xfrm>
              <a:off x="2392108" y="4793202"/>
              <a:ext cx="64579" cy="159067"/>
            </a:xfrm>
            <a:custGeom>
              <a:avLst/>
              <a:gdLst>
                <a:gd name="connsiteX0" fmla="*/ 19145 w 64579"/>
                <a:gd name="connsiteY0" fmla="*/ 106871 h 159067"/>
                <a:gd name="connsiteX1" fmla="*/ 30766 w 64579"/>
                <a:gd name="connsiteY1" fmla="*/ 104013 h 159067"/>
                <a:gd name="connsiteX2" fmla="*/ 36957 w 64579"/>
                <a:gd name="connsiteY2" fmla="*/ 110300 h 159067"/>
                <a:gd name="connsiteX3" fmla="*/ 37529 w 64579"/>
                <a:gd name="connsiteY3" fmla="*/ 121634 h 159067"/>
                <a:gd name="connsiteX4" fmla="*/ 30004 w 64579"/>
                <a:gd name="connsiteY4" fmla="*/ 132207 h 159067"/>
                <a:gd name="connsiteX5" fmla="*/ 34957 w 64579"/>
                <a:gd name="connsiteY5" fmla="*/ 137446 h 159067"/>
                <a:gd name="connsiteX6" fmla="*/ 36957 w 64579"/>
                <a:gd name="connsiteY6" fmla="*/ 143256 h 159067"/>
                <a:gd name="connsiteX7" fmla="*/ 46482 w 64579"/>
                <a:gd name="connsiteY7" fmla="*/ 152495 h 159067"/>
                <a:gd name="connsiteX8" fmla="*/ 44958 w 64579"/>
                <a:gd name="connsiteY8" fmla="*/ 158782 h 159067"/>
                <a:gd name="connsiteX9" fmla="*/ 51721 w 64579"/>
                <a:gd name="connsiteY9" fmla="*/ 159068 h 159067"/>
                <a:gd name="connsiteX10" fmla="*/ 53721 w 64579"/>
                <a:gd name="connsiteY10" fmla="*/ 149828 h 159067"/>
                <a:gd name="connsiteX11" fmla="*/ 50387 w 64579"/>
                <a:gd name="connsiteY11" fmla="*/ 145923 h 159067"/>
                <a:gd name="connsiteX12" fmla="*/ 53721 w 64579"/>
                <a:gd name="connsiteY12" fmla="*/ 137732 h 159067"/>
                <a:gd name="connsiteX13" fmla="*/ 62293 w 64579"/>
                <a:gd name="connsiteY13" fmla="*/ 136398 h 159067"/>
                <a:gd name="connsiteX14" fmla="*/ 63817 w 64579"/>
                <a:gd name="connsiteY14" fmla="*/ 124778 h 159067"/>
                <a:gd name="connsiteX15" fmla="*/ 60960 w 64579"/>
                <a:gd name="connsiteY15" fmla="*/ 119539 h 159067"/>
                <a:gd name="connsiteX16" fmla="*/ 64579 w 64579"/>
                <a:gd name="connsiteY16" fmla="*/ 107633 h 159067"/>
                <a:gd name="connsiteX17" fmla="*/ 54007 w 64579"/>
                <a:gd name="connsiteY17" fmla="*/ 92393 h 159067"/>
                <a:gd name="connsiteX18" fmla="*/ 48863 w 64579"/>
                <a:gd name="connsiteY18" fmla="*/ 92678 h 159067"/>
                <a:gd name="connsiteX19" fmla="*/ 48768 w 64579"/>
                <a:gd name="connsiteY19" fmla="*/ 92678 h 159067"/>
                <a:gd name="connsiteX20" fmla="*/ 48768 w 64579"/>
                <a:gd name="connsiteY20" fmla="*/ 92678 h 159067"/>
                <a:gd name="connsiteX21" fmla="*/ 52197 w 64579"/>
                <a:gd name="connsiteY21" fmla="*/ 96107 h 159067"/>
                <a:gd name="connsiteX22" fmla="*/ 50578 w 64579"/>
                <a:gd name="connsiteY22" fmla="*/ 108776 h 159067"/>
                <a:gd name="connsiteX23" fmla="*/ 41338 w 64579"/>
                <a:gd name="connsiteY23" fmla="*/ 99251 h 159067"/>
                <a:gd name="connsiteX24" fmla="*/ 36481 w 64579"/>
                <a:gd name="connsiteY24" fmla="*/ 101822 h 159067"/>
                <a:gd name="connsiteX25" fmla="*/ 34385 w 64579"/>
                <a:gd name="connsiteY25" fmla="*/ 90488 h 159067"/>
                <a:gd name="connsiteX26" fmla="*/ 28956 w 64579"/>
                <a:gd name="connsiteY26" fmla="*/ 84963 h 159067"/>
                <a:gd name="connsiteX27" fmla="*/ 28956 w 64579"/>
                <a:gd name="connsiteY27" fmla="*/ 69152 h 159067"/>
                <a:gd name="connsiteX28" fmla="*/ 22003 w 64579"/>
                <a:gd name="connsiteY28" fmla="*/ 60484 h 159067"/>
                <a:gd name="connsiteX29" fmla="*/ 29718 w 64579"/>
                <a:gd name="connsiteY29" fmla="*/ 48673 h 159067"/>
                <a:gd name="connsiteX30" fmla="*/ 26575 w 64579"/>
                <a:gd name="connsiteY30" fmla="*/ 20955 h 159067"/>
                <a:gd name="connsiteX31" fmla="*/ 20383 w 64579"/>
                <a:gd name="connsiteY31" fmla="*/ 13526 h 159067"/>
                <a:gd name="connsiteX32" fmla="*/ 23241 w 64579"/>
                <a:gd name="connsiteY32" fmla="*/ 5905 h 159067"/>
                <a:gd name="connsiteX33" fmla="*/ 23146 w 64579"/>
                <a:gd name="connsiteY33" fmla="*/ 5810 h 159067"/>
                <a:gd name="connsiteX34" fmla="*/ 1524 w 64579"/>
                <a:gd name="connsiteY34" fmla="*/ 0 h 159067"/>
                <a:gd name="connsiteX35" fmla="*/ 1524 w 64579"/>
                <a:gd name="connsiteY35" fmla="*/ 0 h 159067"/>
                <a:gd name="connsiteX36" fmla="*/ 3429 w 64579"/>
                <a:gd name="connsiteY36" fmla="*/ 8477 h 159067"/>
                <a:gd name="connsiteX37" fmla="*/ 12763 w 64579"/>
                <a:gd name="connsiteY37" fmla="*/ 12002 h 159067"/>
                <a:gd name="connsiteX38" fmla="*/ 13145 w 64579"/>
                <a:gd name="connsiteY38" fmla="*/ 17050 h 159067"/>
                <a:gd name="connsiteX39" fmla="*/ 19336 w 64579"/>
                <a:gd name="connsiteY39" fmla="*/ 24479 h 159067"/>
                <a:gd name="connsiteX40" fmla="*/ 10763 w 64579"/>
                <a:gd name="connsiteY40" fmla="*/ 32004 h 159067"/>
                <a:gd name="connsiteX41" fmla="*/ 13907 w 64579"/>
                <a:gd name="connsiteY41" fmla="*/ 37910 h 159067"/>
                <a:gd name="connsiteX42" fmla="*/ 10001 w 64579"/>
                <a:gd name="connsiteY42" fmla="*/ 44672 h 159067"/>
                <a:gd name="connsiteX43" fmla="*/ 11144 w 64579"/>
                <a:gd name="connsiteY43" fmla="*/ 54578 h 159067"/>
                <a:gd name="connsiteX44" fmla="*/ 16192 w 64579"/>
                <a:gd name="connsiteY44" fmla="*/ 62103 h 159067"/>
                <a:gd name="connsiteX45" fmla="*/ 5810 w 64579"/>
                <a:gd name="connsiteY45" fmla="*/ 67246 h 159067"/>
                <a:gd name="connsiteX46" fmla="*/ 5810 w 64579"/>
                <a:gd name="connsiteY46" fmla="*/ 79058 h 159067"/>
                <a:gd name="connsiteX47" fmla="*/ 0 w 64579"/>
                <a:gd name="connsiteY47" fmla="*/ 86582 h 159067"/>
                <a:gd name="connsiteX48" fmla="*/ 6953 w 64579"/>
                <a:gd name="connsiteY48" fmla="*/ 96298 h 159067"/>
                <a:gd name="connsiteX49" fmla="*/ 6953 w 64579"/>
                <a:gd name="connsiteY49" fmla="*/ 96298 h 159067"/>
                <a:gd name="connsiteX50" fmla="*/ 10668 w 64579"/>
                <a:gd name="connsiteY50" fmla="*/ 95060 h 159067"/>
                <a:gd name="connsiteX51" fmla="*/ 19145 w 64579"/>
                <a:gd name="connsiteY51" fmla="*/ 106871 h 15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4579" h="159067">
                  <a:moveTo>
                    <a:pt x="19145" y="106871"/>
                  </a:moveTo>
                  <a:lnTo>
                    <a:pt x="30766" y="104013"/>
                  </a:lnTo>
                  <a:lnTo>
                    <a:pt x="36957" y="110300"/>
                  </a:lnTo>
                  <a:lnTo>
                    <a:pt x="37529" y="121634"/>
                  </a:lnTo>
                  <a:lnTo>
                    <a:pt x="30004" y="132207"/>
                  </a:lnTo>
                  <a:lnTo>
                    <a:pt x="34957" y="137446"/>
                  </a:lnTo>
                  <a:lnTo>
                    <a:pt x="36957" y="143256"/>
                  </a:lnTo>
                  <a:lnTo>
                    <a:pt x="46482" y="152495"/>
                  </a:lnTo>
                  <a:lnTo>
                    <a:pt x="44958" y="158782"/>
                  </a:lnTo>
                  <a:lnTo>
                    <a:pt x="51721" y="159068"/>
                  </a:lnTo>
                  <a:lnTo>
                    <a:pt x="53721" y="149828"/>
                  </a:lnTo>
                  <a:lnTo>
                    <a:pt x="50387" y="145923"/>
                  </a:lnTo>
                  <a:lnTo>
                    <a:pt x="53721" y="137732"/>
                  </a:lnTo>
                  <a:lnTo>
                    <a:pt x="62293" y="136398"/>
                  </a:lnTo>
                  <a:lnTo>
                    <a:pt x="63817" y="124778"/>
                  </a:lnTo>
                  <a:lnTo>
                    <a:pt x="60960" y="119539"/>
                  </a:lnTo>
                  <a:lnTo>
                    <a:pt x="64579" y="107633"/>
                  </a:lnTo>
                  <a:lnTo>
                    <a:pt x="54007" y="92393"/>
                  </a:lnTo>
                  <a:lnTo>
                    <a:pt x="48863" y="92678"/>
                  </a:lnTo>
                  <a:lnTo>
                    <a:pt x="48768" y="92678"/>
                  </a:lnTo>
                  <a:lnTo>
                    <a:pt x="48768" y="92678"/>
                  </a:lnTo>
                  <a:lnTo>
                    <a:pt x="52197" y="96107"/>
                  </a:lnTo>
                  <a:lnTo>
                    <a:pt x="50578" y="108776"/>
                  </a:lnTo>
                  <a:lnTo>
                    <a:pt x="41338" y="99251"/>
                  </a:lnTo>
                  <a:lnTo>
                    <a:pt x="36481" y="101822"/>
                  </a:lnTo>
                  <a:lnTo>
                    <a:pt x="34385" y="90488"/>
                  </a:lnTo>
                  <a:lnTo>
                    <a:pt x="28956" y="84963"/>
                  </a:lnTo>
                  <a:lnTo>
                    <a:pt x="28956" y="69152"/>
                  </a:lnTo>
                  <a:lnTo>
                    <a:pt x="22003" y="60484"/>
                  </a:lnTo>
                  <a:lnTo>
                    <a:pt x="29718" y="48673"/>
                  </a:lnTo>
                  <a:lnTo>
                    <a:pt x="26575" y="20955"/>
                  </a:lnTo>
                  <a:lnTo>
                    <a:pt x="20383" y="13526"/>
                  </a:lnTo>
                  <a:lnTo>
                    <a:pt x="23241" y="5905"/>
                  </a:lnTo>
                  <a:lnTo>
                    <a:pt x="23146" y="5810"/>
                  </a:lnTo>
                  <a:lnTo>
                    <a:pt x="1524" y="0"/>
                  </a:lnTo>
                  <a:lnTo>
                    <a:pt x="1524" y="0"/>
                  </a:lnTo>
                  <a:lnTo>
                    <a:pt x="3429" y="8477"/>
                  </a:lnTo>
                  <a:lnTo>
                    <a:pt x="12763" y="12002"/>
                  </a:lnTo>
                  <a:lnTo>
                    <a:pt x="13145" y="17050"/>
                  </a:lnTo>
                  <a:lnTo>
                    <a:pt x="19336" y="24479"/>
                  </a:lnTo>
                  <a:lnTo>
                    <a:pt x="10763" y="32004"/>
                  </a:lnTo>
                  <a:lnTo>
                    <a:pt x="13907" y="37910"/>
                  </a:lnTo>
                  <a:lnTo>
                    <a:pt x="10001" y="44672"/>
                  </a:lnTo>
                  <a:lnTo>
                    <a:pt x="11144" y="54578"/>
                  </a:lnTo>
                  <a:lnTo>
                    <a:pt x="16192" y="62103"/>
                  </a:lnTo>
                  <a:lnTo>
                    <a:pt x="5810" y="67246"/>
                  </a:lnTo>
                  <a:lnTo>
                    <a:pt x="5810" y="79058"/>
                  </a:lnTo>
                  <a:lnTo>
                    <a:pt x="0" y="86582"/>
                  </a:lnTo>
                  <a:lnTo>
                    <a:pt x="6953" y="96298"/>
                  </a:lnTo>
                  <a:lnTo>
                    <a:pt x="6953" y="96298"/>
                  </a:lnTo>
                  <a:lnTo>
                    <a:pt x="10668" y="95060"/>
                  </a:lnTo>
                  <a:lnTo>
                    <a:pt x="19145" y="10687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79" name="Freeform: Shape 2769">
              <a:extLst>
                <a:ext uri="{FF2B5EF4-FFF2-40B4-BE49-F238E27FC236}">
                  <a16:creationId xmlns:a16="http://schemas.microsoft.com/office/drawing/2014/main" id="{CBC042FE-A7D4-ABDD-0AC9-0E4DA5D7108B}"/>
                </a:ext>
              </a:extLst>
            </p:cNvPr>
            <p:cNvSpPr/>
            <p:nvPr/>
          </p:nvSpPr>
          <p:spPr>
            <a:xfrm>
              <a:off x="2412491" y="4798250"/>
              <a:ext cx="31813" cy="103727"/>
            </a:xfrm>
            <a:custGeom>
              <a:avLst/>
              <a:gdLst>
                <a:gd name="connsiteX0" fmla="*/ 6191 w 31813"/>
                <a:gd name="connsiteY0" fmla="*/ 15907 h 103727"/>
                <a:gd name="connsiteX1" fmla="*/ 9334 w 31813"/>
                <a:gd name="connsiteY1" fmla="*/ 43625 h 103727"/>
                <a:gd name="connsiteX2" fmla="*/ 1619 w 31813"/>
                <a:gd name="connsiteY2" fmla="*/ 55436 h 103727"/>
                <a:gd name="connsiteX3" fmla="*/ 8572 w 31813"/>
                <a:gd name="connsiteY3" fmla="*/ 64103 h 103727"/>
                <a:gd name="connsiteX4" fmla="*/ 8572 w 31813"/>
                <a:gd name="connsiteY4" fmla="*/ 79915 h 103727"/>
                <a:gd name="connsiteX5" fmla="*/ 14002 w 31813"/>
                <a:gd name="connsiteY5" fmla="*/ 85439 h 103727"/>
                <a:gd name="connsiteX6" fmla="*/ 16097 w 31813"/>
                <a:gd name="connsiteY6" fmla="*/ 96774 h 103727"/>
                <a:gd name="connsiteX7" fmla="*/ 20955 w 31813"/>
                <a:gd name="connsiteY7" fmla="*/ 94202 h 103727"/>
                <a:gd name="connsiteX8" fmla="*/ 30194 w 31813"/>
                <a:gd name="connsiteY8" fmla="*/ 103727 h 103727"/>
                <a:gd name="connsiteX9" fmla="*/ 31813 w 31813"/>
                <a:gd name="connsiteY9" fmla="*/ 91059 h 103727"/>
                <a:gd name="connsiteX10" fmla="*/ 28384 w 31813"/>
                <a:gd name="connsiteY10" fmla="*/ 87630 h 103727"/>
                <a:gd name="connsiteX11" fmla="*/ 28384 w 31813"/>
                <a:gd name="connsiteY11" fmla="*/ 87630 h 103727"/>
                <a:gd name="connsiteX12" fmla="*/ 22479 w 31813"/>
                <a:gd name="connsiteY12" fmla="*/ 81534 h 103727"/>
                <a:gd name="connsiteX13" fmla="*/ 20193 w 31813"/>
                <a:gd name="connsiteY13" fmla="*/ 53816 h 103727"/>
                <a:gd name="connsiteX14" fmla="*/ 25622 w 31813"/>
                <a:gd name="connsiteY14" fmla="*/ 41243 h 103727"/>
                <a:gd name="connsiteX15" fmla="*/ 17812 w 31813"/>
                <a:gd name="connsiteY15" fmla="*/ 31718 h 103727"/>
                <a:gd name="connsiteX16" fmla="*/ 17812 w 31813"/>
                <a:gd name="connsiteY16" fmla="*/ 10001 h 103727"/>
                <a:gd name="connsiteX17" fmla="*/ 3143 w 31813"/>
                <a:gd name="connsiteY17" fmla="*/ 0 h 103727"/>
                <a:gd name="connsiteX18" fmla="*/ 2858 w 31813"/>
                <a:gd name="connsiteY18" fmla="*/ 857 h 103727"/>
                <a:gd name="connsiteX19" fmla="*/ 0 w 31813"/>
                <a:gd name="connsiteY19" fmla="*/ 8477 h 103727"/>
                <a:gd name="connsiteX20" fmla="*/ 6191 w 31813"/>
                <a:gd name="connsiteY20" fmla="*/ 15907 h 10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813" h="103727">
                  <a:moveTo>
                    <a:pt x="6191" y="15907"/>
                  </a:moveTo>
                  <a:lnTo>
                    <a:pt x="9334" y="43625"/>
                  </a:lnTo>
                  <a:lnTo>
                    <a:pt x="1619" y="55436"/>
                  </a:lnTo>
                  <a:lnTo>
                    <a:pt x="8572" y="64103"/>
                  </a:lnTo>
                  <a:lnTo>
                    <a:pt x="8572" y="79915"/>
                  </a:lnTo>
                  <a:lnTo>
                    <a:pt x="14002" y="85439"/>
                  </a:lnTo>
                  <a:lnTo>
                    <a:pt x="16097" y="96774"/>
                  </a:lnTo>
                  <a:lnTo>
                    <a:pt x="20955" y="94202"/>
                  </a:lnTo>
                  <a:lnTo>
                    <a:pt x="30194" y="103727"/>
                  </a:lnTo>
                  <a:lnTo>
                    <a:pt x="31813" y="91059"/>
                  </a:lnTo>
                  <a:lnTo>
                    <a:pt x="28384" y="87630"/>
                  </a:lnTo>
                  <a:lnTo>
                    <a:pt x="28384" y="87630"/>
                  </a:lnTo>
                  <a:lnTo>
                    <a:pt x="22479" y="81534"/>
                  </a:lnTo>
                  <a:lnTo>
                    <a:pt x="20193" y="53816"/>
                  </a:lnTo>
                  <a:lnTo>
                    <a:pt x="25622" y="41243"/>
                  </a:lnTo>
                  <a:lnTo>
                    <a:pt x="17812" y="31718"/>
                  </a:lnTo>
                  <a:lnTo>
                    <a:pt x="17812" y="10001"/>
                  </a:lnTo>
                  <a:lnTo>
                    <a:pt x="3143" y="0"/>
                  </a:lnTo>
                  <a:lnTo>
                    <a:pt x="2858" y="857"/>
                  </a:lnTo>
                  <a:lnTo>
                    <a:pt x="0" y="8477"/>
                  </a:lnTo>
                  <a:lnTo>
                    <a:pt x="6191" y="1590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0" name="Freeform: Shape 2770">
              <a:extLst>
                <a:ext uri="{FF2B5EF4-FFF2-40B4-BE49-F238E27FC236}">
                  <a16:creationId xmlns:a16="http://schemas.microsoft.com/office/drawing/2014/main" id="{B97D1C6B-3878-9098-DCE8-62F51D4500BC}"/>
                </a:ext>
              </a:extLst>
            </p:cNvPr>
            <p:cNvSpPr/>
            <p:nvPr/>
          </p:nvSpPr>
          <p:spPr>
            <a:xfrm>
              <a:off x="2602420" y="4849113"/>
              <a:ext cx="142303" cy="278225"/>
            </a:xfrm>
            <a:custGeom>
              <a:avLst/>
              <a:gdLst>
                <a:gd name="connsiteX0" fmla="*/ 0 w 142303"/>
                <a:gd name="connsiteY0" fmla="*/ 200025 h 278225"/>
                <a:gd name="connsiteX1" fmla="*/ 0 w 142303"/>
                <a:gd name="connsiteY1" fmla="*/ 200025 h 278225"/>
                <a:gd name="connsiteX2" fmla="*/ 9811 w 142303"/>
                <a:gd name="connsiteY2" fmla="*/ 186404 h 278225"/>
                <a:gd name="connsiteX3" fmla="*/ 23717 w 142303"/>
                <a:gd name="connsiteY3" fmla="*/ 159544 h 278225"/>
                <a:gd name="connsiteX4" fmla="*/ 21431 w 142303"/>
                <a:gd name="connsiteY4" fmla="*/ 155829 h 278225"/>
                <a:gd name="connsiteX5" fmla="*/ 23431 w 142303"/>
                <a:gd name="connsiteY5" fmla="*/ 149447 h 278225"/>
                <a:gd name="connsiteX6" fmla="*/ 18479 w 142303"/>
                <a:gd name="connsiteY6" fmla="*/ 141637 h 278225"/>
                <a:gd name="connsiteX7" fmla="*/ 12192 w 142303"/>
                <a:gd name="connsiteY7" fmla="*/ 111633 h 278225"/>
                <a:gd name="connsiteX8" fmla="*/ 22765 w 142303"/>
                <a:gd name="connsiteY8" fmla="*/ 83249 h 278225"/>
                <a:gd name="connsiteX9" fmla="*/ 38576 w 142303"/>
                <a:gd name="connsiteY9" fmla="*/ 78200 h 278225"/>
                <a:gd name="connsiteX10" fmla="*/ 45529 w 142303"/>
                <a:gd name="connsiteY10" fmla="*/ 80582 h 278225"/>
                <a:gd name="connsiteX11" fmla="*/ 46863 w 142303"/>
                <a:gd name="connsiteY11" fmla="*/ 75248 h 278225"/>
                <a:gd name="connsiteX12" fmla="*/ 56769 w 142303"/>
                <a:gd name="connsiteY12" fmla="*/ 73533 h 278225"/>
                <a:gd name="connsiteX13" fmla="*/ 62675 w 142303"/>
                <a:gd name="connsiteY13" fmla="*/ 78962 h 278225"/>
                <a:gd name="connsiteX14" fmla="*/ 62484 w 142303"/>
                <a:gd name="connsiteY14" fmla="*/ 71057 h 278225"/>
                <a:gd name="connsiteX15" fmla="*/ 71914 w 142303"/>
                <a:gd name="connsiteY15" fmla="*/ 63437 h 278225"/>
                <a:gd name="connsiteX16" fmla="*/ 92774 w 142303"/>
                <a:gd name="connsiteY16" fmla="*/ 54578 h 278225"/>
                <a:gd name="connsiteX17" fmla="*/ 86773 w 142303"/>
                <a:gd name="connsiteY17" fmla="*/ 47530 h 278225"/>
                <a:gd name="connsiteX18" fmla="*/ 91059 w 142303"/>
                <a:gd name="connsiteY18" fmla="*/ 40767 h 278225"/>
                <a:gd name="connsiteX19" fmla="*/ 94869 w 142303"/>
                <a:gd name="connsiteY19" fmla="*/ 42005 h 278225"/>
                <a:gd name="connsiteX20" fmla="*/ 92583 w 142303"/>
                <a:gd name="connsiteY20" fmla="*/ 33052 h 278225"/>
                <a:gd name="connsiteX21" fmla="*/ 99536 w 142303"/>
                <a:gd name="connsiteY21" fmla="*/ 34862 h 278225"/>
                <a:gd name="connsiteX22" fmla="*/ 108585 w 142303"/>
                <a:gd name="connsiteY22" fmla="*/ 26289 h 278225"/>
                <a:gd name="connsiteX23" fmla="*/ 117729 w 142303"/>
                <a:gd name="connsiteY23" fmla="*/ 0 h 278225"/>
                <a:gd name="connsiteX24" fmla="*/ 118872 w 142303"/>
                <a:gd name="connsiteY24" fmla="*/ 5429 h 278225"/>
                <a:gd name="connsiteX25" fmla="*/ 131350 w 142303"/>
                <a:gd name="connsiteY25" fmla="*/ 19526 h 278225"/>
                <a:gd name="connsiteX26" fmla="*/ 137350 w 142303"/>
                <a:gd name="connsiteY26" fmla="*/ 54293 h 278225"/>
                <a:gd name="connsiteX27" fmla="*/ 142304 w 142303"/>
                <a:gd name="connsiteY27" fmla="*/ 65723 h 278225"/>
                <a:gd name="connsiteX28" fmla="*/ 125063 w 142303"/>
                <a:gd name="connsiteY28" fmla="*/ 70485 h 278225"/>
                <a:gd name="connsiteX29" fmla="*/ 129445 w 142303"/>
                <a:gd name="connsiteY29" fmla="*/ 96774 h 278225"/>
                <a:gd name="connsiteX30" fmla="*/ 121444 w 142303"/>
                <a:gd name="connsiteY30" fmla="*/ 105251 h 278225"/>
                <a:gd name="connsiteX31" fmla="*/ 121444 w 142303"/>
                <a:gd name="connsiteY31" fmla="*/ 123063 h 278225"/>
                <a:gd name="connsiteX32" fmla="*/ 91440 w 142303"/>
                <a:gd name="connsiteY32" fmla="*/ 212598 h 278225"/>
                <a:gd name="connsiteX33" fmla="*/ 88392 w 142303"/>
                <a:gd name="connsiteY33" fmla="*/ 231267 h 278225"/>
                <a:gd name="connsiteX34" fmla="*/ 75533 w 142303"/>
                <a:gd name="connsiteY34" fmla="*/ 265557 h 278225"/>
                <a:gd name="connsiteX35" fmla="*/ 36957 w 142303"/>
                <a:gd name="connsiteY35" fmla="*/ 278225 h 278225"/>
                <a:gd name="connsiteX36" fmla="*/ 14859 w 142303"/>
                <a:gd name="connsiteY36" fmla="*/ 264891 h 278225"/>
                <a:gd name="connsiteX37" fmla="*/ 7525 w 142303"/>
                <a:gd name="connsiteY37" fmla="*/ 251936 h 278225"/>
                <a:gd name="connsiteX38" fmla="*/ 9525 w 142303"/>
                <a:gd name="connsiteY38" fmla="*/ 235744 h 278225"/>
                <a:gd name="connsiteX39" fmla="*/ 953 w 142303"/>
                <a:gd name="connsiteY39" fmla="*/ 220028 h 278225"/>
                <a:gd name="connsiteX40" fmla="*/ 0 w 142303"/>
                <a:gd name="connsiteY40" fmla="*/ 200025 h 27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2303" h="278225">
                  <a:moveTo>
                    <a:pt x="0" y="200025"/>
                  </a:moveTo>
                  <a:lnTo>
                    <a:pt x="0" y="200025"/>
                  </a:lnTo>
                  <a:lnTo>
                    <a:pt x="9811" y="186404"/>
                  </a:lnTo>
                  <a:lnTo>
                    <a:pt x="23717" y="159544"/>
                  </a:lnTo>
                  <a:lnTo>
                    <a:pt x="21431" y="155829"/>
                  </a:lnTo>
                  <a:lnTo>
                    <a:pt x="23431" y="149447"/>
                  </a:lnTo>
                  <a:lnTo>
                    <a:pt x="18479" y="141637"/>
                  </a:lnTo>
                  <a:lnTo>
                    <a:pt x="12192" y="111633"/>
                  </a:lnTo>
                  <a:lnTo>
                    <a:pt x="22765" y="83249"/>
                  </a:lnTo>
                  <a:lnTo>
                    <a:pt x="38576" y="78200"/>
                  </a:lnTo>
                  <a:lnTo>
                    <a:pt x="45529" y="80582"/>
                  </a:lnTo>
                  <a:lnTo>
                    <a:pt x="46863" y="75248"/>
                  </a:lnTo>
                  <a:lnTo>
                    <a:pt x="56769" y="73533"/>
                  </a:lnTo>
                  <a:lnTo>
                    <a:pt x="62675" y="78962"/>
                  </a:lnTo>
                  <a:lnTo>
                    <a:pt x="62484" y="71057"/>
                  </a:lnTo>
                  <a:lnTo>
                    <a:pt x="71914" y="63437"/>
                  </a:lnTo>
                  <a:lnTo>
                    <a:pt x="92774" y="54578"/>
                  </a:lnTo>
                  <a:lnTo>
                    <a:pt x="86773" y="47530"/>
                  </a:lnTo>
                  <a:lnTo>
                    <a:pt x="91059" y="40767"/>
                  </a:lnTo>
                  <a:lnTo>
                    <a:pt x="94869" y="42005"/>
                  </a:lnTo>
                  <a:lnTo>
                    <a:pt x="92583" y="33052"/>
                  </a:lnTo>
                  <a:lnTo>
                    <a:pt x="99536" y="34862"/>
                  </a:lnTo>
                  <a:lnTo>
                    <a:pt x="108585" y="26289"/>
                  </a:lnTo>
                  <a:lnTo>
                    <a:pt x="117729" y="0"/>
                  </a:lnTo>
                  <a:lnTo>
                    <a:pt x="118872" y="5429"/>
                  </a:lnTo>
                  <a:lnTo>
                    <a:pt x="131350" y="19526"/>
                  </a:lnTo>
                  <a:lnTo>
                    <a:pt x="137350" y="54293"/>
                  </a:lnTo>
                  <a:lnTo>
                    <a:pt x="142304" y="65723"/>
                  </a:lnTo>
                  <a:lnTo>
                    <a:pt x="125063" y="70485"/>
                  </a:lnTo>
                  <a:lnTo>
                    <a:pt x="129445" y="96774"/>
                  </a:lnTo>
                  <a:lnTo>
                    <a:pt x="121444" y="105251"/>
                  </a:lnTo>
                  <a:lnTo>
                    <a:pt x="121444" y="123063"/>
                  </a:lnTo>
                  <a:lnTo>
                    <a:pt x="91440" y="212598"/>
                  </a:lnTo>
                  <a:lnTo>
                    <a:pt x="88392" y="231267"/>
                  </a:lnTo>
                  <a:lnTo>
                    <a:pt x="75533" y="265557"/>
                  </a:lnTo>
                  <a:lnTo>
                    <a:pt x="36957" y="278225"/>
                  </a:lnTo>
                  <a:lnTo>
                    <a:pt x="14859" y="264891"/>
                  </a:lnTo>
                  <a:lnTo>
                    <a:pt x="7525" y="251936"/>
                  </a:lnTo>
                  <a:lnTo>
                    <a:pt x="9525" y="235744"/>
                  </a:lnTo>
                  <a:lnTo>
                    <a:pt x="953" y="220028"/>
                  </a:lnTo>
                  <a:lnTo>
                    <a:pt x="0" y="20002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1" name="Freeform: Shape 2771">
              <a:extLst>
                <a:ext uri="{FF2B5EF4-FFF2-40B4-BE49-F238E27FC236}">
                  <a16:creationId xmlns:a16="http://schemas.microsoft.com/office/drawing/2014/main" id="{A397A346-732F-8854-6FD5-C41A899325CD}"/>
                </a:ext>
              </a:extLst>
            </p:cNvPr>
            <p:cNvSpPr/>
            <p:nvPr/>
          </p:nvSpPr>
          <p:spPr>
            <a:xfrm>
              <a:off x="1927860" y="3927189"/>
              <a:ext cx="315277" cy="291941"/>
            </a:xfrm>
            <a:custGeom>
              <a:avLst/>
              <a:gdLst>
                <a:gd name="connsiteX0" fmla="*/ 312515 w 315277"/>
                <a:gd name="connsiteY0" fmla="*/ 53340 h 291941"/>
                <a:gd name="connsiteX1" fmla="*/ 308229 w 315277"/>
                <a:gd name="connsiteY1" fmla="*/ 41529 h 291941"/>
                <a:gd name="connsiteX2" fmla="*/ 315278 w 315277"/>
                <a:gd name="connsiteY2" fmla="*/ 33623 h 291941"/>
                <a:gd name="connsiteX3" fmla="*/ 311277 w 315277"/>
                <a:gd name="connsiteY3" fmla="*/ 27432 h 291941"/>
                <a:gd name="connsiteX4" fmla="*/ 286512 w 315277"/>
                <a:gd name="connsiteY4" fmla="*/ 22955 h 291941"/>
                <a:gd name="connsiteX5" fmla="*/ 278321 w 315277"/>
                <a:gd name="connsiteY5" fmla="*/ 23336 h 291941"/>
                <a:gd name="connsiteX6" fmla="*/ 274320 w 315277"/>
                <a:gd name="connsiteY6" fmla="*/ 12478 h 291941"/>
                <a:gd name="connsiteX7" fmla="*/ 246602 w 315277"/>
                <a:gd name="connsiteY7" fmla="*/ 5334 h 291941"/>
                <a:gd name="connsiteX8" fmla="*/ 223838 w 315277"/>
                <a:gd name="connsiteY8" fmla="*/ 14002 h 291941"/>
                <a:gd name="connsiteX9" fmla="*/ 213931 w 315277"/>
                <a:gd name="connsiteY9" fmla="*/ 22955 h 291941"/>
                <a:gd name="connsiteX10" fmla="*/ 215170 w 315277"/>
                <a:gd name="connsiteY10" fmla="*/ 49530 h 291941"/>
                <a:gd name="connsiteX11" fmla="*/ 199358 w 315277"/>
                <a:gd name="connsiteY11" fmla="*/ 65151 h 291941"/>
                <a:gd name="connsiteX12" fmla="*/ 160401 w 315277"/>
                <a:gd name="connsiteY12" fmla="*/ 47244 h 291941"/>
                <a:gd name="connsiteX13" fmla="*/ 131636 w 315277"/>
                <a:gd name="connsiteY13" fmla="*/ 42005 h 291941"/>
                <a:gd name="connsiteX14" fmla="*/ 117157 w 315277"/>
                <a:gd name="connsiteY14" fmla="*/ 17716 h 291941"/>
                <a:gd name="connsiteX15" fmla="*/ 79153 w 315277"/>
                <a:gd name="connsiteY15" fmla="*/ 6191 h 291941"/>
                <a:gd name="connsiteX16" fmla="*/ 60674 w 315277"/>
                <a:gd name="connsiteY16" fmla="*/ 8001 h 291941"/>
                <a:gd name="connsiteX17" fmla="*/ 44386 w 315277"/>
                <a:gd name="connsiteY17" fmla="*/ 0 h 291941"/>
                <a:gd name="connsiteX18" fmla="*/ 43625 w 315277"/>
                <a:gd name="connsiteY18" fmla="*/ 12382 h 291941"/>
                <a:gd name="connsiteX19" fmla="*/ 46958 w 315277"/>
                <a:gd name="connsiteY19" fmla="*/ 17335 h 291941"/>
                <a:gd name="connsiteX20" fmla="*/ 27908 w 315277"/>
                <a:gd name="connsiteY20" fmla="*/ 25432 h 291941"/>
                <a:gd name="connsiteX21" fmla="*/ 25813 w 315277"/>
                <a:gd name="connsiteY21" fmla="*/ 32480 h 291941"/>
                <a:gd name="connsiteX22" fmla="*/ 20383 w 315277"/>
                <a:gd name="connsiteY22" fmla="*/ 32195 h 291941"/>
                <a:gd name="connsiteX23" fmla="*/ 16288 w 315277"/>
                <a:gd name="connsiteY23" fmla="*/ 38005 h 291941"/>
                <a:gd name="connsiteX24" fmla="*/ 19621 w 315277"/>
                <a:gd name="connsiteY24" fmla="*/ 52578 h 291941"/>
                <a:gd name="connsiteX25" fmla="*/ 13144 w 315277"/>
                <a:gd name="connsiteY25" fmla="*/ 62865 h 291941"/>
                <a:gd name="connsiteX26" fmla="*/ 5048 w 315277"/>
                <a:gd name="connsiteY26" fmla="*/ 66770 h 291941"/>
                <a:gd name="connsiteX27" fmla="*/ 0 w 315277"/>
                <a:gd name="connsiteY27" fmla="*/ 68866 h 291941"/>
                <a:gd name="connsiteX28" fmla="*/ 10858 w 315277"/>
                <a:gd name="connsiteY28" fmla="*/ 86963 h 291941"/>
                <a:gd name="connsiteX29" fmla="*/ 10287 w 315277"/>
                <a:gd name="connsiteY29" fmla="*/ 108871 h 291941"/>
                <a:gd name="connsiteX30" fmla="*/ 14192 w 315277"/>
                <a:gd name="connsiteY30" fmla="*/ 117062 h 291941"/>
                <a:gd name="connsiteX31" fmla="*/ 8763 w 315277"/>
                <a:gd name="connsiteY31" fmla="*/ 128302 h 291941"/>
                <a:gd name="connsiteX32" fmla="*/ 12859 w 315277"/>
                <a:gd name="connsiteY32" fmla="*/ 137541 h 291941"/>
                <a:gd name="connsiteX33" fmla="*/ 11621 w 315277"/>
                <a:gd name="connsiteY33" fmla="*/ 144685 h 291941"/>
                <a:gd name="connsiteX34" fmla="*/ 3334 w 315277"/>
                <a:gd name="connsiteY34" fmla="*/ 148495 h 291941"/>
                <a:gd name="connsiteX35" fmla="*/ 2096 w 315277"/>
                <a:gd name="connsiteY35" fmla="*/ 153162 h 291941"/>
                <a:gd name="connsiteX36" fmla="*/ 14478 w 315277"/>
                <a:gd name="connsiteY36" fmla="*/ 170116 h 291941"/>
                <a:gd name="connsiteX37" fmla="*/ 15240 w 315277"/>
                <a:gd name="connsiteY37" fmla="*/ 180022 h 291941"/>
                <a:gd name="connsiteX38" fmla="*/ 19621 w 315277"/>
                <a:gd name="connsiteY38" fmla="*/ 180594 h 291941"/>
                <a:gd name="connsiteX39" fmla="*/ 19621 w 315277"/>
                <a:gd name="connsiteY39" fmla="*/ 184975 h 291941"/>
                <a:gd name="connsiteX40" fmla="*/ 23717 w 315277"/>
                <a:gd name="connsiteY40" fmla="*/ 188214 h 291941"/>
                <a:gd name="connsiteX41" fmla="*/ 28861 w 315277"/>
                <a:gd name="connsiteY41" fmla="*/ 185738 h 291941"/>
                <a:gd name="connsiteX42" fmla="*/ 45625 w 315277"/>
                <a:gd name="connsiteY42" fmla="*/ 191833 h 291941"/>
                <a:gd name="connsiteX43" fmla="*/ 52864 w 315277"/>
                <a:gd name="connsiteY43" fmla="*/ 207645 h 291941"/>
                <a:gd name="connsiteX44" fmla="*/ 84582 w 315277"/>
                <a:gd name="connsiteY44" fmla="*/ 215074 h 291941"/>
                <a:gd name="connsiteX45" fmla="*/ 98584 w 315277"/>
                <a:gd name="connsiteY45" fmla="*/ 227362 h 291941"/>
                <a:gd name="connsiteX46" fmla="*/ 113443 w 315277"/>
                <a:gd name="connsiteY46" fmla="*/ 219075 h 291941"/>
                <a:gd name="connsiteX47" fmla="*/ 133350 w 315277"/>
                <a:gd name="connsiteY47" fmla="*/ 208121 h 291941"/>
                <a:gd name="connsiteX48" fmla="*/ 291655 w 315277"/>
                <a:gd name="connsiteY48" fmla="*/ 291941 h 291941"/>
                <a:gd name="connsiteX49" fmla="*/ 291655 w 315277"/>
                <a:gd name="connsiteY49" fmla="*/ 282416 h 291941"/>
                <a:gd name="connsiteX50" fmla="*/ 311753 w 315277"/>
                <a:gd name="connsiteY50" fmla="*/ 281178 h 291941"/>
                <a:gd name="connsiteX51" fmla="*/ 311753 w 315277"/>
                <a:gd name="connsiteY51" fmla="*/ 240221 h 291941"/>
                <a:gd name="connsiteX52" fmla="*/ 311753 w 315277"/>
                <a:gd name="connsiteY52" fmla="*/ 86963 h 291941"/>
                <a:gd name="connsiteX53" fmla="*/ 305943 w 315277"/>
                <a:gd name="connsiteY53" fmla="*/ 68866 h 291941"/>
                <a:gd name="connsiteX54" fmla="*/ 311372 w 315277"/>
                <a:gd name="connsiteY54" fmla="*/ 59531 h 291941"/>
                <a:gd name="connsiteX55" fmla="*/ 312515 w 315277"/>
                <a:gd name="connsiteY55" fmla="*/ 53340 h 29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5277" h="291941">
                  <a:moveTo>
                    <a:pt x="312515" y="53340"/>
                  </a:moveTo>
                  <a:lnTo>
                    <a:pt x="308229" y="41529"/>
                  </a:lnTo>
                  <a:lnTo>
                    <a:pt x="315278" y="33623"/>
                  </a:lnTo>
                  <a:lnTo>
                    <a:pt x="311277" y="27432"/>
                  </a:lnTo>
                  <a:lnTo>
                    <a:pt x="286512" y="22955"/>
                  </a:lnTo>
                  <a:lnTo>
                    <a:pt x="278321" y="23336"/>
                  </a:lnTo>
                  <a:lnTo>
                    <a:pt x="274320" y="12478"/>
                  </a:lnTo>
                  <a:lnTo>
                    <a:pt x="246602" y="5334"/>
                  </a:lnTo>
                  <a:lnTo>
                    <a:pt x="223838" y="14002"/>
                  </a:lnTo>
                  <a:lnTo>
                    <a:pt x="213931" y="22955"/>
                  </a:lnTo>
                  <a:lnTo>
                    <a:pt x="215170" y="49530"/>
                  </a:lnTo>
                  <a:lnTo>
                    <a:pt x="199358" y="65151"/>
                  </a:lnTo>
                  <a:lnTo>
                    <a:pt x="160401" y="47244"/>
                  </a:lnTo>
                  <a:lnTo>
                    <a:pt x="131636" y="42005"/>
                  </a:lnTo>
                  <a:lnTo>
                    <a:pt x="117157" y="17716"/>
                  </a:lnTo>
                  <a:lnTo>
                    <a:pt x="79153" y="6191"/>
                  </a:lnTo>
                  <a:lnTo>
                    <a:pt x="60674" y="8001"/>
                  </a:lnTo>
                  <a:lnTo>
                    <a:pt x="44386" y="0"/>
                  </a:lnTo>
                  <a:lnTo>
                    <a:pt x="43625" y="12382"/>
                  </a:lnTo>
                  <a:lnTo>
                    <a:pt x="46958" y="17335"/>
                  </a:lnTo>
                  <a:lnTo>
                    <a:pt x="27908" y="25432"/>
                  </a:lnTo>
                  <a:lnTo>
                    <a:pt x="25813" y="32480"/>
                  </a:lnTo>
                  <a:lnTo>
                    <a:pt x="20383" y="32195"/>
                  </a:lnTo>
                  <a:lnTo>
                    <a:pt x="16288" y="38005"/>
                  </a:lnTo>
                  <a:lnTo>
                    <a:pt x="19621" y="52578"/>
                  </a:lnTo>
                  <a:lnTo>
                    <a:pt x="13144" y="62865"/>
                  </a:lnTo>
                  <a:lnTo>
                    <a:pt x="5048" y="66770"/>
                  </a:lnTo>
                  <a:lnTo>
                    <a:pt x="0" y="68866"/>
                  </a:lnTo>
                  <a:lnTo>
                    <a:pt x="10858" y="86963"/>
                  </a:lnTo>
                  <a:lnTo>
                    <a:pt x="10287" y="108871"/>
                  </a:lnTo>
                  <a:lnTo>
                    <a:pt x="14192" y="117062"/>
                  </a:lnTo>
                  <a:lnTo>
                    <a:pt x="8763" y="128302"/>
                  </a:lnTo>
                  <a:lnTo>
                    <a:pt x="12859" y="137541"/>
                  </a:lnTo>
                  <a:lnTo>
                    <a:pt x="11621" y="144685"/>
                  </a:lnTo>
                  <a:lnTo>
                    <a:pt x="3334" y="148495"/>
                  </a:lnTo>
                  <a:lnTo>
                    <a:pt x="2096" y="153162"/>
                  </a:lnTo>
                  <a:lnTo>
                    <a:pt x="14478" y="170116"/>
                  </a:lnTo>
                  <a:lnTo>
                    <a:pt x="15240" y="180022"/>
                  </a:lnTo>
                  <a:lnTo>
                    <a:pt x="19621" y="180594"/>
                  </a:lnTo>
                  <a:lnTo>
                    <a:pt x="19621" y="184975"/>
                  </a:lnTo>
                  <a:lnTo>
                    <a:pt x="23717" y="188214"/>
                  </a:lnTo>
                  <a:lnTo>
                    <a:pt x="28861" y="185738"/>
                  </a:lnTo>
                  <a:lnTo>
                    <a:pt x="45625" y="191833"/>
                  </a:lnTo>
                  <a:lnTo>
                    <a:pt x="52864" y="207645"/>
                  </a:lnTo>
                  <a:lnTo>
                    <a:pt x="84582" y="215074"/>
                  </a:lnTo>
                  <a:lnTo>
                    <a:pt x="98584" y="227362"/>
                  </a:lnTo>
                  <a:lnTo>
                    <a:pt x="113443" y="219075"/>
                  </a:lnTo>
                  <a:lnTo>
                    <a:pt x="133350" y="208121"/>
                  </a:lnTo>
                  <a:lnTo>
                    <a:pt x="291655" y="291941"/>
                  </a:lnTo>
                  <a:lnTo>
                    <a:pt x="291655" y="282416"/>
                  </a:lnTo>
                  <a:lnTo>
                    <a:pt x="311753" y="281178"/>
                  </a:lnTo>
                  <a:lnTo>
                    <a:pt x="311753" y="240221"/>
                  </a:lnTo>
                  <a:lnTo>
                    <a:pt x="311753" y="86963"/>
                  </a:lnTo>
                  <a:lnTo>
                    <a:pt x="305943" y="68866"/>
                  </a:lnTo>
                  <a:lnTo>
                    <a:pt x="311372" y="59531"/>
                  </a:lnTo>
                  <a:lnTo>
                    <a:pt x="312515" y="5334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2" name="Freeform: Shape 2772">
              <a:extLst>
                <a:ext uri="{FF2B5EF4-FFF2-40B4-BE49-F238E27FC236}">
                  <a16:creationId xmlns:a16="http://schemas.microsoft.com/office/drawing/2014/main" id="{7D27635C-0923-9E8C-3CDC-4E834F6B8740}"/>
                </a:ext>
              </a:extLst>
            </p:cNvPr>
            <p:cNvSpPr/>
            <p:nvPr/>
          </p:nvSpPr>
          <p:spPr>
            <a:xfrm>
              <a:off x="1516665" y="4439729"/>
              <a:ext cx="81343" cy="83629"/>
            </a:xfrm>
            <a:custGeom>
              <a:avLst/>
              <a:gdLst>
                <a:gd name="connsiteX0" fmla="*/ 77724 w 81343"/>
                <a:gd name="connsiteY0" fmla="*/ 65913 h 83629"/>
                <a:gd name="connsiteX1" fmla="*/ 81344 w 81343"/>
                <a:gd name="connsiteY1" fmla="*/ 63817 h 83629"/>
                <a:gd name="connsiteX2" fmla="*/ 80772 w 81343"/>
                <a:gd name="connsiteY2" fmla="*/ 53721 h 83629"/>
                <a:gd name="connsiteX3" fmla="*/ 75152 w 81343"/>
                <a:gd name="connsiteY3" fmla="*/ 52769 h 83629"/>
                <a:gd name="connsiteX4" fmla="*/ 75152 w 81343"/>
                <a:gd name="connsiteY4" fmla="*/ 49530 h 83629"/>
                <a:gd name="connsiteX5" fmla="*/ 71533 w 81343"/>
                <a:gd name="connsiteY5" fmla="*/ 49339 h 83629"/>
                <a:gd name="connsiteX6" fmla="*/ 70961 w 81343"/>
                <a:gd name="connsiteY6" fmla="*/ 44863 h 83629"/>
                <a:gd name="connsiteX7" fmla="*/ 64770 w 81343"/>
                <a:gd name="connsiteY7" fmla="*/ 45434 h 83629"/>
                <a:gd name="connsiteX8" fmla="*/ 56769 w 81343"/>
                <a:gd name="connsiteY8" fmla="*/ 40576 h 83629"/>
                <a:gd name="connsiteX9" fmla="*/ 62960 w 81343"/>
                <a:gd name="connsiteY9" fmla="*/ 36004 h 83629"/>
                <a:gd name="connsiteX10" fmla="*/ 64579 w 81343"/>
                <a:gd name="connsiteY10" fmla="*/ 27813 h 83629"/>
                <a:gd name="connsiteX11" fmla="*/ 61246 w 81343"/>
                <a:gd name="connsiteY11" fmla="*/ 25908 h 83629"/>
                <a:gd name="connsiteX12" fmla="*/ 59246 w 81343"/>
                <a:gd name="connsiteY12" fmla="*/ 19240 h 83629"/>
                <a:gd name="connsiteX13" fmla="*/ 58579 w 81343"/>
                <a:gd name="connsiteY13" fmla="*/ 16859 h 83629"/>
                <a:gd name="connsiteX14" fmla="*/ 54483 w 81343"/>
                <a:gd name="connsiteY14" fmla="*/ 16954 h 83629"/>
                <a:gd name="connsiteX15" fmla="*/ 52578 w 81343"/>
                <a:gd name="connsiteY15" fmla="*/ 25527 h 83629"/>
                <a:gd name="connsiteX16" fmla="*/ 47339 w 81343"/>
                <a:gd name="connsiteY16" fmla="*/ 27241 h 83629"/>
                <a:gd name="connsiteX17" fmla="*/ 44958 w 81343"/>
                <a:gd name="connsiteY17" fmla="*/ 22955 h 83629"/>
                <a:gd name="connsiteX18" fmla="*/ 39815 w 81343"/>
                <a:gd name="connsiteY18" fmla="*/ 23813 h 83629"/>
                <a:gd name="connsiteX19" fmla="*/ 42291 w 81343"/>
                <a:gd name="connsiteY19" fmla="*/ 16002 h 83629"/>
                <a:gd name="connsiteX20" fmla="*/ 40005 w 81343"/>
                <a:gd name="connsiteY20" fmla="*/ 13716 h 83629"/>
                <a:gd name="connsiteX21" fmla="*/ 40767 w 81343"/>
                <a:gd name="connsiteY21" fmla="*/ 10192 h 83629"/>
                <a:gd name="connsiteX22" fmla="*/ 38386 w 81343"/>
                <a:gd name="connsiteY22" fmla="*/ 6953 h 83629"/>
                <a:gd name="connsiteX23" fmla="*/ 39815 w 81343"/>
                <a:gd name="connsiteY23" fmla="*/ 3429 h 83629"/>
                <a:gd name="connsiteX24" fmla="*/ 34766 w 81343"/>
                <a:gd name="connsiteY24" fmla="*/ 0 h 83629"/>
                <a:gd name="connsiteX25" fmla="*/ 30099 w 81343"/>
                <a:gd name="connsiteY25" fmla="*/ 3620 h 83629"/>
                <a:gd name="connsiteX26" fmla="*/ 28384 w 81343"/>
                <a:gd name="connsiteY26" fmla="*/ 1333 h 83629"/>
                <a:gd name="connsiteX27" fmla="*/ 25241 w 81343"/>
                <a:gd name="connsiteY27" fmla="*/ 1238 h 83629"/>
                <a:gd name="connsiteX28" fmla="*/ 25241 w 81343"/>
                <a:gd name="connsiteY28" fmla="*/ 1333 h 83629"/>
                <a:gd name="connsiteX29" fmla="*/ 24479 w 81343"/>
                <a:gd name="connsiteY29" fmla="*/ 9049 h 83629"/>
                <a:gd name="connsiteX30" fmla="*/ 17335 w 81343"/>
                <a:gd name="connsiteY30" fmla="*/ 11144 h 83629"/>
                <a:gd name="connsiteX31" fmla="*/ 17335 w 81343"/>
                <a:gd name="connsiteY31" fmla="*/ 15812 h 83629"/>
                <a:gd name="connsiteX32" fmla="*/ 7810 w 81343"/>
                <a:gd name="connsiteY32" fmla="*/ 22574 h 83629"/>
                <a:gd name="connsiteX33" fmla="*/ 0 w 81343"/>
                <a:gd name="connsiteY33" fmla="*/ 32861 h 83629"/>
                <a:gd name="connsiteX34" fmla="*/ 47244 w 81343"/>
                <a:gd name="connsiteY34" fmla="*/ 70485 h 83629"/>
                <a:gd name="connsiteX35" fmla="*/ 78581 w 81343"/>
                <a:gd name="connsiteY35" fmla="*/ 83629 h 83629"/>
                <a:gd name="connsiteX36" fmla="*/ 76295 w 81343"/>
                <a:gd name="connsiteY36" fmla="*/ 74295 h 83629"/>
                <a:gd name="connsiteX37" fmla="*/ 78867 w 81343"/>
                <a:gd name="connsiteY37" fmla="*/ 71914 h 83629"/>
                <a:gd name="connsiteX38" fmla="*/ 77724 w 81343"/>
                <a:gd name="connsiteY38" fmla="*/ 65913 h 8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1343" h="83629">
                  <a:moveTo>
                    <a:pt x="77724" y="65913"/>
                  </a:moveTo>
                  <a:lnTo>
                    <a:pt x="81344" y="63817"/>
                  </a:lnTo>
                  <a:lnTo>
                    <a:pt x="80772" y="53721"/>
                  </a:lnTo>
                  <a:lnTo>
                    <a:pt x="75152" y="52769"/>
                  </a:lnTo>
                  <a:lnTo>
                    <a:pt x="75152" y="49530"/>
                  </a:lnTo>
                  <a:lnTo>
                    <a:pt x="71533" y="49339"/>
                  </a:lnTo>
                  <a:lnTo>
                    <a:pt x="70961" y="44863"/>
                  </a:lnTo>
                  <a:lnTo>
                    <a:pt x="64770" y="45434"/>
                  </a:lnTo>
                  <a:lnTo>
                    <a:pt x="56769" y="40576"/>
                  </a:lnTo>
                  <a:lnTo>
                    <a:pt x="62960" y="36004"/>
                  </a:lnTo>
                  <a:lnTo>
                    <a:pt x="64579" y="27813"/>
                  </a:lnTo>
                  <a:lnTo>
                    <a:pt x="61246" y="25908"/>
                  </a:lnTo>
                  <a:lnTo>
                    <a:pt x="59246" y="19240"/>
                  </a:lnTo>
                  <a:lnTo>
                    <a:pt x="58579" y="16859"/>
                  </a:lnTo>
                  <a:lnTo>
                    <a:pt x="54483" y="16954"/>
                  </a:lnTo>
                  <a:lnTo>
                    <a:pt x="52578" y="25527"/>
                  </a:lnTo>
                  <a:lnTo>
                    <a:pt x="47339" y="27241"/>
                  </a:lnTo>
                  <a:lnTo>
                    <a:pt x="44958" y="22955"/>
                  </a:lnTo>
                  <a:lnTo>
                    <a:pt x="39815" y="23813"/>
                  </a:lnTo>
                  <a:lnTo>
                    <a:pt x="42291" y="16002"/>
                  </a:lnTo>
                  <a:lnTo>
                    <a:pt x="40005" y="13716"/>
                  </a:lnTo>
                  <a:lnTo>
                    <a:pt x="40767" y="10192"/>
                  </a:lnTo>
                  <a:lnTo>
                    <a:pt x="38386" y="6953"/>
                  </a:lnTo>
                  <a:lnTo>
                    <a:pt x="39815" y="3429"/>
                  </a:lnTo>
                  <a:lnTo>
                    <a:pt x="34766" y="0"/>
                  </a:lnTo>
                  <a:lnTo>
                    <a:pt x="30099" y="3620"/>
                  </a:lnTo>
                  <a:lnTo>
                    <a:pt x="28384" y="1333"/>
                  </a:lnTo>
                  <a:lnTo>
                    <a:pt x="25241" y="1238"/>
                  </a:lnTo>
                  <a:lnTo>
                    <a:pt x="25241" y="1333"/>
                  </a:lnTo>
                  <a:lnTo>
                    <a:pt x="24479" y="9049"/>
                  </a:lnTo>
                  <a:lnTo>
                    <a:pt x="17335" y="11144"/>
                  </a:lnTo>
                  <a:lnTo>
                    <a:pt x="17335" y="15812"/>
                  </a:lnTo>
                  <a:lnTo>
                    <a:pt x="7810" y="22574"/>
                  </a:lnTo>
                  <a:lnTo>
                    <a:pt x="0" y="32861"/>
                  </a:lnTo>
                  <a:lnTo>
                    <a:pt x="47244" y="70485"/>
                  </a:lnTo>
                  <a:lnTo>
                    <a:pt x="78581" y="83629"/>
                  </a:lnTo>
                  <a:lnTo>
                    <a:pt x="76295" y="74295"/>
                  </a:lnTo>
                  <a:lnTo>
                    <a:pt x="78867" y="71914"/>
                  </a:lnTo>
                  <a:lnTo>
                    <a:pt x="77724" y="6591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3" name="Freeform: Shape 2773">
              <a:extLst>
                <a:ext uri="{FF2B5EF4-FFF2-40B4-BE49-F238E27FC236}">
                  <a16:creationId xmlns:a16="http://schemas.microsoft.com/office/drawing/2014/main" id="{BD2DD9A1-353E-98D7-FE03-3DB573F71A9D}"/>
                </a:ext>
              </a:extLst>
            </p:cNvPr>
            <p:cNvSpPr/>
            <p:nvPr/>
          </p:nvSpPr>
          <p:spPr>
            <a:xfrm>
              <a:off x="2279427" y="5189918"/>
              <a:ext cx="48577" cy="45910"/>
            </a:xfrm>
            <a:custGeom>
              <a:avLst/>
              <a:gdLst>
                <a:gd name="connsiteX0" fmla="*/ 6287 w 48577"/>
                <a:gd name="connsiteY0" fmla="*/ 37148 h 45910"/>
                <a:gd name="connsiteX1" fmla="*/ 11144 w 48577"/>
                <a:gd name="connsiteY1" fmla="*/ 38291 h 45910"/>
                <a:gd name="connsiteX2" fmla="*/ 14478 w 48577"/>
                <a:gd name="connsiteY2" fmla="*/ 44196 h 45910"/>
                <a:gd name="connsiteX3" fmla="*/ 21146 w 48577"/>
                <a:gd name="connsiteY3" fmla="*/ 45911 h 45910"/>
                <a:gd name="connsiteX4" fmla="*/ 22955 w 48577"/>
                <a:gd name="connsiteY4" fmla="*/ 35719 h 45910"/>
                <a:gd name="connsiteX5" fmla="*/ 28194 w 48577"/>
                <a:gd name="connsiteY5" fmla="*/ 32004 h 45910"/>
                <a:gd name="connsiteX6" fmla="*/ 35909 w 48577"/>
                <a:gd name="connsiteY6" fmla="*/ 32766 h 45910"/>
                <a:gd name="connsiteX7" fmla="*/ 42577 w 48577"/>
                <a:gd name="connsiteY7" fmla="*/ 29242 h 45910"/>
                <a:gd name="connsiteX8" fmla="*/ 41815 w 48577"/>
                <a:gd name="connsiteY8" fmla="*/ 22955 h 45910"/>
                <a:gd name="connsiteX9" fmla="*/ 48578 w 48577"/>
                <a:gd name="connsiteY9" fmla="*/ 17241 h 45910"/>
                <a:gd name="connsiteX10" fmla="*/ 46006 w 48577"/>
                <a:gd name="connsiteY10" fmla="*/ 10668 h 45910"/>
                <a:gd name="connsiteX11" fmla="*/ 40005 w 48577"/>
                <a:gd name="connsiteY11" fmla="*/ 8477 h 45910"/>
                <a:gd name="connsiteX12" fmla="*/ 32004 w 48577"/>
                <a:gd name="connsiteY12" fmla="*/ 0 h 45910"/>
                <a:gd name="connsiteX13" fmla="*/ 22193 w 48577"/>
                <a:gd name="connsiteY13" fmla="*/ 3239 h 45910"/>
                <a:gd name="connsiteX14" fmla="*/ 18669 w 48577"/>
                <a:gd name="connsiteY14" fmla="*/ 7906 h 45910"/>
                <a:gd name="connsiteX15" fmla="*/ 12954 w 48577"/>
                <a:gd name="connsiteY15" fmla="*/ 7049 h 45910"/>
                <a:gd name="connsiteX16" fmla="*/ 7049 w 48577"/>
                <a:gd name="connsiteY16" fmla="*/ 18288 h 45910"/>
                <a:gd name="connsiteX17" fmla="*/ 0 w 48577"/>
                <a:gd name="connsiteY17" fmla="*/ 22384 h 45910"/>
                <a:gd name="connsiteX18" fmla="*/ 6763 w 48577"/>
                <a:gd name="connsiteY18" fmla="*/ 32290 h 45910"/>
                <a:gd name="connsiteX19" fmla="*/ 6287 w 48577"/>
                <a:gd name="connsiteY19" fmla="*/ 37148 h 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577" h="45910">
                  <a:moveTo>
                    <a:pt x="6287" y="37148"/>
                  </a:moveTo>
                  <a:lnTo>
                    <a:pt x="11144" y="38291"/>
                  </a:lnTo>
                  <a:lnTo>
                    <a:pt x="14478" y="44196"/>
                  </a:lnTo>
                  <a:lnTo>
                    <a:pt x="21146" y="45911"/>
                  </a:lnTo>
                  <a:lnTo>
                    <a:pt x="22955" y="35719"/>
                  </a:lnTo>
                  <a:lnTo>
                    <a:pt x="28194" y="32004"/>
                  </a:lnTo>
                  <a:lnTo>
                    <a:pt x="35909" y="32766"/>
                  </a:lnTo>
                  <a:lnTo>
                    <a:pt x="42577" y="29242"/>
                  </a:lnTo>
                  <a:lnTo>
                    <a:pt x="41815" y="22955"/>
                  </a:lnTo>
                  <a:lnTo>
                    <a:pt x="48578" y="17241"/>
                  </a:lnTo>
                  <a:lnTo>
                    <a:pt x="46006" y="10668"/>
                  </a:lnTo>
                  <a:lnTo>
                    <a:pt x="40005" y="8477"/>
                  </a:lnTo>
                  <a:lnTo>
                    <a:pt x="32004" y="0"/>
                  </a:lnTo>
                  <a:lnTo>
                    <a:pt x="22193" y="3239"/>
                  </a:lnTo>
                  <a:lnTo>
                    <a:pt x="18669" y="7906"/>
                  </a:lnTo>
                  <a:lnTo>
                    <a:pt x="12954" y="7049"/>
                  </a:lnTo>
                  <a:lnTo>
                    <a:pt x="7049" y="18288"/>
                  </a:lnTo>
                  <a:lnTo>
                    <a:pt x="0" y="22384"/>
                  </a:lnTo>
                  <a:lnTo>
                    <a:pt x="6763" y="32290"/>
                  </a:lnTo>
                  <a:lnTo>
                    <a:pt x="6287" y="3714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4" name="Freeform: Shape 2774">
              <a:extLst>
                <a:ext uri="{FF2B5EF4-FFF2-40B4-BE49-F238E27FC236}">
                  <a16:creationId xmlns:a16="http://schemas.microsoft.com/office/drawing/2014/main" id="{C2A82F6E-9DED-1CB7-EC4F-9653E142FA6A}"/>
                </a:ext>
              </a:extLst>
            </p:cNvPr>
            <p:cNvSpPr/>
            <p:nvPr/>
          </p:nvSpPr>
          <p:spPr>
            <a:xfrm>
              <a:off x="2416206" y="4518310"/>
              <a:ext cx="158115" cy="183737"/>
            </a:xfrm>
            <a:custGeom>
              <a:avLst/>
              <a:gdLst>
                <a:gd name="connsiteX0" fmla="*/ 139541 w 158115"/>
                <a:gd name="connsiteY0" fmla="*/ 108490 h 183737"/>
                <a:gd name="connsiteX1" fmla="*/ 139541 w 158115"/>
                <a:gd name="connsiteY1" fmla="*/ 35338 h 183737"/>
                <a:gd name="connsiteX2" fmla="*/ 158115 w 158115"/>
                <a:gd name="connsiteY2" fmla="*/ 12192 h 183737"/>
                <a:gd name="connsiteX3" fmla="*/ 143446 w 158115"/>
                <a:gd name="connsiteY3" fmla="*/ 13145 h 183737"/>
                <a:gd name="connsiteX4" fmla="*/ 135636 w 158115"/>
                <a:gd name="connsiteY4" fmla="*/ 6191 h 183737"/>
                <a:gd name="connsiteX5" fmla="*/ 117920 w 158115"/>
                <a:gd name="connsiteY5" fmla="*/ 14478 h 183737"/>
                <a:gd name="connsiteX6" fmla="*/ 111157 w 158115"/>
                <a:gd name="connsiteY6" fmla="*/ 24479 h 183737"/>
                <a:gd name="connsiteX7" fmla="*/ 108299 w 158115"/>
                <a:gd name="connsiteY7" fmla="*/ 21431 h 183737"/>
                <a:gd name="connsiteX8" fmla="*/ 99060 w 158115"/>
                <a:gd name="connsiteY8" fmla="*/ 21431 h 183737"/>
                <a:gd name="connsiteX9" fmla="*/ 93154 w 158115"/>
                <a:gd name="connsiteY9" fmla="*/ 18574 h 183737"/>
                <a:gd name="connsiteX10" fmla="*/ 82772 w 158115"/>
                <a:gd name="connsiteY10" fmla="*/ 18859 h 183737"/>
                <a:gd name="connsiteX11" fmla="*/ 56959 w 158115"/>
                <a:gd name="connsiteY11" fmla="*/ 2096 h 183737"/>
                <a:gd name="connsiteX12" fmla="*/ 41529 w 158115"/>
                <a:gd name="connsiteY12" fmla="*/ 2572 h 183737"/>
                <a:gd name="connsiteX13" fmla="*/ 39529 w 158115"/>
                <a:gd name="connsiteY13" fmla="*/ 0 h 183737"/>
                <a:gd name="connsiteX14" fmla="*/ 39529 w 158115"/>
                <a:gd name="connsiteY14" fmla="*/ 0 h 183737"/>
                <a:gd name="connsiteX15" fmla="*/ 9239 w 158115"/>
                <a:gd name="connsiteY15" fmla="*/ 0 h 183737"/>
                <a:gd name="connsiteX16" fmla="*/ 1524 w 158115"/>
                <a:gd name="connsiteY16" fmla="*/ 7620 h 183737"/>
                <a:gd name="connsiteX17" fmla="*/ 1524 w 158115"/>
                <a:gd name="connsiteY17" fmla="*/ 7620 h 183737"/>
                <a:gd name="connsiteX18" fmla="*/ 5429 w 158115"/>
                <a:gd name="connsiteY18" fmla="*/ 16002 h 183737"/>
                <a:gd name="connsiteX19" fmla="*/ 11621 w 158115"/>
                <a:gd name="connsiteY19" fmla="*/ 18574 h 183737"/>
                <a:gd name="connsiteX20" fmla="*/ 8763 w 158115"/>
                <a:gd name="connsiteY20" fmla="*/ 26861 h 183737"/>
                <a:gd name="connsiteX21" fmla="*/ 12859 w 158115"/>
                <a:gd name="connsiteY21" fmla="*/ 28384 h 183737"/>
                <a:gd name="connsiteX22" fmla="*/ 13430 w 158115"/>
                <a:gd name="connsiteY22" fmla="*/ 33338 h 183737"/>
                <a:gd name="connsiteX23" fmla="*/ 17812 w 158115"/>
                <a:gd name="connsiteY23" fmla="*/ 35623 h 183737"/>
                <a:gd name="connsiteX24" fmla="*/ 22193 w 158115"/>
                <a:gd name="connsiteY24" fmla="*/ 52673 h 183737"/>
                <a:gd name="connsiteX25" fmla="*/ 22193 w 158115"/>
                <a:gd name="connsiteY25" fmla="*/ 58293 h 183737"/>
                <a:gd name="connsiteX26" fmla="*/ 17526 w 158115"/>
                <a:gd name="connsiteY26" fmla="*/ 62389 h 183737"/>
                <a:gd name="connsiteX27" fmla="*/ 18002 w 158115"/>
                <a:gd name="connsiteY27" fmla="*/ 67628 h 183737"/>
                <a:gd name="connsiteX28" fmla="*/ 11335 w 158115"/>
                <a:gd name="connsiteY28" fmla="*/ 69628 h 183737"/>
                <a:gd name="connsiteX29" fmla="*/ 8477 w 158115"/>
                <a:gd name="connsiteY29" fmla="*/ 78200 h 183737"/>
                <a:gd name="connsiteX30" fmla="*/ 4096 w 158115"/>
                <a:gd name="connsiteY30" fmla="*/ 79438 h 183737"/>
                <a:gd name="connsiteX31" fmla="*/ 0 w 158115"/>
                <a:gd name="connsiteY31" fmla="*/ 89249 h 183737"/>
                <a:gd name="connsiteX32" fmla="*/ 3238 w 158115"/>
                <a:gd name="connsiteY32" fmla="*/ 94202 h 183737"/>
                <a:gd name="connsiteX33" fmla="*/ 17240 w 158115"/>
                <a:gd name="connsiteY33" fmla="*/ 99631 h 183737"/>
                <a:gd name="connsiteX34" fmla="*/ 2476 w 158115"/>
                <a:gd name="connsiteY34" fmla="*/ 107347 h 183737"/>
                <a:gd name="connsiteX35" fmla="*/ 0 w 158115"/>
                <a:gd name="connsiteY35" fmla="*/ 111062 h 183737"/>
                <a:gd name="connsiteX36" fmla="*/ 2953 w 158115"/>
                <a:gd name="connsiteY36" fmla="*/ 111062 h 183737"/>
                <a:gd name="connsiteX37" fmla="*/ 74486 w 158115"/>
                <a:gd name="connsiteY37" fmla="*/ 151257 h 183737"/>
                <a:gd name="connsiteX38" fmla="*/ 75343 w 158115"/>
                <a:gd name="connsiteY38" fmla="*/ 156400 h 183737"/>
                <a:gd name="connsiteX39" fmla="*/ 71914 w 158115"/>
                <a:gd name="connsiteY39" fmla="*/ 160211 h 183737"/>
                <a:gd name="connsiteX40" fmla="*/ 75819 w 158115"/>
                <a:gd name="connsiteY40" fmla="*/ 161258 h 183737"/>
                <a:gd name="connsiteX41" fmla="*/ 76581 w 158115"/>
                <a:gd name="connsiteY41" fmla="*/ 163735 h 183737"/>
                <a:gd name="connsiteX42" fmla="*/ 104584 w 158115"/>
                <a:gd name="connsiteY42" fmla="*/ 183737 h 183737"/>
                <a:gd name="connsiteX43" fmla="*/ 117158 w 158115"/>
                <a:gd name="connsiteY43" fmla="*/ 166878 h 183737"/>
                <a:gd name="connsiteX44" fmla="*/ 114776 w 158115"/>
                <a:gd name="connsiteY44" fmla="*/ 156877 h 183737"/>
                <a:gd name="connsiteX45" fmla="*/ 124016 w 158115"/>
                <a:gd name="connsiteY45" fmla="*/ 154114 h 183737"/>
                <a:gd name="connsiteX46" fmla="*/ 124111 w 158115"/>
                <a:gd name="connsiteY46" fmla="*/ 144399 h 183737"/>
                <a:gd name="connsiteX47" fmla="*/ 139255 w 158115"/>
                <a:gd name="connsiteY47" fmla="*/ 136779 h 183737"/>
                <a:gd name="connsiteX48" fmla="*/ 137636 w 158115"/>
                <a:gd name="connsiteY48" fmla="*/ 130207 h 183737"/>
                <a:gd name="connsiteX49" fmla="*/ 146590 w 158115"/>
                <a:gd name="connsiteY49" fmla="*/ 130207 h 183737"/>
                <a:gd name="connsiteX50" fmla="*/ 151352 w 158115"/>
                <a:gd name="connsiteY50" fmla="*/ 122206 h 183737"/>
                <a:gd name="connsiteX51" fmla="*/ 151162 w 158115"/>
                <a:gd name="connsiteY51" fmla="*/ 122015 h 183737"/>
                <a:gd name="connsiteX52" fmla="*/ 139541 w 158115"/>
                <a:gd name="connsiteY52" fmla="*/ 108490 h 18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8115" h="183737">
                  <a:moveTo>
                    <a:pt x="139541" y="108490"/>
                  </a:moveTo>
                  <a:lnTo>
                    <a:pt x="139541" y="35338"/>
                  </a:lnTo>
                  <a:lnTo>
                    <a:pt x="158115" y="12192"/>
                  </a:lnTo>
                  <a:lnTo>
                    <a:pt x="143446" y="13145"/>
                  </a:lnTo>
                  <a:lnTo>
                    <a:pt x="135636" y="6191"/>
                  </a:lnTo>
                  <a:lnTo>
                    <a:pt x="117920" y="14478"/>
                  </a:lnTo>
                  <a:lnTo>
                    <a:pt x="111157" y="24479"/>
                  </a:lnTo>
                  <a:lnTo>
                    <a:pt x="108299" y="21431"/>
                  </a:lnTo>
                  <a:lnTo>
                    <a:pt x="99060" y="21431"/>
                  </a:lnTo>
                  <a:lnTo>
                    <a:pt x="93154" y="18574"/>
                  </a:lnTo>
                  <a:lnTo>
                    <a:pt x="82772" y="18859"/>
                  </a:lnTo>
                  <a:lnTo>
                    <a:pt x="56959" y="2096"/>
                  </a:lnTo>
                  <a:lnTo>
                    <a:pt x="41529" y="2572"/>
                  </a:lnTo>
                  <a:lnTo>
                    <a:pt x="39529" y="0"/>
                  </a:lnTo>
                  <a:lnTo>
                    <a:pt x="39529" y="0"/>
                  </a:lnTo>
                  <a:lnTo>
                    <a:pt x="9239" y="0"/>
                  </a:lnTo>
                  <a:lnTo>
                    <a:pt x="1524" y="7620"/>
                  </a:lnTo>
                  <a:lnTo>
                    <a:pt x="1524" y="7620"/>
                  </a:lnTo>
                  <a:lnTo>
                    <a:pt x="5429" y="16002"/>
                  </a:lnTo>
                  <a:lnTo>
                    <a:pt x="11621" y="18574"/>
                  </a:lnTo>
                  <a:lnTo>
                    <a:pt x="8763" y="26861"/>
                  </a:lnTo>
                  <a:lnTo>
                    <a:pt x="12859" y="28384"/>
                  </a:lnTo>
                  <a:lnTo>
                    <a:pt x="13430" y="33338"/>
                  </a:lnTo>
                  <a:lnTo>
                    <a:pt x="17812" y="35623"/>
                  </a:lnTo>
                  <a:lnTo>
                    <a:pt x="22193" y="52673"/>
                  </a:lnTo>
                  <a:lnTo>
                    <a:pt x="22193" y="58293"/>
                  </a:lnTo>
                  <a:lnTo>
                    <a:pt x="17526" y="62389"/>
                  </a:lnTo>
                  <a:lnTo>
                    <a:pt x="18002" y="67628"/>
                  </a:lnTo>
                  <a:lnTo>
                    <a:pt x="11335" y="69628"/>
                  </a:lnTo>
                  <a:lnTo>
                    <a:pt x="8477" y="78200"/>
                  </a:lnTo>
                  <a:lnTo>
                    <a:pt x="4096" y="79438"/>
                  </a:lnTo>
                  <a:lnTo>
                    <a:pt x="0" y="89249"/>
                  </a:lnTo>
                  <a:lnTo>
                    <a:pt x="3238" y="94202"/>
                  </a:lnTo>
                  <a:lnTo>
                    <a:pt x="17240" y="99631"/>
                  </a:lnTo>
                  <a:lnTo>
                    <a:pt x="2476" y="107347"/>
                  </a:lnTo>
                  <a:lnTo>
                    <a:pt x="0" y="111062"/>
                  </a:lnTo>
                  <a:lnTo>
                    <a:pt x="2953" y="111062"/>
                  </a:lnTo>
                  <a:lnTo>
                    <a:pt x="74486" y="151257"/>
                  </a:lnTo>
                  <a:lnTo>
                    <a:pt x="75343" y="156400"/>
                  </a:lnTo>
                  <a:lnTo>
                    <a:pt x="71914" y="160211"/>
                  </a:lnTo>
                  <a:lnTo>
                    <a:pt x="75819" y="161258"/>
                  </a:lnTo>
                  <a:lnTo>
                    <a:pt x="76581" y="163735"/>
                  </a:lnTo>
                  <a:lnTo>
                    <a:pt x="104584" y="183737"/>
                  </a:lnTo>
                  <a:lnTo>
                    <a:pt x="117158" y="166878"/>
                  </a:lnTo>
                  <a:lnTo>
                    <a:pt x="114776" y="156877"/>
                  </a:lnTo>
                  <a:lnTo>
                    <a:pt x="124016" y="154114"/>
                  </a:lnTo>
                  <a:lnTo>
                    <a:pt x="124111" y="144399"/>
                  </a:lnTo>
                  <a:lnTo>
                    <a:pt x="139255" y="136779"/>
                  </a:lnTo>
                  <a:lnTo>
                    <a:pt x="137636" y="130207"/>
                  </a:lnTo>
                  <a:lnTo>
                    <a:pt x="146590" y="130207"/>
                  </a:lnTo>
                  <a:lnTo>
                    <a:pt x="151352" y="122206"/>
                  </a:lnTo>
                  <a:lnTo>
                    <a:pt x="151162" y="122015"/>
                  </a:lnTo>
                  <a:lnTo>
                    <a:pt x="139541" y="10849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5" name="Freeform: Shape 2775">
              <a:extLst>
                <a:ext uri="{FF2B5EF4-FFF2-40B4-BE49-F238E27FC236}">
                  <a16:creationId xmlns:a16="http://schemas.microsoft.com/office/drawing/2014/main" id="{D54F24E1-30DA-A7DE-CE49-B6C10CBAEC24}"/>
                </a:ext>
              </a:extLst>
            </p:cNvPr>
            <p:cNvSpPr/>
            <p:nvPr/>
          </p:nvSpPr>
          <p:spPr>
            <a:xfrm>
              <a:off x="1413033" y="4357433"/>
              <a:ext cx="60578" cy="33908"/>
            </a:xfrm>
            <a:custGeom>
              <a:avLst/>
              <a:gdLst>
                <a:gd name="connsiteX0" fmla="*/ 38576 w 60578"/>
                <a:gd name="connsiteY0" fmla="*/ 24289 h 33908"/>
                <a:gd name="connsiteX1" fmla="*/ 48958 w 60578"/>
                <a:gd name="connsiteY1" fmla="*/ 19241 h 33908"/>
                <a:gd name="connsiteX2" fmla="*/ 59245 w 60578"/>
                <a:gd name="connsiteY2" fmla="*/ 20098 h 33908"/>
                <a:gd name="connsiteX3" fmla="*/ 59817 w 60578"/>
                <a:gd name="connsiteY3" fmla="*/ 15050 h 33908"/>
                <a:gd name="connsiteX4" fmla="*/ 54102 w 60578"/>
                <a:gd name="connsiteY4" fmla="*/ 9811 h 33908"/>
                <a:gd name="connsiteX5" fmla="*/ 60579 w 60578"/>
                <a:gd name="connsiteY5" fmla="*/ 7715 h 33908"/>
                <a:gd name="connsiteX6" fmla="*/ 59245 w 60578"/>
                <a:gd name="connsiteY6" fmla="*/ 476 h 33908"/>
                <a:gd name="connsiteX7" fmla="*/ 59245 w 60578"/>
                <a:gd name="connsiteY7" fmla="*/ 476 h 33908"/>
                <a:gd name="connsiteX8" fmla="*/ 30004 w 60578"/>
                <a:gd name="connsiteY8" fmla="*/ 0 h 33908"/>
                <a:gd name="connsiteX9" fmla="*/ 21907 w 60578"/>
                <a:gd name="connsiteY9" fmla="*/ 4953 h 33908"/>
                <a:gd name="connsiteX10" fmla="*/ 12002 w 60578"/>
                <a:gd name="connsiteY10" fmla="*/ 4191 h 33908"/>
                <a:gd name="connsiteX11" fmla="*/ 0 w 60578"/>
                <a:gd name="connsiteY11" fmla="*/ 7144 h 33908"/>
                <a:gd name="connsiteX12" fmla="*/ 14859 w 60578"/>
                <a:gd name="connsiteY12" fmla="*/ 18955 h 33908"/>
                <a:gd name="connsiteX13" fmla="*/ 34004 w 60578"/>
                <a:gd name="connsiteY13" fmla="*/ 14192 h 33908"/>
                <a:gd name="connsiteX14" fmla="*/ 24384 w 60578"/>
                <a:gd name="connsiteY14" fmla="*/ 26003 h 33908"/>
                <a:gd name="connsiteX15" fmla="*/ 34100 w 60578"/>
                <a:gd name="connsiteY15" fmla="*/ 33909 h 33908"/>
                <a:gd name="connsiteX16" fmla="*/ 34100 w 60578"/>
                <a:gd name="connsiteY16" fmla="*/ 33814 h 33908"/>
                <a:gd name="connsiteX17" fmla="*/ 38576 w 60578"/>
                <a:gd name="connsiteY17" fmla="*/ 24289 h 3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578" h="33908">
                  <a:moveTo>
                    <a:pt x="38576" y="24289"/>
                  </a:moveTo>
                  <a:lnTo>
                    <a:pt x="48958" y="19241"/>
                  </a:lnTo>
                  <a:lnTo>
                    <a:pt x="59245" y="20098"/>
                  </a:lnTo>
                  <a:lnTo>
                    <a:pt x="59817" y="15050"/>
                  </a:lnTo>
                  <a:lnTo>
                    <a:pt x="54102" y="9811"/>
                  </a:lnTo>
                  <a:lnTo>
                    <a:pt x="60579" y="7715"/>
                  </a:lnTo>
                  <a:lnTo>
                    <a:pt x="59245" y="476"/>
                  </a:lnTo>
                  <a:lnTo>
                    <a:pt x="59245" y="476"/>
                  </a:lnTo>
                  <a:lnTo>
                    <a:pt x="30004" y="0"/>
                  </a:lnTo>
                  <a:lnTo>
                    <a:pt x="21907" y="4953"/>
                  </a:lnTo>
                  <a:lnTo>
                    <a:pt x="12002" y="4191"/>
                  </a:lnTo>
                  <a:lnTo>
                    <a:pt x="0" y="7144"/>
                  </a:lnTo>
                  <a:lnTo>
                    <a:pt x="14859" y="18955"/>
                  </a:lnTo>
                  <a:lnTo>
                    <a:pt x="34004" y="14192"/>
                  </a:lnTo>
                  <a:lnTo>
                    <a:pt x="24384" y="26003"/>
                  </a:lnTo>
                  <a:lnTo>
                    <a:pt x="34100" y="33909"/>
                  </a:lnTo>
                  <a:lnTo>
                    <a:pt x="34100" y="33814"/>
                  </a:lnTo>
                  <a:lnTo>
                    <a:pt x="38576" y="2428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6" name="Freeform: Shape 2776">
              <a:extLst>
                <a:ext uri="{FF2B5EF4-FFF2-40B4-BE49-F238E27FC236}">
                  <a16:creationId xmlns:a16="http://schemas.microsoft.com/office/drawing/2014/main" id="{95847F93-C8B8-0AFD-42CB-FF60DC1C3441}"/>
                </a:ext>
              </a:extLst>
            </p:cNvPr>
            <p:cNvSpPr/>
            <p:nvPr/>
          </p:nvSpPr>
          <p:spPr>
            <a:xfrm>
              <a:off x="1447133" y="4357909"/>
              <a:ext cx="145351" cy="109061"/>
            </a:xfrm>
            <a:custGeom>
              <a:avLst/>
              <a:gdLst>
                <a:gd name="connsiteX0" fmla="*/ 145351 w 145351"/>
                <a:gd name="connsiteY0" fmla="*/ 86868 h 109061"/>
                <a:gd name="connsiteX1" fmla="*/ 145351 w 145351"/>
                <a:gd name="connsiteY1" fmla="*/ 80200 h 109061"/>
                <a:gd name="connsiteX2" fmla="*/ 138874 w 145351"/>
                <a:gd name="connsiteY2" fmla="*/ 76105 h 109061"/>
                <a:gd name="connsiteX3" fmla="*/ 144590 w 145351"/>
                <a:gd name="connsiteY3" fmla="*/ 72962 h 109061"/>
                <a:gd name="connsiteX4" fmla="*/ 140494 w 145351"/>
                <a:gd name="connsiteY4" fmla="*/ 68580 h 109061"/>
                <a:gd name="connsiteX5" fmla="*/ 141446 w 145351"/>
                <a:gd name="connsiteY5" fmla="*/ 63437 h 109061"/>
                <a:gd name="connsiteX6" fmla="*/ 135541 w 145351"/>
                <a:gd name="connsiteY6" fmla="*/ 64675 h 109061"/>
                <a:gd name="connsiteX7" fmla="*/ 135255 w 145351"/>
                <a:gd name="connsiteY7" fmla="*/ 53912 h 109061"/>
                <a:gd name="connsiteX8" fmla="*/ 136874 w 145351"/>
                <a:gd name="connsiteY8" fmla="*/ 51245 h 109061"/>
                <a:gd name="connsiteX9" fmla="*/ 139255 w 145351"/>
                <a:gd name="connsiteY9" fmla="*/ 47339 h 109061"/>
                <a:gd name="connsiteX10" fmla="*/ 133731 w 145351"/>
                <a:gd name="connsiteY10" fmla="*/ 42672 h 109061"/>
                <a:gd name="connsiteX11" fmla="*/ 133731 w 145351"/>
                <a:gd name="connsiteY11" fmla="*/ 33528 h 109061"/>
                <a:gd name="connsiteX12" fmla="*/ 130302 w 145351"/>
                <a:gd name="connsiteY12" fmla="*/ 32099 h 109061"/>
                <a:gd name="connsiteX13" fmla="*/ 126778 w 145351"/>
                <a:gd name="connsiteY13" fmla="*/ 35147 h 109061"/>
                <a:gd name="connsiteX14" fmla="*/ 122682 w 145351"/>
                <a:gd name="connsiteY14" fmla="*/ 32004 h 109061"/>
                <a:gd name="connsiteX15" fmla="*/ 130683 w 145351"/>
                <a:gd name="connsiteY15" fmla="*/ 24384 h 109061"/>
                <a:gd name="connsiteX16" fmla="*/ 121634 w 145351"/>
                <a:gd name="connsiteY16" fmla="*/ 19907 h 109061"/>
                <a:gd name="connsiteX17" fmla="*/ 122396 w 145351"/>
                <a:gd name="connsiteY17" fmla="*/ 13240 h 109061"/>
                <a:gd name="connsiteX18" fmla="*/ 118777 w 145351"/>
                <a:gd name="connsiteY18" fmla="*/ 3238 h 109061"/>
                <a:gd name="connsiteX19" fmla="*/ 112395 w 145351"/>
                <a:gd name="connsiteY19" fmla="*/ 381 h 109061"/>
                <a:gd name="connsiteX20" fmla="*/ 110299 w 145351"/>
                <a:gd name="connsiteY20" fmla="*/ 4096 h 109061"/>
                <a:gd name="connsiteX21" fmla="*/ 111347 w 145351"/>
                <a:gd name="connsiteY21" fmla="*/ 8287 h 109061"/>
                <a:gd name="connsiteX22" fmla="*/ 104108 w 145351"/>
                <a:gd name="connsiteY22" fmla="*/ 12192 h 109061"/>
                <a:gd name="connsiteX23" fmla="*/ 92773 w 145351"/>
                <a:gd name="connsiteY23" fmla="*/ 8477 h 109061"/>
                <a:gd name="connsiteX24" fmla="*/ 86297 w 145351"/>
                <a:gd name="connsiteY24" fmla="*/ 15335 h 109061"/>
                <a:gd name="connsiteX25" fmla="*/ 81439 w 145351"/>
                <a:gd name="connsiteY25" fmla="*/ 9049 h 109061"/>
                <a:gd name="connsiteX26" fmla="*/ 77724 w 145351"/>
                <a:gd name="connsiteY26" fmla="*/ 8763 h 109061"/>
                <a:gd name="connsiteX27" fmla="*/ 74676 w 145351"/>
                <a:gd name="connsiteY27" fmla="*/ 13240 h 109061"/>
                <a:gd name="connsiteX28" fmla="*/ 68961 w 145351"/>
                <a:gd name="connsiteY28" fmla="*/ 10096 h 109061"/>
                <a:gd name="connsiteX29" fmla="*/ 72390 w 145351"/>
                <a:gd name="connsiteY29" fmla="*/ 4858 h 109061"/>
                <a:gd name="connsiteX30" fmla="*/ 62674 w 145351"/>
                <a:gd name="connsiteY30" fmla="*/ 5524 h 109061"/>
                <a:gd name="connsiteX31" fmla="*/ 58198 w 145351"/>
                <a:gd name="connsiteY31" fmla="*/ 3905 h 109061"/>
                <a:gd name="connsiteX32" fmla="*/ 51816 w 145351"/>
                <a:gd name="connsiteY32" fmla="*/ 7239 h 109061"/>
                <a:gd name="connsiteX33" fmla="*/ 42958 w 145351"/>
                <a:gd name="connsiteY33" fmla="*/ 1333 h 109061"/>
                <a:gd name="connsiteX34" fmla="*/ 38481 w 145351"/>
                <a:gd name="connsiteY34" fmla="*/ 4286 h 109061"/>
                <a:gd name="connsiteX35" fmla="*/ 36385 w 145351"/>
                <a:gd name="connsiteY35" fmla="*/ 190 h 109061"/>
                <a:gd name="connsiteX36" fmla="*/ 25146 w 145351"/>
                <a:gd name="connsiteY36" fmla="*/ 0 h 109061"/>
                <a:gd name="connsiteX37" fmla="*/ 26479 w 145351"/>
                <a:gd name="connsiteY37" fmla="*/ 7239 h 109061"/>
                <a:gd name="connsiteX38" fmla="*/ 20003 w 145351"/>
                <a:gd name="connsiteY38" fmla="*/ 9334 h 109061"/>
                <a:gd name="connsiteX39" fmla="*/ 25717 w 145351"/>
                <a:gd name="connsiteY39" fmla="*/ 14573 h 109061"/>
                <a:gd name="connsiteX40" fmla="*/ 25146 w 145351"/>
                <a:gd name="connsiteY40" fmla="*/ 19621 h 109061"/>
                <a:gd name="connsiteX41" fmla="*/ 14859 w 145351"/>
                <a:gd name="connsiteY41" fmla="*/ 18764 h 109061"/>
                <a:gd name="connsiteX42" fmla="*/ 4477 w 145351"/>
                <a:gd name="connsiteY42" fmla="*/ 23813 h 109061"/>
                <a:gd name="connsiteX43" fmla="*/ 0 w 145351"/>
                <a:gd name="connsiteY43" fmla="*/ 33338 h 109061"/>
                <a:gd name="connsiteX44" fmla="*/ 0 w 145351"/>
                <a:gd name="connsiteY44" fmla="*/ 33433 h 109061"/>
                <a:gd name="connsiteX45" fmla="*/ 26003 w 145351"/>
                <a:gd name="connsiteY45" fmla="*/ 54578 h 109061"/>
                <a:gd name="connsiteX46" fmla="*/ 25336 w 145351"/>
                <a:gd name="connsiteY46" fmla="*/ 63437 h 109061"/>
                <a:gd name="connsiteX47" fmla="*/ 33528 w 145351"/>
                <a:gd name="connsiteY47" fmla="*/ 66389 h 109061"/>
                <a:gd name="connsiteX48" fmla="*/ 33528 w 145351"/>
                <a:gd name="connsiteY48" fmla="*/ 72676 h 109061"/>
                <a:gd name="connsiteX49" fmla="*/ 39052 w 145351"/>
                <a:gd name="connsiteY49" fmla="*/ 71914 h 109061"/>
                <a:gd name="connsiteX50" fmla="*/ 39815 w 145351"/>
                <a:gd name="connsiteY50" fmla="*/ 66008 h 109061"/>
                <a:gd name="connsiteX51" fmla="*/ 45053 w 145351"/>
                <a:gd name="connsiteY51" fmla="*/ 66008 h 109061"/>
                <a:gd name="connsiteX52" fmla="*/ 48863 w 145351"/>
                <a:gd name="connsiteY52" fmla="*/ 56197 h 109061"/>
                <a:gd name="connsiteX53" fmla="*/ 53530 w 145351"/>
                <a:gd name="connsiteY53" fmla="*/ 54102 h 109061"/>
                <a:gd name="connsiteX54" fmla="*/ 57912 w 145351"/>
                <a:gd name="connsiteY54" fmla="*/ 56959 h 109061"/>
                <a:gd name="connsiteX55" fmla="*/ 61817 w 145351"/>
                <a:gd name="connsiteY55" fmla="*/ 53626 h 109061"/>
                <a:gd name="connsiteX56" fmla="*/ 74676 w 145351"/>
                <a:gd name="connsiteY56" fmla="*/ 53626 h 109061"/>
                <a:gd name="connsiteX57" fmla="*/ 84392 w 145351"/>
                <a:gd name="connsiteY57" fmla="*/ 64960 h 109061"/>
                <a:gd name="connsiteX58" fmla="*/ 82296 w 145351"/>
                <a:gd name="connsiteY58" fmla="*/ 70104 h 109061"/>
                <a:gd name="connsiteX59" fmla="*/ 86963 w 145351"/>
                <a:gd name="connsiteY59" fmla="*/ 71438 h 109061"/>
                <a:gd name="connsiteX60" fmla="*/ 85344 w 145351"/>
                <a:gd name="connsiteY60" fmla="*/ 75247 h 109061"/>
                <a:gd name="connsiteX61" fmla="*/ 87916 w 145351"/>
                <a:gd name="connsiteY61" fmla="*/ 77819 h 109061"/>
                <a:gd name="connsiteX62" fmla="*/ 82582 w 145351"/>
                <a:gd name="connsiteY62" fmla="*/ 84868 h 109061"/>
                <a:gd name="connsiteX63" fmla="*/ 88106 w 145351"/>
                <a:gd name="connsiteY63" fmla="*/ 86868 h 109061"/>
                <a:gd name="connsiteX64" fmla="*/ 92107 w 145351"/>
                <a:gd name="connsiteY64" fmla="*/ 82963 h 109061"/>
                <a:gd name="connsiteX65" fmla="*/ 94774 w 145351"/>
                <a:gd name="connsiteY65" fmla="*/ 83058 h 109061"/>
                <a:gd name="connsiteX66" fmla="*/ 97917 w 145351"/>
                <a:gd name="connsiteY66" fmla="*/ 83153 h 109061"/>
                <a:gd name="connsiteX67" fmla="*/ 99631 w 145351"/>
                <a:gd name="connsiteY67" fmla="*/ 85439 h 109061"/>
                <a:gd name="connsiteX68" fmla="*/ 104299 w 145351"/>
                <a:gd name="connsiteY68" fmla="*/ 81820 h 109061"/>
                <a:gd name="connsiteX69" fmla="*/ 109347 w 145351"/>
                <a:gd name="connsiteY69" fmla="*/ 85249 h 109061"/>
                <a:gd name="connsiteX70" fmla="*/ 107918 w 145351"/>
                <a:gd name="connsiteY70" fmla="*/ 88773 h 109061"/>
                <a:gd name="connsiteX71" fmla="*/ 110299 w 145351"/>
                <a:gd name="connsiteY71" fmla="*/ 92012 h 109061"/>
                <a:gd name="connsiteX72" fmla="*/ 109538 w 145351"/>
                <a:gd name="connsiteY72" fmla="*/ 95536 h 109061"/>
                <a:gd name="connsiteX73" fmla="*/ 111823 w 145351"/>
                <a:gd name="connsiteY73" fmla="*/ 97822 h 109061"/>
                <a:gd name="connsiteX74" fmla="*/ 109347 w 145351"/>
                <a:gd name="connsiteY74" fmla="*/ 105632 h 109061"/>
                <a:gd name="connsiteX75" fmla="*/ 114491 w 145351"/>
                <a:gd name="connsiteY75" fmla="*/ 104775 h 109061"/>
                <a:gd name="connsiteX76" fmla="*/ 116872 w 145351"/>
                <a:gd name="connsiteY76" fmla="*/ 109061 h 109061"/>
                <a:gd name="connsiteX77" fmla="*/ 122111 w 145351"/>
                <a:gd name="connsiteY77" fmla="*/ 107347 h 109061"/>
                <a:gd name="connsiteX78" fmla="*/ 124016 w 145351"/>
                <a:gd name="connsiteY78" fmla="*/ 98774 h 109061"/>
                <a:gd name="connsiteX79" fmla="*/ 128111 w 145351"/>
                <a:gd name="connsiteY79" fmla="*/ 98679 h 109061"/>
                <a:gd name="connsiteX80" fmla="*/ 128778 w 145351"/>
                <a:gd name="connsiteY80" fmla="*/ 101060 h 109061"/>
                <a:gd name="connsiteX81" fmla="*/ 128873 w 145351"/>
                <a:gd name="connsiteY81" fmla="*/ 100774 h 109061"/>
                <a:gd name="connsiteX82" fmla="*/ 134779 w 145351"/>
                <a:gd name="connsiteY82" fmla="*/ 102108 h 109061"/>
                <a:gd name="connsiteX83" fmla="*/ 135541 w 145351"/>
                <a:gd name="connsiteY83" fmla="*/ 95440 h 109061"/>
                <a:gd name="connsiteX84" fmla="*/ 138684 w 145351"/>
                <a:gd name="connsiteY84" fmla="*/ 92012 h 109061"/>
                <a:gd name="connsiteX85" fmla="*/ 132683 w 145351"/>
                <a:gd name="connsiteY85" fmla="*/ 88487 h 109061"/>
                <a:gd name="connsiteX86" fmla="*/ 134779 w 145351"/>
                <a:gd name="connsiteY86" fmla="*/ 83534 h 109061"/>
                <a:gd name="connsiteX87" fmla="*/ 145351 w 145351"/>
                <a:gd name="connsiteY87" fmla="*/ 86868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351" h="109061">
                  <a:moveTo>
                    <a:pt x="145351" y="86868"/>
                  </a:moveTo>
                  <a:lnTo>
                    <a:pt x="145351" y="80200"/>
                  </a:lnTo>
                  <a:lnTo>
                    <a:pt x="138874" y="76105"/>
                  </a:lnTo>
                  <a:lnTo>
                    <a:pt x="144590" y="72962"/>
                  </a:lnTo>
                  <a:lnTo>
                    <a:pt x="140494" y="68580"/>
                  </a:lnTo>
                  <a:lnTo>
                    <a:pt x="141446" y="63437"/>
                  </a:lnTo>
                  <a:lnTo>
                    <a:pt x="135541" y="64675"/>
                  </a:lnTo>
                  <a:lnTo>
                    <a:pt x="135255" y="53912"/>
                  </a:lnTo>
                  <a:lnTo>
                    <a:pt x="136874" y="51245"/>
                  </a:lnTo>
                  <a:lnTo>
                    <a:pt x="139255" y="47339"/>
                  </a:lnTo>
                  <a:lnTo>
                    <a:pt x="133731" y="42672"/>
                  </a:lnTo>
                  <a:lnTo>
                    <a:pt x="133731" y="33528"/>
                  </a:lnTo>
                  <a:lnTo>
                    <a:pt x="130302" y="32099"/>
                  </a:lnTo>
                  <a:lnTo>
                    <a:pt x="126778" y="35147"/>
                  </a:lnTo>
                  <a:lnTo>
                    <a:pt x="122682" y="32004"/>
                  </a:lnTo>
                  <a:lnTo>
                    <a:pt x="130683" y="24384"/>
                  </a:lnTo>
                  <a:lnTo>
                    <a:pt x="121634" y="19907"/>
                  </a:lnTo>
                  <a:lnTo>
                    <a:pt x="122396" y="13240"/>
                  </a:lnTo>
                  <a:lnTo>
                    <a:pt x="118777" y="3238"/>
                  </a:lnTo>
                  <a:lnTo>
                    <a:pt x="112395" y="381"/>
                  </a:lnTo>
                  <a:lnTo>
                    <a:pt x="110299" y="4096"/>
                  </a:lnTo>
                  <a:lnTo>
                    <a:pt x="111347" y="8287"/>
                  </a:lnTo>
                  <a:lnTo>
                    <a:pt x="104108" y="12192"/>
                  </a:lnTo>
                  <a:lnTo>
                    <a:pt x="92773" y="8477"/>
                  </a:lnTo>
                  <a:lnTo>
                    <a:pt x="86297" y="15335"/>
                  </a:lnTo>
                  <a:lnTo>
                    <a:pt x="81439" y="9049"/>
                  </a:lnTo>
                  <a:lnTo>
                    <a:pt x="77724" y="8763"/>
                  </a:lnTo>
                  <a:lnTo>
                    <a:pt x="74676" y="13240"/>
                  </a:lnTo>
                  <a:lnTo>
                    <a:pt x="68961" y="10096"/>
                  </a:lnTo>
                  <a:lnTo>
                    <a:pt x="72390" y="4858"/>
                  </a:lnTo>
                  <a:lnTo>
                    <a:pt x="62674" y="5524"/>
                  </a:lnTo>
                  <a:lnTo>
                    <a:pt x="58198" y="3905"/>
                  </a:lnTo>
                  <a:lnTo>
                    <a:pt x="51816" y="7239"/>
                  </a:lnTo>
                  <a:lnTo>
                    <a:pt x="42958" y="1333"/>
                  </a:lnTo>
                  <a:lnTo>
                    <a:pt x="38481" y="4286"/>
                  </a:lnTo>
                  <a:lnTo>
                    <a:pt x="36385" y="190"/>
                  </a:lnTo>
                  <a:lnTo>
                    <a:pt x="25146" y="0"/>
                  </a:lnTo>
                  <a:lnTo>
                    <a:pt x="26479" y="7239"/>
                  </a:lnTo>
                  <a:lnTo>
                    <a:pt x="20003" y="9334"/>
                  </a:lnTo>
                  <a:lnTo>
                    <a:pt x="25717" y="14573"/>
                  </a:lnTo>
                  <a:lnTo>
                    <a:pt x="25146" y="19621"/>
                  </a:lnTo>
                  <a:lnTo>
                    <a:pt x="14859" y="18764"/>
                  </a:lnTo>
                  <a:lnTo>
                    <a:pt x="4477" y="23813"/>
                  </a:lnTo>
                  <a:lnTo>
                    <a:pt x="0" y="33338"/>
                  </a:lnTo>
                  <a:lnTo>
                    <a:pt x="0" y="33433"/>
                  </a:lnTo>
                  <a:lnTo>
                    <a:pt x="26003" y="54578"/>
                  </a:lnTo>
                  <a:lnTo>
                    <a:pt x="25336" y="63437"/>
                  </a:lnTo>
                  <a:lnTo>
                    <a:pt x="33528" y="66389"/>
                  </a:lnTo>
                  <a:lnTo>
                    <a:pt x="33528" y="72676"/>
                  </a:lnTo>
                  <a:lnTo>
                    <a:pt x="39052" y="71914"/>
                  </a:lnTo>
                  <a:lnTo>
                    <a:pt x="39815" y="66008"/>
                  </a:lnTo>
                  <a:lnTo>
                    <a:pt x="45053" y="66008"/>
                  </a:lnTo>
                  <a:lnTo>
                    <a:pt x="48863" y="56197"/>
                  </a:lnTo>
                  <a:lnTo>
                    <a:pt x="53530" y="54102"/>
                  </a:lnTo>
                  <a:lnTo>
                    <a:pt x="57912" y="56959"/>
                  </a:lnTo>
                  <a:lnTo>
                    <a:pt x="61817" y="53626"/>
                  </a:lnTo>
                  <a:lnTo>
                    <a:pt x="74676" y="53626"/>
                  </a:lnTo>
                  <a:lnTo>
                    <a:pt x="84392" y="64960"/>
                  </a:lnTo>
                  <a:lnTo>
                    <a:pt x="82296" y="70104"/>
                  </a:lnTo>
                  <a:lnTo>
                    <a:pt x="86963" y="71438"/>
                  </a:lnTo>
                  <a:lnTo>
                    <a:pt x="85344" y="75247"/>
                  </a:lnTo>
                  <a:lnTo>
                    <a:pt x="87916" y="77819"/>
                  </a:lnTo>
                  <a:lnTo>
                    <a:pt x="82582" y="84868"/>
                  </a:lnTo>
                  <a:lnTo>
                    <a:pt x="88106" y="86868"/>
                  </a:lnTo>
                  <a:lnTo>
                    <a:pt x="92107" y="82963"/>
                  </a:lnTo>
                  <a:lnTo>
                    <a:pt x="94774" y="83058"/>
                  </a:lnTo>
                  <a:lnTo>
                    <a:pt x="97917" y="83153"/>
                  </a:lnTo>
                  <a:lnTo>
                    <a:pt x="99631" y="85439"/>
                  </a:lnTo>
                  <a:lnTo>
                    <a:pt x="104299" y="81820"/>
                  </a:lnTo>
                  <a:lnTo>
                    <a:pt x="109347" y="85249"/>
                  </a:lnTo>
                  <a:lnTo>
                    <a:pt x="107918" y="88773"/>
                  </a:lnTo>
                  <a:lnTo>
                    <a:pt x="110299" y="92012"/>
                  </a:lnTo>
                  <a:lnTo>
                    <a:pt x="109538" y="95536"/>
                  </a:lnTo>
                  <a:lnTo>
                    <a:pt x="111823" y="97822"/>
                  </a:lnTo>
                  <a:lnTo>
                    <a:pt x="109347" y="105632"/>
                  </a:lnTo>
                  <a:lnTo>
                    <a:pt x="114491" y="104775"/>
                  </a:lnTo>
                  <a:lnTo>
                    <a:pt x="116872" y="109061"/>
                  </a:lnTo>
                  <a:lnTo>
                    <a:pt x="122111" y="107347"/>
                  </a:lnTo>
                  <a:lnTo>
                    <a:pt x="124016" y="98774"/>
                  </a:lnTo>
                  <a:lnTo>
                    <a:pt x="128111" y="98679"/>
                  </a:lnTo>
                  <a:lnTo>
                    <a:pt x="128778" y="101060"/>
                  </a:lnTo>
                  <a:lnTo>
                    <a:pt x="128873" y="100774"/>
                  </a:lnTo>
                  <a:lnTo>
                    <a:pt x="134779" y="102108"/>
                  </a:lnTo>
                  <a:lnTo>
                    <a:pt x="135541" y="95440"/>
                  </a:lnTo>
                  <a:lnTo>
                    <a:pt x="138684" y="92012"/>
                  </a:lnTo>
                  <a:lnTo>
                    <a:pt x="132683" y="88487"/>
                  </a:lnTo>
                  <a:lnTo>
                    <a:pt x="134779" y="83534"/>
                  </a:lnTo>
                  <a:lnTo>
                    <a:pt x="145351" y="8686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7" name="Freeform: Shape 2777">
              <a:extLst>
                <a:ext uri="{FF2B5EF4-FFF2-40B4-BE49-F238E27FC236}">
                  <a16:creationId xmlns:a16="http://schemas.microsoft.com/office/drawing/2014/main" id="{D41BC527-9292-E84E-504B-05E20DF4A212}"/>
                </a:ext>
              </a:extLst>
            </p:cNvPr>
            <p:cNvSpPr/>
            <p:nvPr/>
          </p:nvSpPr>
          <p:spPr>
            <a:xfrm>
              <a:off x="1679543" y="4387723"/>
              <a:ext cx="86963" cy="128111"/>
            </a:xfrm>
            <a:custGeom>
              <a:avLst/>
              <a:gdLst>
                <a:gd name="connsiteX0" fmla="*/ 23336 w 86963"/>
                <a:gd name="connsiteY0" fmla="*/ 128111 h 128111"/>
                <a:gd name="connsiteX1" fmla="*/ 86963 w 86963"/>
                <a:gd name="connsiteY1" fmla="*/ 101632 h 128111"/>
                <a:gd name="connsiteX2" fmla="*/ 86963 w 86963"/>
                <a:gd name="connsiteY2" fmla="*/ 101632 h 128111"/>
                <a:gd name="connsiteX3" fmla="*/ 74676 w 86963"/>
                <a:gd name="connsiteY3" fmla="*/ 86773 h 128111"/>
                <a:gd name="connsiteX4" fmla="*/ 79343 w 86963"/>
                <a:gd name="connsiteY4" fmla="*/ 74866 h 128111"/>
                <a:gd name="connsiteX5" fmla="*/ 74676 w 86963"/>
                <a:gd name="connsiteY5" fmla="*/ 73819 h 128111"/>
                <a:gd name="connsiteX6" fmla="*/ 74676 w 86963"/>
                <a:gd name="connsiteY6" fmla="*/ 62008 h 128111"/>
                <a:gd name="connsiteX7" fmla="*/ 79343 w 86963"/>
                <a:gd name="connsiteY7" fmla="*/ 57340 h 128111"/>
                <a:gd name="connsiteX8" fmla="*/ 71628 w 86963"/>
                <a:gd name="connsiteY8" fmla="*/ 50101 h 128111"/>
                <a:gd name="connsiteX9" fmla="*/ 75247 w 86963"/>
                <a:gd name="connsiteY9" fmla="*/ 34671 h 128111"/>
                <a:gd name="connsiteX10" fmla="*/ 68008 w 86963"/>
                <a:gd name="connsiteY10" fmla="*/ 34671 h 128111"/>
                <a:gd name="connsiteX11" fmla="*/ 70580 w 86963"/>
                <a:gd name="connsiteY11" fmla="*/ 18669 h 128111"/>
                <a:gd name="connsiteX12" fmla="*/ 61246 w 86963"/>
                <a:gd name="connsiteY12" fmla="*/ 11620 h 128111"/>
                <a:gd name="connsiteX13" fmla="*/ 64389 w 86963"/>
                <a:gd name="connsiteY13" fmla="*/ 1619 h 128111"/>
                <a:gd name="connsiteX14" fmla="*/ 64484 w 86963"/>
                <a:gd name="connsiteY14" fmla="*/ 1524 h 128111"/>
                <a:gd name="connsiteX15" fmla="*/ 58769 w 86963"/>
                <a:gd name="connsiteY15" fmla="*/ 0 h 128111"/>
                <a:gd name="connsiteX16" fmla="*/ 53149 w 86963"/>
                <a:gd name="connsiteY16" fmla="*/ 6096 h 128111"/>
                <a:gd name="connsiteX17" fmla="*/ 50292 w 86963"/>
                <a:gd name="connsiteY17" fmla="*/ 3334 h 128111"/>
                <a:gd name="connsiteX18" fmla="*/ 8287 w 86963"/>
                <a:gd name="connsiteY18" fmla="*/ 3334 h 128111"/>
                <a:gd name="connsiteX19" fmla="*/ 6572 w 86963"/>
                <a:gd name="connsiteY19" fmla="*/ 11430 h 128111"/>
                <a:gd name="connsiteX20" fmla="*/ 10001 w 86963"/>
                <a:gd name="connsiteY20" fmla="*/ 14288 h 128111"/>
                <a:gd name="connsiteX21" fmla="*/ 8287 w 86963"/>
                <a:gd name="connsiteY21" fmla="*/ 17335 h 128111"/>
                <a:gd name="connsiteX22" fmla="*/ 10382 w 86963"/>
                <a:gd name="connsiteY22" fmla="*/ 20288 h 128111"/>
                <a:gd name="connsiteX23" fmla="*/ 9620 w 86963"/>
                <a:gd name="connsiteY23" fmla="*/ 28384 h 128111"/>
                <a:gd name="connsiteX24" fmla="*/ 12954 w 86963"/>
                <a:gd name="connsiteY24" fmla="*/ 33814 h 128111"/>
                <a:gd name="connsiteX25" fmla="*/ 9430 w 86963"/>
                <a:gd name="connsiteY25" fmla="*/ 42481 h 128111"/>
                <a:gd name="connsiteX26" fmla="*/ 13906 w 86963"/>
                <a:gd name="connsiteY26" fmla="*/ 43815 h 128111"/>
                <a:gd name="connsiteX27" fmla="*/ 16383 w 86963"/>
                <a:gd name="connsiteY27" fmla="*/ 59150 h 128111"/>
                <a:gd name="connsiteX28" fmla="*/ 10001 w 86963"/>
                <a:gd name="connsiteY28" fmla="*/ 64008 h 128111"/>
                <a:gd name="connsiteX29" fmla="*/ 7144 w 86963"/>
                <a:gd name="connsiteY29" fmla="*/ 81534 h 128111"/>
                <a:gd name="connsiteX30" fmla="*/ 2857 w 86963"/>
                <a:gd name="connsiteY30" fmla="*/ 80963 h 128111"/>
                <a:gd name="connsiteX31" fmla="*/ 0 w 86963"/>
                <a:gd name="connsiteY31" fmla="*/ 90868 h 128111"/>
                <a:gd name="connsiteX32" fmla="*/ 5143 w 86963"/>
                <a:gd name="connsiteY32" fmla="*/ 109823 h 128111"/>
                <a:gd name="connsiteX33" fmla="*/ 10001 w 86963"/>
                <a:gd name="connsiteY33" fmla="*/ 110395 h 128111"/>
                <a:gd name="connsiteX34" fmla="*/ 11335 w 86963"/>
                <a:gd name="connsiteY34" fmla="*/ 120872 h 128111"/>
                <a:gd name="connsiteX35" fmla="*/ 3334 w 86963"/>
                <a:gd name="connsiteY35" fmla="*/ 120872 h 128111"/>
                <a:gd name="connsiteX36" fmla="*/ 3238 w 86963"/>
                <a:gd name="connsiteY36" fmla="*/ 121158 h 128111"/>
                <a:gd name="connsiteX37" fmla="*/ 23336 w 86963"/>
                <a:gd name="connsiteY37" fmla="*/ 128111 h 12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6963" h="128111">
                  <a:moveTo>
                    <a:pt x="23336" y="128111"/>
                  </a:moveTo>
                  <a:lnTo>
                    <a:pt x="86963" y="101632"/>
                  </a:lnTo>
                  <a:lnTo>
                    <a:pt x="86963" y="101632"/>
                  </a:lnTo>
                  <a:lnTo>
                    <a:pt x="74676" y="86773"/>
                  </a:lnTo>
                  <a:lnTo>
                    <a:pt x="79343" y="74866"/>
                  </a:lnTo>
                  <a:lnTo>
                    <a:pt x="74676" y="73819"/>
                  </a:lnTo>
                  <a:lnTo>
                    <a:pt x="74676" y="62008"/>
                  </a:lnTo>
                  <a:lnTo>
                    <a:pt x="79343" y="57340"/>
                  </a:lnTo>
                  <a:lnTo>
                    <a:pt x="71628" y="50101"/>
                  </a:lnTo>
                  <a:lnTo>
                    <a:pt x="75247" y="34671"/>
                  </a:lnTo>
                  <a:lnTo>
                    <a:pt x="68008" y="34671"/>
                  </a:lnTo>
                  <a:lnTo>
                    <a:pt x="70580" y="18669"/>
                  </a:lnTo>
                  <a:lnTo>
                    <a:pt x="61246" y="11620"/>
                  </a:lnTo>
                  <a:lnTo>
                    <a:pt x="64389" y="1619"/>
                  </a:lnTo>
                  <a:lnTo>
                    <a:pt x="64484" y="1524"/>
                  </a:lnTo>
                  <a:lnTo>
                    <a:pt x="58769" y="0"/>
                  </a:lnTo>
                  <a:lnTo>
                    <a:pt x="53149" y="6096"/>
                  </a:lnTo>
                  <a:lnTo>
                    <a:pt x="50292" y="3334"/>
                  </a:lnTo>
                  <a:lnTo>
                    <a:pt x="8287" y="3334"/>
                  </a:lnTo>
                  <a:lnTo>
                    <a:pt x="6572" y="11430"/>
                  </a:lnTo>
                  <a:lnTo>
                    <a:pt x="10001" y="14288"/>
                  </a:lnTo>
                  <a:lnTo>
                    <a:pt x="8287" y="17335"/>
                  </a:lnTo>
                  <a:lnTo>
                    <a:pt x="10382" y="20288"/>
                  </a:lnTo>
                  <a:lnTo>
                    <a:pt x="9620" y="28384"/>
                  </a:lnTo>
                  <a:lnTo>
                    <a:pt x="12954" y="33814"/>
                  </a:lnTo>
                  <a:lnTo>
                    <a:pt x="9430" y="42481"/>
                  </a:lnTo>
                  <a:lnTo>
                    <a:pt x="13906" y="43815"/>
                  </a:lnTo>
                  <a:lnTo>
                    <a:pt x="16383" y="59150"/>
                  </a:lnTo>
                  <a:lnTo>
                    <a:pt x="10001" y="64008"/>
                  </a:lnTo>
                  <a:lnTo>
                    <a:pt x="7144" y="81534"/>
                  </a:lnTo>
                  <a:lnTo>
                    <a:pt x="2857" y="80963"/>
                  </a:lnTo>
                  <a:lnTo>
                    <a:pt x="0" y="90868"/>
                  </a:lnTo>
                  <a:lnTo>
                    <a:pt x="5143" y="109823"/>
                  </a:lnTo>
                  <a:lnTo>
                    <a:pt x="10001" y="110395"/>
                  </a:lnTo>
                  <a:lnTo>
                    <a:pt x="11335" y="120872"/>
                  </a:lnTo>
                  <a:lnTo>
                    <a:pt x="3334" y="120872"/>
                  </a:lnTo>
                  <a:lnTo>
                    <a:pt x="3238" y="121158"/>
                  </a:lnTo>
                  <a:lnTo>
                    <a:pt x="23336" y="12811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8" name="Freeform: Shape 2778">
              <a:extLst>
                <a:ext uri="{FF2B5EF4-FFF2-40B4-BE49-F238E27FC236}">
                  <a16:creationId xmlns:a16="http://schemas.microsoft.com/office/drawing/2014/main" id="{DF1CC564-DE85-300D-E32D-1DD40A1B6EEB}"/>
                </a:ext>
              </a:extLst>
            </p:cNvPr>
            <p:cNvSpPr/>
            <p:nvPr/>
          </p:nvSpPr>
          <p:spPr>
            <a:xfrm>
              <a:off x="1413605" y="4330668"/>
              <a:ext cx="58102" cy="18192"/>
            </a:xfrm>
            <a:custGeom>
              <a:avLst/>
              <a:gdLst>
                <a:gd name="connsiteX0" fmla="*/ 18002 w 58102"/>
                <a:gd name="connsiteY0" fmla="*/ 14002 h 18192"/>
                <a:gd name="connsiteX1" fmla="*/ 29242 w 58102"/>
                <a:gd name="connsiteY1" fmla="*/ 14002 h 18192"/>
                <a:gd name="connsiteX2" fmla="*/ 30766 w 58102"/>
                <a:gd name="connsiteY2" fmla="*/ 10668 h 18192"/>
                <a:gd name="connsiteX3" fmla="*/ 37243 w 58102"/>
                <a:gd name="connsiteY3" fmla="*/ 14002 h 18192"/>
                <a:gd name="connsiteX4" fmla="*/ 47816 w 58102"/>
                <a:gd name="connsiteY4" fmla="*/ 16478 h 18192"/>
                <a:gd name="connsiteX5" fmla="*/ 58103 w 58102"/>
                <a:gd name="connsiteY5" fmla="*/ 14383 h 18192"/>
                <a:gd name="connsiteX6" fmla="*/ 54769 w 58102"/>
                <a:gd name="connsiteY6" fmla="*/ 5905 h 18192"/>
                <a:gd name="connsiteX7" fmla="*/ 47434 w 58102"/>
                <a:gd name="connsiteY7" fmla="*/ 8287 h 18192"/>
                <a:gd name="connsiteX8" fmla="*/ 42863 w 58102"/>
                <a:gd name="connsiteY8" fmla="*/ 3715 h 18192"/>
                <a:gd name="connsiteX9" fmla="*/ 38957 w 58102"/>
                <a:gd name="connsiteY9" fmla="*/ 5525 h 18192"/>
                <a:gd name="connsiteX10" fmla="*/ 37243 w 58102"/>
                <a:gd name="connsiteY10" fmla="*/ 1524 h 18192"/>
                <a:gd name="connsiteX11" fmla="*/ 32766 w 58102"/>
                <a:gd name="connsiteY11" fmla="*/ 0 h 18192"/>
                <a:gd name="connsiteX12" fmla="*/ 28861 w 58102"/>
                <a:gd name="connsiteY12" fmla="*/ 2572 h 18192"/>
                <a:gd name="connsiteX13" fmla="*/ 26575 w 58102"/>
                <a:gd name="connsiteY13" fmla="*/ 1143 h 18192"/>
                <a:gd name="connsiteX14" fmla="*/ 21717 w 58102"/>
                <a:gd name="connsiteY14" fmla="*/ 6096 h 18192"/>
                <a:gd name="connsiteX15" fmla="*/ 11240 w 58102"/>
                <a:gd name="connsiteY15" fmla="*/ 6096 h 18192"/>
                <a:gd name="connsiteX16" fmla="*/ 571 w 58102"/>
                <a:gd name="connsiteY16" fmla="*/ 12573 h 18192"/>
                <a:gd name="connsiteX17" fmla="*/ 0 w 58102"/>
                <a:gd name="connsiteY17" fmla="*/ 18193 h 18192"/>
                <a:gd name="connsiteX18" fmla="*/ 18002 w 58102"/>
                <a:gd name="connsiteY18" fmla="*/ 18193 h 18192"/>
                <a:gd name="connsiteX19" fmla="*/ 18002 w 58102"/>
                <a:gd name="connsiteY19" fmla="*/ 14002 h 1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102" h="18192">
                  <a:moveTo>
                    <a:pt x="18002" y="14002"/>
                  </a:moveTo>
                  <a:lnTo>
                    <a:pt x="29242" y="14002"/>
                  </a:lnTo>
                  <a:lnTo>
                    <a:pt x="30766" y="10668"/>
                  </a:lnTo>
                  <a:lnTo>
                    <a:pt x="37243" y="14002"/>
                  </a:lnTo>
                  <a:lnTo>
                    <a:pt x="47816" y="16478"/>
                  </a:lnTo>
                  <a:lnTo>
                    <a:pt x="58103" y="14383"/>
                  </a:lnTo>
                  <a:lnTo>
                    <a:pt x="54769" y="5905"/>
                  </a:lnTo>
                  <a:lnTo>
                    <a:pt x="47434" y="8287"/>
                  </a:lnTo>
                  <a:lnTo>
                    <a:pt x="42863" y="3715"/>
                  </a:lnTo>
                  <a:lnTo>
                    <a:pt x="38957" y="5525"/>
                  </a:lnTo>
                  <a:lnTo>
                    <a:pt x="37243" y="1524"/>
                  </a:lnTo>
                  <a:lnTo>
                    <a:pt x="32766" y="0"/>
                  </a:lnTo>
                  <a:lnTo>
                    <a:pt x="28861" y="2572"/>
                  </a:lnTo>
                  <a:lnTo>
                    <a:pt x="26575" y="1143"/>
                  </a:lnTo>
                  <a:lnTo>
                    <a:pt x="21717" y="6096"/>
                  </a:lnTo>
                  <a:lnTo>
                    <a:pt x="11240" y="6096"/>
                  </a:lnTo>
                  <a:lnTo>
                    <a:pt x="571" y="12573"/>
                  </a:lnTo>
                  <a:lnTo>
                    <a:pt x="0" y="18193"/>
                  </a:lnTo>
                  <a:lnTo>
                    <a:pt x="18002" y="18193"/>
                  </a:lnTo>
                  <a:lnTo>
                    <a:pt x="18002" y="1400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89" name="Freeform: Shape 2779">
              <a:extLst>
                <a:ext uri="{FF2B5EF4-FFF2-40B4-BE49-F238E27FC236}">
                  <a16:creationId xmlns:a16="http://schemas.microsoft.com/office/drawing/2014/main" id="{495786E3-491C-82DA-1D9D-3CA6C3436C9E}"/>
                </a:ext>
              </a:extLst>
            </p:cNvPr>
            <p:cNvSpPr/>
            <p:nvPr/>
          </p:nvSpPr>
          <p:spPr>
            <a:xfrm>
              <a:off x="1916906" y="4562125"/>
              <a:ext cx="114109" cy="125920"/>
            </a:xfrm>
            <a:custGeom>
              <a:avLst/>
              <a:gdLst>
                <a:gd name="connsiteX0" fmla="*/ 21527 w 114109"/>
                <a:gd name="connsiteY0" fmla="*/ 27622 h 125920"/>
                <a:gd name="connsiteX1" fmla="*/ 21431 w 114109"/>
                <a:gd name="connsiteY1" fmla="*/ 27717 h 125920"/>
                <a:gd name="connsiteX2" fmla="*/ 6096 w 114109"/>
                <a:gd name="connsiteY2" fmla="*/ 64008 h 125920"/>
                <a:gd name="connsiteX3" fmla="*/ 0 w 114109"/>
                <a:gd name="connsiteY3" fmla="*/ 60007 h 125920"/>
                <a:gd name="connsiteX4" fmla="*/ 16383 w 114109"/>
                <a:gd name="connsiteY4" fmla="*/ 93916 h 125920"/>
                <a:gd name="connsiteX5" fmla="*/ 27718 w 114109"/>
                <a:gd name="connsiteY5" fmla="*/ 94202 h 125920"/>
                <a:gd name="connsiteX6" fmla="*/ 21812 w 114109"/>
                <a:gd name="connsiteY6" fmla="*/ 97822 h 125920"/>
                <a:gd name="connsiteX7" fmla="*/ 46768 w 114109"/>
                <a:gd name="connsiteY7" fmla="*/ 125921 h 125920"/>
                <a:gd name="connsiteX8" fmla="*/ 46768 w 114109"/>
                <a:gd name="connsiteY8" fmla="*/ 125921 h 125920"/>
                <a:gd name="connsiteX9" fmla="*/ 54007 w 114109"/>
                <a:gd name="connsiteY9" fmla="*/ 115633 h 125920"/>
                <a:gd name="connsiteX10" fmla="*/ 58674 w 114109"/>
                <a:gd name="connsiteY10" fmla="*/ 121348 h 125920"/>
                <a:gd name="connsiteX11" fmla="*/ 64579 w 114109"/>
                <a:gd name="connsiteY11" fmla="*/ 121063 h 125920"/>
                <a:gd name="connsiteX12" fmla="*/ 63056 w 114109"/>
                <a:gd name="connsiteY12" fmla="*/ 117443 h 125920"/>
                <a:gd name="connsiteX13" fmla="*/ 64865 w 114109"/>
                <a:gd name="connsiteY13" fmla="*/ 112300 h 125920"/>
                <a:gd name="connsiteX14" fmla="*/ 59436 w 114109"/>
                <a:gd name="connsiteY14" fmla="*/ 110204 h 125920"/>
                <a:gd name="connsiteX15" fmla="*/ 60769 w 114109"/>
                <a:gd name="connsiteY15" fmla="*/ 107061 h 125920"/>
                <a:gd name="connsiteX16" fmla="*/ 55054 w 114109"/>
                <a:gd name="connsiteY16" fmla="*/ 103251 h 125920"/>
                <a:gd name="connsiteX17" fmla="*/ 57340 w 114109"/>
                <a:gd name="connsiteY17" fmla="*/ 99346 h 125920"/>
                <a:gd name="connsiteX18" fmla="*/ 55340 w 114109"/>
                <a:gd name="connsiteY18" fmla="*/ 91345 h 125920"/>
                <a:gd name="connsiteX19" fmla="*/ 62675 w 114109"/>
                <a:gd name="connsiteY19" fmla="*/ 94107 h 125920"/>
                <a:gd name="connsiteX20" fmla="*/ 75057 w 114109"/>
                <a:gd name="connsiteY20" fmla="*/ 93345 h 125920"/>
                <a:gd name="connsiteX21" fmla="*/ 73533 w 114109"/>
                <a:gd name="connsiteY21" fmla="*/ 85154 h 125920"/>
                <a:gd name="connsiteX22" fmla="*/ 79343 w 114109"/>
                <a:gd name="connsiteY22" fmla="*/ 82486 h 125920"/>
                <a:gd name="connsiteX23" fmla="*/ 85535 w 114109"/>
                <a:gd name="connsiteY23" fmla="*/ 94107 h 125920"/>
                <a:gd name="connsiteX24" fmla="*/ 93250 w 114109"/>
                <a:gd name="connsiteY24" fmla="*/ 95631 h 125920"/>
                <a:gd name="connsiteX25" fmla="*/ 100203 w 114109"/>
                <a:gd name="connsiteY25" fmla="*/ 89059 h 125920"/>
                <a:gd name="connsiteX26" fmla="*/ 101727 w 114109"/>
                <a:gd name="connsiteY26" fmla="*/ 97155 h 125920"/>
                <a:gd name="connsiteX27" fmla="*/ 109061 w 114109"/>
                <a:gd name="connsiteY27" fmla="*/ 95631 h 125920"/>
                <a:gd name="connsiteX28" fmla="*/ 110681 w 114109"/>
                <a:gd name="connsiteY28" fmla="*/ 86296 h 125920"/>
                <a:gd name="connsiteX29" fmla="*/ 114110 w 114109"/>
                <a:gd name="connsiteY29" fmla="*/ 82486 h 125920"/>
                <a:gd name="connsiteX30" fmla="*/ 112204 w 114109"/>
                <a:gd name="connsiteY30" fmla="*/ 68961 h 125920"/>
                <a:gd name="connsiteX31" fmla="*/ 113729 w 114109"/>
                <a:gd name="connsiteY31" fmla="*/ 57721 h 125920"/>
                <a:gd name="connsiteX32" fmla="*/ 100965 w 114109"/>
                <a:gd name="connsiteY32" fmla="*/ 51149 h 125920"/>
                <a:gd name="connsiteX33" fmla="*/ 104870 w 114109"/>
                <a:gd name="connsiteY33" fmla="*/ 36766 h 125920"/>
                <a:gd name="connsiteX34" fmla="*/ 111062 w 114109"/>
                <a:gd name="connsiteY34" fmla="*/ 36766 h 125920"/>
                <a:gd name="connsiteX35" fmla="*/ 114110 w 114109"/>
                <a:gd name="connsiteY35" fmla="*/ 30194 h 125920"/>
                <a:gd name="connsiteX36" fmla="*/ 109061 w 114109"/>
                <a:gd name="connsiteY36" fmla="*/ 20574 h 125920"/>
                <a:gd name="connsiteX37" fmla="*/ 99822 w 114109"/>
                <a:gd name="connsiteY37" fmla="*/ 19050 h 125920"/>
                <a:gd name="connsiteX38" fmla="*/ 87821 w 114109"/>
                <a:gd name="connsiteY38" fmla="*/ 23241 h 125920"/>
                <a:gd name="connsiteX39" fmla="*/ 87058 w 114109"/>
                <a:gd name="connsiteY39" fmla="*/ 11621 h 125920"/>
                <a:gd name="connsiteX40" fmla="*/ 90964 w 114109"/>
                <a:gd name="connsiteY40" fmla="*/ 4477 h 125920"/>
                <a:gd name="connsiteX41" fmla="*/ 89154 w 114109"/>
                <a:gd name="connsiteY41" fmla="*/ 1048 h 125920"/>
                <a:gd name="connsiteX42" fmla="*/ 81629 w 114109"/>
                <a:gd name="connsiteY42" fmla="*/ 3143 h 125920"/>
                <a:gd name="connsiteX43" fmla="*/ 72866 w 114109"/>
                <a:gd name="connsiteY43" fmla="*/ 0 h 125920"/>
                <a:gd name="connsiteX44" fmla="*/ 67723 w 114109"/>
                <a:gd name="connsiteY44" fmla="*/ 2857 h 125920"/>
                <a:gd name="connsiteX45" fmla="*/ 51721 w 114109"/>
                <a:gd name="connsiteY45" fmla="*/ 857 h 125920"/>
                <a:gd name="connsiteX46" fmla="*/ 51721 w 114109"/>
                <a:gd name="connsiteY46" fmla="*/ 4667 h 125920"/>
                <a:gd name="connsiteX47" fmla="*/ 51721 w 114109"/>
                <a:gd name="connsiteY47" fmla="*/ 27622 h 125920"/>
                <a:gd name="connsiteX48" fmla="*/ 21527 w 114109"/>
                <a:gd name="connsiteY48" fmla="*/ 27622 h 12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4109" h="125920">
                  <a:moveTo>
                    <a:pt x="21527" y="27622"/>
                  </a:moveTo>
                  <a:lnTo>
                    <a:pt x="21431" y="27717"/>
                  </a:lnTo>
                  <a:lnTo>
                    <a:pt x="6096" y="64008"/>
                  </a:lnTo>
                  <a:lnTo>
                    <a:pt x="0" y="60007"/>
                  </a:lnTo>
                  <a:lnTo>
                    <a:pt x="16383" y="93916"/>
                  </a:lnTo>
                  <a:lnTo>
                    <a:pt x="27718" y="94202"/>
                  </a:lnTo>
                  <a:lnTo>
                    <a:pt x="21812" y="97822"/>
                  </a:lnTo>
                  <a:lnTo>
                    <a:pt x="46768" y="125921"/>
                  </a:lnTo>
                  <a:lnTo>
                    <a:pt x="46768" y="125921"/>
                  </a:lnTo>
                  <a:lnTo>
                    <a:pt x="54007" y="115633"/>
                  </a:lnTo>
                  <a:lnTo>
                    <a:pt x="58674" y="121348"/>
                  </a:lnTo>
                  <a:lnTo>
                    <a:pt x="64579" y="121063"/>
                  </a:lnTo>
                  <a:lnTo>
                    <a:pt x="63056" y="117443"/>
                  </a:lnTo>
                  <a:lnTo>
                    <a:pt x="64865" y="112300"/>
                  </a:lnTo>
                  <a:lnTo>
                    <a:pt x="59436" y="110204"/>
                  </a:lnTo>
                  <a:lnTo>
                    <a:pt x="60769" y="107061"/>
                  </a:lnTo>
                  <a:lnTo>
                    <a:pt x="55054" y="103251"/>
                  </a:lnTo>
                  <a:lnTo>
                    <a:pt x="57340" y="99346"/>
                  </a:lnTo>
                  <a:lnTo>
                    <a:pt x="55340" y="91345"/>
                  </a:lnTo>
                  <a:lnTo>
                    <a:pt x="62675" y="94107"/>
                  </a:lnTo>
                  <a:lnTo>
                    <a:pt x="75057" y="93345"/>
                  </a:lnTo>
                  <a:lnTo>
                    <a:pt x="73533" y="85154"/>
                  </a:lnTo>
                  <a:lnTo>
                    <a:pt x="79343" y="82486"/>
                  </a:lnTo>
                  <a:lnTo>
                    <a:pt x="85535" y="94107"/>
                  </a:lnTo>
                  <a:lnTo>
                    <a:pt x="93250" y="95631"/>
                  </a:lnTo>
                  <a:lnTo>
                    <a:pt x="100203" y="89059"/>
                  </a:lnTo>
                  <a:lnTo>
                    <a:pt x="101727" y="97155"/>
                  </a:lnTo>
                  <a:lnTo>
                    <a:pt x="109061" y="95631"/>
                  </a:lnTo>
                  <a:lnTo>
                    <a:pt x="110681" y="86296"/>
                  </a:lnTo>
                  <a:lnTo>
                    <a:pt x="114110" y="82486"/>
                  </a:lnTo>
                  <a:lnTo>
                    <a:pt x="112204" y="68961"/>
                  </a:lnTo>
                  <a:lnTo>
                    <a:pt x="113729" y="57721"/>
                  </a:lnTo>
                  <a:lnTo>
                    <a:pt x="100965" y="51149"/>
                  </a:lnTo>
                  <a:lnTo>
                    <a:pt x="104870" y="36766"/>
                  </a:lnTo>
                  <a:lnTo>
                    <a:pt x="111062" y="36766"/>
                  </a:lnTo>
                  <a:lnTo>
                    <a:pt x="114110" y="30194"/>
                  </a:lnTo>
                  <a:lnTo>
                    <a:pt x="109061" y="20574"/>
                  </a:lnTo>
                  <a:lnTo>
                    <a:pt x="99822" y="19050"/>
                  </a:lnTo>
                  <a:lnTo>
                    <a:pt x="87821" y="23241"/>
                  </a:lnTo>
                  <a:lnTo>
                    <a:pt x="87058" y="11621"/>
                  </a:lnTo>
                  <a:lnTo>
                    <a:pt x="90964" y="4477"/>
                  </a:lnTo>
                  <a:lnTo>
                    <a:pt x="89154" y="1048"/>
                  </a:lnTo>
                  <a:lnTo>
                    <a:pt x="81629" y="3143"/>
                  </a:lnTo>
                  <a:lnTo>
                    <a:pt x="72866" y="0"/>
                  </a:lnTo>
                  <a:lnTo>
                    <a:pt x="67723" y="2857"/>
                  </a:lnTo>
                  <a:lnTo>
                    <a:pt x="51721" y="857"/>
                  </a:lnTo>
                  <a:lnTo>
                    <a:pt x="51721" y="4667"/>
                  </a:lnTo>
                  <a:lnTo>
                    <a:pt x="51721" y="27622"/>
                  </a:lnTo>
                  <a:lnTo>
                    <a:pt x="21527" y="2762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0" name="Freeform: Shape 2780">
              <a:extLst>
                <a:ext uri="{FF2B5EF4-FFF2-40B4-BE49-F238E27FC236}">
                  <a16:creationId xmlns:a16="http://schemas.microsoft.com/office/drawing/2014/main" id="{2BC0298D-FF09-97CE-0129-2CE394DD1DB9}"/>
                </a:ext>
              </a:extLst>
            </p:cNvPr>
            <p:cNvSpPr/>
            <p:nvPr/>
          </p:nvSpPr>
          <p:spPr>
            <a:xfrm>
              <a:off x="2397633" y="4312761"/>
              <a:ext cx="296227" cy="230028"/>
            </a:xfrm>
            <a:custGeom>
              <a:avLst/>
              <a:gdLst>
                <a:gd name="connsiteX0" fmla="*/ 275749 w 296227"/>
                <a:gd name="connsiteY0" fmla="*/ 137160 h 230028"/>
                <a:gd name="connsiteX1" fmla="*/ 218504 w 296227"/>
                <a:gd name="connsiteY1" fmla="*/ 118586 h 230028"/>
                <a:gd name="connsiteX2" fmla="*/ 211931 w 296227"/>
                <a:gd name="connsiteY2" fmla="*/ 111252 h 230028"/>
                <a:gd name="connsiteX3" fmla="*/ 206121 w 296227"/>
                <a:gd name="connsiteY3" fmla="*/ 109347 h 230028"/>
                <a:gd name="connsiteX4" fmla="*/ 190976 w 296227"/>
                <a:gd name="connsiteY4" fmla="*/ 86963 h 230028"/>
                <a:gd name="connsiteX5" fmla="*/ 196787 w 296227"/>
                <a:gd name="connsiteY5" fmla="*/ 79724 h 230028"/>
                <a:gd name="connsiteX6" fmla="*/ 192214 w 296227"/>
                <a:gd name="connsiteY6" fmla="*/ 76391 h 230028"/>
                <a:gd name="connsiteX7" fmla="*/ 173641 w 296227"/>
                <a:gd name="connsiteY7" fmla="*/ 78677 h 230028"/>
                <a:gd name="connsiteX8" fmla="*/ 174403 w 296227"/>
                <a:gd name="connsiteY8" fmla="*/ 64199 h 230028"/>
                <a:gd name="connsiteX9" fmla="*/ 184880 w 296227"/>
                <a:gd name="connsiteY9" fmla="*/ 49054 h 230028"/>
                <a:gd name="connsiteX10" fmla="*/ 174403 w 296227"/>
                <a:gd name="connsiteY10" fmla="*/ 34004 h 230028"/>
                <a:gd name="connsiteX11" fmla="*/ 162782 w 296227"/>
                <a:gd name="connsiteY11" fmla="*/ 28480 h 230028"/>
                <a:gd name="connsiteX12" fmla="*/ 154686 w 296227"/>
                <a:gd name="connsiteY12" fmla="*/ 17050 h 230028"/>
                <a:gd name="connsiteX13" fmla="*/ 140303 w 296227"/>
                <a:gd name="connsiteY13" fmla="*/ 9525 h 230028"/>
                <a:gd name="connsiteX14" fmla="*/ 124111 w 296227"/>
                <a:gd name="connsiteY14" fmla="*/ 8287 h 230028"/>
                <a:gd name="connsiteX15" fmla="*/ 119443 w 296227"/>
                <a:gd name="connsiteY15" fmla="*/ 3620 h 230028"/>
                <a:gd name="connsiteX16" fmla="*/ 107061 w 296227"/>
                <a:gd name="connsiteY16" fmla="*/ 9906 h 230028"/>
                <a:gd name="connsiteX17" fmla="*/ 103537 w 296227"/>
                <a:gd name="connsiteY17" fmla="*/ 2381 h 230028"/>
                <a:gd name="connsiteX18" fmla="*/ 97346 w 296227"/>
                <a:gd name="connsiteY18" fmla="*/ 0 h 230028"/>
                <a:gd name="connsiteX19" fmla="*/ 91154 w 296227"/>
                <a:gd name="connsiteY19" fmla="*/ 16669 h 230028"/>
                <a:gd name="connsiteX20" fmla="*/ 82677 w 296227"/>
                <a:gd name="connsiteY20" fmla="*/ 6382 h 230028"/>
                <a:gd name="connsiteX21" fmla="*/ 78772 w 296227"/>
                <a:gd name="connsiteY21" fmla="*/ 12287 h 230028"/>
                <a:gd name="connsiteX22" fmla="*/ 70675 w 296227"/>
                <a:gd name="connsiteY22" fmla="*/ 12668 h 230028"/>
                <a:gd name="connsiteX23" fmla="*/ 67913 w 296227"/>
                <a:gd name="connsiteY23" fmla="*/ 19050 h 230028"/>
                <a:gd name="connsiteX24" fmla="*/ 68771 w 296227"/>
                <a:gd name="connsiteY24" fmla="*/ 25718 h 230028"/>
                <a:gd name="connsiteX25" fmla="*/ 62960 w 296227"/>
                <a:gd name="connsiteY25" fmla="*/ 32480 h 230028"/>
                <a:gd name="connsiteX26" fmla="*/ 62960 w 296227"/>
                <a:gd name="connsiteY26" fmla="*/ 43529 h 230028"/>
                <a:gd name="connsiteX27" fmla="*/ 53245 w 296227"/>
                <a:gd name="connsiteY27" fmla="*/ 44291 h 230028"/>
                <a:gd name="connsiteX28" fmla="*/ 47054 w 296227"/>
                <a:gd name="connsiteY28" fmla="*/ 58198 h 230028"/>
                <a:gd name="connsiteX29" fmla="*/ 40862 w 296227"/>
                <a:gd name="connsiteY29" fmla="*/ 61722 h 230028"/>
                <a:gd name="connsiteX30" fmla="*/ 38957 w 296227"/>
                <a:gd name="connsiteY30" fmla="*/ 83058 h 230028"/>
                <a:gd name="connsiteX31" fmla="*/ 30385 w 296227"/>
                <a:gd name="connsiteY31" fmla="*/ 81439 h 230028"/>
                <a:gd name="connsiteX32" fmla="*/ 26956 w 296227"/>
                <a:gd name="connsiteY32" fmla="*/ 86963 h 230028"/>
                <a:gd name="connsiteX33" fmla="*/ 29242 w 296227"/>
                <a:gd name="connsiteY33" fmla="*/ 95441 h 230028"/>
                <a:gd name="connsiteX34" fmla="*/ 21908 w 296227"/>
                <a:gd name="connsiteY34" fmla="*/ 108585 h 230028"/>
                <a:gd name="connsiteX35" fmla="*/ 22955 w 296227"/>
                <a:gd name="connsiteY35" fmla="*/ 127635 h 230028"/>
                <a:gd name="connsiteX36" fmla="*/ 18574 w 296227"/>
                <a:gd name="connsiteY36" fmla="*/ 129445 h 230028"/>
                <a:gd name="connsiteX37" fmla="*/ 15430 w 296227"/>
                <a:gd name="connsiteY37" fmla="*/ 132588 h 230028"/>
                <a:gd name="connsiteX38" fmla="*/ 12383 w 296227"/>
                <a:gd name="connsiteY38" fmla="*/ 128397 h 230028"/>
                <a:gd name="connsiteX39" fmla="*/ 3905 w 296227"/>
                <a:gd name="connsiteY39" fmla="*/ 129445 h 230028"/>
                <a:gd name="connsiteX40" fmla="*/ 3905 w 296227"/>
                <a:gd name="connsiteY40" fmla="*/ 135922 h 230028"/>
                <a:gd name="connsiteX41" fmla="*/ 0 w 296227"/>
                <a:gd name="connsiteY41" fmla="*/ 138970 h 230028"/>
                <a:gd name="connsiteX42" fmla="*/ 1524 w 296227"/>
                <a:gd name="connsiteY42" fmla="*/ 143351 h 230028"/>
                <a:gd name="connsiteX43" fmla="*/ 13716 w 296227"/>
                <a:gd name="connsiteY43" fmla="*/ 144113 h 230028"/>
                <a:gd name="connsiteX44" fmla="*/ 20669 w 296227"/>
                <a:gd name="connsiteY44" fmla="*/ 151638 h 230028"/>
                <a:gd name="connsiteX45" fmla="*/ 24193 w 296227"/>
                <a:gd name="connsiteY45" fmla="*/ 153734 h 230028"/>
                <a:gd name="connsiteX46" fmla="*/ 24479 w 296227"/>
                <a:gd name="connsiteY46" fmla="*/ 157829 h 230028"/>
                <a:gd name="connsiteX47" fmla="*/ 34862 w 296227"/>
                <a:gd name="connsiteY47" fmla="*/ 164592 h 230028"/>
                <a:gd name="connsiteX48" fmla="*/ 36576 w 296227"/>
                <a:gd name="connsiteY48" fmla="*/ 172498 h 230028"/>
                <a:gd name="connsiteX49" fmla="*/ 40196 w 296227"/>
                <a:gd name="connsiteY49" fmla="*/ 176403 h 230028"/>
                <a:gd name="connsiteX50" fmla="*/ 41529 w 296227"/>
                <a:gd name="connsiteY50" fmla="*/ 186214 h 230028"/>
                <a:gd name="connsiteX51" fmla="*/ 47244 w 296227"/>
                <a:gd name="connsiteY51" fmla="*/ 191643 h 230028"/>
                <a:gd name="connsiteX52" fmla="*/ 50292 w 296227"/>
                <a:gd name="connsiteY52" fmla="*/ 187452 h 230028"/>
                <a:gd name="connsiteX53" fmla="*/ 58007 w 296227"/>
                <a:gd name="connsiteY53" fmla="*/ 191071 h 230028"/>
                <a:gd name="connsiteX54" fmla="*/ 54959 w 296227"/>
                <a:gd name="connsiteY54" fmla="*/ 196310 h 230028"/>
                <a:gd name="connsiteX55" fmla="*/ 55435 w 296227"/>
                <a:gd name="connsiteY55" fmla="*/ 201930 h 230028"/>
                <a:gd name="connsiteX56" fmla="*/ 58103 w 296227"/>
                <a:gd name="connsiteY56" fmla="*/ 205550 h 230028"/>
                <a:gd name="connsiteX57" fmla="*/ 60103 w 296227"/>
                <a:gd name="connsiteY57" fmla="*/ 208121 h 230028"/>
                <a:gd name="connsiteX58" fmla="*/ 75533 w 296227"/>
                <a:gd name="connsiteY58" fmla="*/ 207645 h 230028"/>
                <a:gd name="connsiteX59" fmla="*/ 101346 w 296227"/>
                <a:gd name="connsiteY59" fmla="*/ 224409 h 230028"/>
                <a:gd name="connsiteX60" fmla="*/ 111728 w 296227"/>
                <a:gd name="connsiteY60" fmla="*/ 224123 h 230028"/>
                <a:gd name="connsiteX61" fmla="*/ 117634 w 296227"/>
                <a:gd name="connsiteY61" fmla="*/ 226981 h 230028"/>
                <a:gd name="connsiteX62" fmla="*/ 126873 w 296227"/>
                <a:gd name="connsiteY62" fmla="*/ 226981 h 230028"/>
                <a:gd name="connsiteX63" fmla="*/ 129730 w 296227"/>
                <a:gd name="connsiteY63" fmla="*/ 230029 h 230028"/>
                <a:gd name="connsiteX64" fmla="*/ 136493 w 296227"/>
                <a:gd name="connsiteY64" fmla="*/ 220028 h 230028"/>
                <a:gd name="connsiteX65" fmla="*/ 154210 w 296227"/>
                <a:gd name="connsiteY65" fmla="*/ 211741 h 230028"/>
                <a:gd name="connsiteX66" fmla="*/ 162020 w 296227"/>
                <a:gd name="connsiteY66" fmla="*/ 218694 h 230028"/>
                <a:gd name="connsiteX67" fmla="*/ 176689 w 296227"/>
                <a:gd name="connsiteY67" fmla="*/ 217742 h 230028"/>
                <a:gd name="connsiteX68" fmla="*/ 179737 w 296227"/>
                <a:gd name="connsiteY68" fmla="*/ 213836 h 230028"/>
                <a:gd name="connsiteX69" fmla="*/ 196405 w 296227"/>
                <a:gd name="connsiteY69" fmla="*/ 211836 h 230028"/>
                <a:gd name="connsiteX70" fmla="*/ 197549 w 296227"/>
                <a:gd name="connsiteY70" fmla="*/ 206502 h 230028"/>
                <a:gd name="connsiteX71" fmla="*/ 217742 w 296227"/>
                <a:gd name="connsiteY71" fmla="*/ 197929 h 230028"/>
                <a:gd name="connsiteX72" fmla="*/ 237077 w 296227"/>
                <a:gd name="connsiteY72" fmla="*/ 199835 h 230028"/>
                <a:gd name="connsiteX73" fmla="*/ 296228 w 296227"/>
                <a:gd name="connsiteY73" fmla="*/ 137160 h 230028"/>
                <a:gd name="connsiteX74" fmla="*/ 275749 w 296227"/>
                <a:gd name="connsiteY74" fmla="*/ 137160 h 23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96227" h="230028">
                  <a:moveTo>
                    <a:pt x="275749" y="137160"/>
                  </a:moveTo>
                  <a:lnTo>
                    <a:pt x="218504" y="118586"/>
                  </a:lnTo>
                  <a:lnTo>
                    <a:pt x="211931" y="111252"/>
                  </a:lnTo>
                  <a:lnTo>
                    <a:pt x="206121" y="109347"/>
                  </a:lnTo>
                  <a:lnTo>
                    <a:pt x="190976" y="86963"/>
                  </a:lnTo>
                  <a:lnTo>
                    <a:pt x="196787" y="79724"/>
                  </a:lnTo>
                  <a:lnTo>
                    <a:pt x="192214" y="76391"/>
                  </a:lnTo>
                  <a:lnTo>
                    <a:pt x="173641" y="78677"/>
                  </a:lnTo>
                  <a:lnTo>
                    <a:pt x="174403" y="64199"/>
                  </a:lnTo>
                  <a:lnTo>
                    <a:pt x="184880" y="49054"/>
                  </a:lnTo>
                  <a:lnTo>
                    <a:pt x="174403" y="34004"/>
                  </a:lnTo>
                  <a:lnTo>
                    <a:pt x="162782" y="28480"/>
                  </a:lnTo>
                  <a:lnTo>
                    <a:pt x="154686" y="17050"/>
                  </a:lnTo>
                  <a:lnTo>
                    <a:pt x="140303" y="9525"/>
                  </a:lnTo>
                  <a:lnTo>
                    <a:pt x="124111" y="8287"/>
                  </a:lnTo>
                  <a:lnTo>
                    <a:pt x="119443" y="3620"/>
                  </a:lnTo>
                  <a:lnTo>
                    <a:pt x="107061" y="9906"/>
                  </a:lnTo>
                  <a:lnTo>
                    <a:pt x="103537" y="2381"/>
                  </a:lnTo>
                  <a:lnTo>
                    <a:pt x="97346" y="0"/>
                  </a:lnTo>
                  <a:lnTo>
                    <a:pt x="91154" y="16669"/>
                  </a:lnTo>
                  <a:lnTo>
                    <a:pt x="82677" y="6382"/>
                  </a:lnTo>
                  <a:lnTo>
                    <a:pt x="78772" y="12287"/>
                  </a:lnTo>
                  <a:lnTo>
                    <a:pt x="70675" y="12668"/>
                  </a:lnTo>
                  <a:lnTo>
                    <a:pt x="67913" y="19050"/>
                  </a:lnTo>
                  <a:lnTo>
                    <a:pt x="68771" y="25718"/>
                  </a:lnTo>
                  <a:lnTo>
                    <a:pt x="62960" y="32480"/>
                  </a:lnTo>
                  <a:lnTo>
                    <a:pt x="62960" y="43529"/>
                  </a:lnTo>
                  <a:lnTo>
                    <a:pt x="53245" y="44291"/>
                  </a:lnTo>
                  <a:lnTo>
                    <a:pt x="47054" y="58198"/>
                  </a:lnTo>
                  <a:lnTo>
                    <a:pt x="40862" y="61722"/>
                  </a:lnTo>
                  <a:lnTo>
                    <a:pt x="38957" y="83058"/>
                  </a:lnTo>
                  <a:lnTo>
                    <a:pt x="30385" y="81439"/>
                  </a:lnTo>
                  <a:lnTo>
                    <a:pt x="26956" y="86963"/>
                  </a:lnTo>
                  <a:lnTo>
                    <a:pt x="29242" y="95441"/>
                  </a:lnTo>
                  <a:lnTo>
                    <a:pt x="21908" y="108585"/>
                  </a:lnTo>
                  <a:lnTo>
                    <a:pt x="22955" y="127635"/>
                  </a:lnTo>
                  <a:lnTo>
                    <a:pt x="18574" y="129445"/>
                  </a:lnTo>
                  <a:lnTo>
                    <a:pt x="15430" y="132588"/>
                  </a:lnTo>
                  <a:lnTo>
                    <a:pt x="12383" y="128397"/>
                  </a:lnTo>
                  <a:lnTo>
                    <a:pt x="3905" y="129445"/>
                  </a:lnTo>
                  <a:lnTo>
                    <a:pt x="3905" y="135922"/>
                  </a:lnTo>
                  <a:lnTo>
                    <a:pt x="0" y="138970"/>
                  </a:lnTo>
                  <a:lnTo>
                    <a:pt x="1524" y="143351"/>
                  </a:lnTo>
                  <a:lnTo>
                    <a:pt x="13716" y="144113"/>
                  </a:lnTo>
                  <a:lnTo>
                    <a:pt x="20669" y="151638"/>
                  </a:lnTo>
                  <a:lnTo>
                    <a:pt x="24193" y="153734"/>
                  </a:lnTo>
                  <a:lnTo>
                    <a:pt x="24479" y="157829"/>
                  </a:lnTo>
                  <a:lnTo>
                    <a:pt x="34862" y="164592"/>
                  </a:lnTo>
                  <a:lnTo>
                    <a:pt x="36576" y="172498"/>
                  </a:lnTo>
                  <a:lnTo>
                    <a:pt x="40196" y="176403"/>
                  </a:lnTo>
                  <a:lnTo>
                    <a:pt x="41529" y="186214"/>
                  </a:lnTo>
                  <a:lnTo>
                    <a:pt x="47244" y="191643"/>
                  </a:lnTo>
                  <a:lnTo>
                    <a:pt x="50292" y="187452"/>
                  </a:lnTo>
                  <a:lnTo>
                    <a:pt x="58007" y="191071"/>
                  </a:lnTo>
                  <a:lnTo>
                    <a:pt x="54959" y="196310"/>
                  </a:lnTo>
                  <a:lnTo>
                    <a:pt x="55435" y="201930"/>
                  </a:lnTo>
                  <a:lnTo>
                    <a:pt x="58103" y="205550"/>
                  </a:lnTo>
                  <a:lnTo>
                    <a:pt x="60103" y="208121"/>
                  </a:lnTo>
                  <a:lnTo>
                    <a:pt x="75533" y="207645"/>
                  </a:lnTo>
                  <a:lnTo>
                    <a:pt x="101346" y="224409"/>
                  </a:lnTo>
                  <a:lnTo>
                    <a:pt x="111728" y="224123"/>
                  </a:lnTo>
                  <a:lnTo>
                    <a:pt x="117634" y="226981"/>
                  </a:lnTo>
                  <a:lnTo>
                    <a:pt x="126873" y="226981"/>
                  </a:lnTo>
                  <a:lnTo>
                    <a:pt x="129730" y="230029"/>
                  </a:lnTo>
                  <a:lnTo>
                    <a:pt x="136493" y="220028"/>
                  </a:lnTo>
                  <a:lnTo>
                    <a:pt x="154210" y="211741"/>
                  </a:lnTo>
                  <a:lnTo>
                    <a:pt x="162020" y="218694"/>
                  </a:lnTo>
                  <a:lnTo>
                    <a:pt x="176689" y="217742"/>
                  </a:lnTo>
                  <a:lnTo>
                    <a:pt x="179737" y="213836"/>
                  </a:lnTo>
                  <a:lnTo>
                    <a:pt x="196405" y="211836"/>
                  </a:lnTo>
                  <a:lnTo>
                    <a:pt x="197549" y="206502"/>
                  </a:lnTo>
                  <a:lnTo>
                    <a:pt x="217742" y="197929"/>
                  </a:lnTo>
                  <a:lnTo>
                    <a:pt x="237077" y="199835"/>
                  </a:lnTo>
                  <a:lnTo>
                    <a:pt x="296228" y="137160"/>
                  </a:lnTo>
                  <a:lnTo>
                    <a:pt x="275749" y="13716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1" name="Freeform: Shape 2781">
              <a:extLst>
                <a:ext uri="{FF2B5EF4-FFF2-40B4-BE49-F238E27FC236}">
                  <a16:creationId xmlns:a16="http://schemas.microsoft.com/office/drawing/2014/main" id="{B565DE53-7705-B1E6-D1D0-216F42EF6E14}"/>
                </a:ext>
              </a:extLst>
            </p:cNvPr>
            <p:cNvSpPr/>
            <p:nvPr/>
          </p:nvSpPr>
          <p:spPr>
            <a:xfrm>
              <a:off x="2464022" y="4249134"/>
              <a:ext cx="134397" cy="114681"/>
            </a:xfrm>
            <a:custGeom>
              <a:avLst/>
              <a:gdLst>
                <a:gd name="connsiteX0" fmla="*/ 16288 w 134397"/>
                <a:gd name="connsiteY0" fmla="*/ 70009 h 114681"/>
                <a:gd name="connsiteX1" fmla="*/ 24765 w 134397"/>
                <a:gd name="connsiteY1" fmla="*/ 80296 h 114681"/>
                <a:gd name="connsiteX2" fmla="*/ 30956 w 134397"/>
                <a:gd name="connsiteY2" fmla="*/ 63627 h 114681"/>
                <a:gd name="connsiteX3" fmla="*/ 37147 w 134397"/>
                <a:gd name="connsiteY3" fmla="*/ 66008 h 114681"/>
                <a:gd name="connsiteX4" fmla="*/ 40672 w 134397"/>
                <a:gd name="connsiteY4" fmla="*/ 73533 h 114681"/>
                <a:gd name="connsiteX5" fmla="*/ 53054 w 134397"/>
                <a:gd name="connsiteY5" fmla="*/ 67246 h 114681"/>
                <a:gd name="connsiteX6" fmla="*/ 57721 w 134397"/>
                <a:gd name="connsiteY6" fmla="*/ 71914 h 114681"/>
                <a:gd name="connsiteX7" fmla="*/ 73914 w 134397"/>
                <a:gd name="connsiteY7" fmla="*/ 73152 h 114681"/>
                <a:gd name="connsiteX8" fmla="*/ 88297 w 134397"/>
                <a:gd name="connsiteY8" fmla="*/ 80677 h 114681"/>
                <a:gd name="connsiteX9" fmla="*/ 96393 w 134397"/>
                <a:gd name="connsiteY9" fmla="*/ 92107 h 114681"/>
                <a:gd name="connsiteX10" fmla="*/ 108013 w 134397"/>
                <a:gd name="connsiteY10" fmla="*/ 97631 h 114681"/>
                <a:gd name="connsiteX11" fmla="*/ 118491 w 134397"/>
                <a:gd name="connsiteY11" fmla="*/ 112681 h 114681"/>
                <a:gd name="connsiteX12" fmla="*/ 119825 w 134397"/>
                <a:gd name="connsiteY12" fmla="*/ 110680 h 114681"/>
                <a:gd name="connsiteX13" fmla="*/ 125825 w 134397"/>
                <a:gd name="connsiteY13" fmla="*/ 114681 h 114681"/>
                <a:gd name="connsiteX14" fmla="*/ 128873 w 134397"/>
                <a:gd name="connsiteY14" fmla="*/ 108871 h 114681"/>
                <a:gd name="connsiteX15" fmla="*/ 134398 w 134397"/>
                <a:gd name="connsiteY15" fmla="*/ 107633 h 114681"/>
                <a:gd name="connsiteX16" fmla="*/ 95726 w 134397"/>
                <a:gd name="connsiteY16" fmla="*/ 68485 h 114681"/>
                <a:gd name="connsiteX17" fmla="*/ 80105 w 134397"/>
                <a:gd name="connsiteY17" fmla="*/ 64865 h 114681"/>
                <a:gd name="connsiteX18" fmla="*/ 74676 w 134397"/>
                <a:gd name="connsiteY18" fmla="*/ 52197 h 114681"/>
                <a:gd name="connsiteX19" fmla="*/ 67056 w 134397"/>
                <a:gd name="connsiteY19" fmla="*/ 59436 h 114681"/>
                <a:gd name="connsiteX20" fmla="*/ 54197 w 134397"/>
                <a:gd name="connsiteY20" fmla="*/ 20288 h 114681"/>
                <a:gd name="connsiteX21" fmla="*/ 44958 w 134397"/>
                <a:gd name="connsiteY21" fmla="*/ 0 h 114681"/>
                <a:gd name="connsiteX22" fmla="*/ 37529 w 134397"/>
                <a:gd name="connsiteY22" fmla="*/ 11049 h 114681"/>
                <a:gd name="connsiteX23" fmla="*/ 30575 w 134397"/>
                <a:gd name="connsiteY23" fmla="*/ 9144 h 114681"/>
                <a:gd name="connsiteX24" fmla="*/ 23241 w 134397"/>
                <a:gd name="connsiteY24" fmla="*/ 13430 h 114681"/>
                <a:gd name="connsiteX25" fmla="*/ 22479 w 134397"/>
                <a:gd name="connsiteY25" fmla="*/ 20955 h 114681"/>
                <a:gd name="connsiteX26" fmla="*/ 12763 w 134397"/>
                <a:gd name="connsiteY26" fmla="*/ 19336 h 114681"/>
                <a:gd name="connsiteX27" fmla="*/ 9334 w 134397"/>
                <a:gd name="connsiteY27" fmla="*/ 28861 h 114681"/>
                <a:gd name="connsiteX28" fmla="*/ 12763 w 134397"/>
                <a:gd name="connsiteY28" fmla="*/ 36004 h 114681"/>
                <a:gd name="connsiteX29" fmla="*/ 5429 w 134397"/>
                <a:gd name="connsiteY29" fmla="*/ 55340 h 114681"/>
                <a:gd name="connsiteX30" fmla="*/ 0 w 134397"/>
                <a:gd name="connsiteY30" fmla="*/ 58484 h 114681"/>
                <a:gd name="connsiteX31" fmla="*/ 4286 w 134397"/>
                <a:gd name="connsiteY31" fmla="*/ 76295 h 114681"/>
                <a:gd name="connsiteX32" fmla="*/ 12383 w 134397"/>
                <a:gd name="connsiteY32" fmla="*/ 75914 h 114681"/>
                <a:gd name="connsiteX33" fmla="*/ 16288 w 134397"/>
                <a:gd name="connsiteY33" fmla="*/ 70009 h 11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4397" h="114681">
                  <a:moveTo>
                    <a:pt x="16288" y="70009"/>
                  </a:moveTo>
                  <a:lnTo>
                    <a:pt x="24765" y="80296"/>
                  </a:lnTo>
                  <a:lnTo>
                    <a:pt x="30956" y="63627"/>
                  </a:lnTo>
                  <a:lnTo>
                    <a:pt x="37147" y="66008"/>
                  </a:lnTo>
                  <a:lnTo>
                    <a:pt x="40672" y="73533"/>
                  </a:lnTo>
                  <a:lnTo>
                    <a:pt x="53054" y="67246"/>
                  </a:lnTo>
                  <a:lnTo>
                    <a:pt x="57721" y="71914"/>
                  </a:lnTo>
                  <a:lnTo>
                    <a:pt x="73914" y="73152"/>
                  </a:lnTo>
                  <a:lnTo>
                    <a:pt x="88297" y="80677"/>
                  </a:lnTo>
                  <a:lnTo>
                    <a:pt x="96393" y="92107"/>
                  </a:lnTo>
                  <a:lnTo>
                    <a:pt x="108013" y="97631"/>
                  </a:lnTo>
                  <a:lnTo>
                    <a:pt x="118491" y="112681"/>
                  </a:lnTo>
                  <a:lnTo>
                    <a:pt x="119825" y="110680"/>
                  </a:lnTo>
                  <a:lnTo>
                    <a:pt x="125825" y="114681"/>
                  </a:lnTo>
                  <a:lnTo>
                    <a:pt x="128873" y="108871"/>
                  </a:lnTo>
                  <a:lnTo>
                    <a:pt x="134398" y="107633"/>
                  </a:lnTo>
                  <a:lnTo>
                    <a:pt x="95726" y="68485"/>
                  </a:lnTo>
                  <a:lnTo>
                    <a:pt x="80105" y="64865"/>
                  </a:lnTo>
                  <a:lnTo>
                    <a:pt x="74676" y="52197"/>
                  </a:lnTo>
                  <a:lnTo>
                    <a:pt x="67056" y="59436"/>
                  </a:lnTo>
                  <a:lnTo>
                    <a:pt x="54197" y="20288"/>
                  </a:lnTo>
                  <a:lnTo>
                    <a:pt x="44958" y="0"/>
                  </a:lnTo>
                  <a:lnTo>
                    <a:pt x="37529" y="11049"/>
                  </a:lnTo>
                  <a:lnTo>
                    <a:pt x="30575" y="9144"/>
                  </a:lnTo>
                  <a:lnTo>
                    <a:pt x="23241" y="13430"/>
                  </a:lnTo>
                  <a:lnTo>
                    <a:pt x="22479" y="20955"/>
                  </a:lnTo>
                  <a:lnTo>
                    <a:pt x="12763" y="19336"/>
                  </a:lnTo>
                  <a:lnTo>
                    <a:pt x="9334" y="28861"/>
                  </a:lnTo>
                  <a:lnTo>
                    <a:pt x="12763" y="36004"/>
                  </a:lnTo>
                  <a:lnTo>
                    <a:pt x="5429" y="55340"/>
                  </a:lnTo>
                  <a:lnTo>
                    <a:pt x="0" y="58484"/>
                  </a:lnTo>
                  <a:lnTo>
                    <a:pt x="4286" y="76295"/>
                  </a:lnTo>
                  <a:lnTo>
                    <a:pt x="12383" y="75914"/>
                  </a:lnTo>
                  <a:lnTo>
                    <a:pt x="16288" y="7000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2" name="Freeform: Shape 2782">
              <a:extLst>
                <a:ext uri="{FF2B5EF4-FFF2-40B4-BE49-F238E27FC236}">
                  <a16:creationId xmlns:a16="http://schemas.microsoft.com/office/drawing/2014/main" id="{DCA89DB8-8848-A804-406D-E609FB42B87D}"/>
                </a:ext>
              </a:extLst>
            </p:cNvPr>
            <p:cNvSpPr/>
            <p:nvPr/>
          </p:nvSpPr>
          <p:spPr>
            <a:xfrm>
              <a:off x="1936241" y="4562125"/>
              <a:ext cx="32385" cy="27717"/>
            </a:xfrm>
            <a:custGeom>
              <a:avLst/>
              <a:gdLst>
                <a:gd name="connsiteX0" fmla="*/ 6287 w 32385"/>
                <a:gd name="connsiteY0" fmla="*/ 4667 h 27717"/>
                <a:gd name="connsiteX1" fmla="*/ 1143 w 32385"/>
                <a:gd name="connsiteY1" fmla="*/ 0 h 27717"/>
                <a:gd name="connsiteX2" fmla="*/ 0 w 32385"/>
                <a:gd name="connsiteY2" fmla="*/ 3524 h 27717"/>
                <a:gd name="connsiteX3" fmla="*/ 2096 w 32385"/>
                <a:gd name="connsiteY3" fmla="*/ 27622 h 27717"/>
                <a:gd name="connsiteX4" fmla="*/ 2096 w 32385"/>
                <a:gd name="connsiteY4" fmla="*/ 27717 h 27717"/>
                <a:gd name="connsiteX5" fmla="*/ 2191 w 32385"/>
                <a:gd name="connsiteY5" fmla="*/ 27622 h 27717"/>
                <a:gd name="connsiteX6" fmla="*/ 32385 w 32385"/>
                <a:gd name="connsiteY6" fmla="*/ 27622 h 27717"/>
                <a:gd name="connsiteX7" fmla="*/ 32385 w 32385"/>
                <a:gd name="connsiteY7" fmla="*/ 4667 h 27717"/>
                <a:gd name="connsiteX8" fmla="*/ 6287 w 32385"/>
                <a:gd name="connsiteY8" fmla="*/ 4667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 h="27717">
                  <a:moveTo>
                    <a:pt x="6287" y="4667"/>
                  </a:moveTo>
                  <a:lnTo>
                    <a:pt x="1143" y="0"/>
                  </a:lnTo>
                  <a:lnTo>
                    <a:pt x="0" y="3524"/>
                  </a:lnTo>
                  <a:lnTo>
                    <a:pt x="2096" y="27622"/>
                  </a:lnTo>
                  <a:lnTo>
                    <a:pt x="2096" y="27717"/>
                  </a:lnTo>
                  <a:lnTo>
                    <a:pt x="2191" y="27622"/>
                  </a:lnTo>
                  <a:lnTo>
                    <a:pt x="32385" y="27622"/>
                  </a:lnTo>
                  <a:lnTo>
                    <a:pt x="32385" y="4667"/>
                  </a:lnTo>
                  <a:lnTo>
                    <a:pt x="6287" y="46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3" name="Freeform: Shape 2783">
              <a:extLst>
                <a:ext uri="{FF2B5EF4-FFF2-40B4-BE49-F238E27FC236}">
                  <a16:creationId xmlns:a16="http://schemas.microsoft.com/office/drawing/2014/main" id="{C5253D89-4F28-2FFC-04C3-477C40ACF21C}"/>
                </a:ext>
              </a:extLst>
            </p:cNvPr>
            <p:cNvSpPr/>
            <p:nvPr/>
          </p:nvSpPr>
          <p:spPr>
            <a:xfrm>
              <a:off x="1903856" y="4534788"/>
              <a:ext cx="12572" cy="12954"/>
            </a:xfrm>
            <a:custGeom>
              <a:avLst/>
              <a:gdLst>
                <a:gd name="connsiteX0" fmla="*/ 7620 w 12572"/>
                <a:gd name="connsiteY0" fmla="*/ 0 h 12954"/>
                <a:gd name="connsiteX1" fmla="*/ 12573 w 12572"/>
                <a:gd name="connsiteY1" fmla="*/ 667 h 12954"/>
                <a:gd name="connsiteX2" fmla="*/ 7620 w 12572"/>
                <a:gd name="connsiteY2" fmla="*/ 12954 h 12954"/>
                <a:gd name="connsiteX3" fmla="*/ 0 w 12572"/>
                <a:gd name="connsiteY3" fmla="*/ 8763 h 12954"/>
                <a:gd name="connsiteX4" fmla="*/ 7620 w 12572"/>
                <a:gd name="connsiteY4" fmla="*/ 0 h 12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 h="12954">
                  <a:moveTo>
                    <a:pt x="7620" y="0"/>
                  </a:moveTo>
                  <a:lnTo>
                    <a:pt x="12573" y="667"/>
                  </a:lnTo>
                  <a:lnTo>
                    <a:pt x="7620" y="12954"/>
                  </a:lnTo>
                  <a:lnTo>
                    <a:pt x="0" y="8763"/>
                  </a:lnTo>
                  <a:lnTo>
                    <a:pt x="762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4" name="Freeform: Shape 2784">
              <a:extLst>
                <a:ext uri="{FF2B5EF4-FFF2-40B4-BE49-F238E27FC236}">
                  <a16:creationId xmlns:a16="http://schemas.microsoft.com/office/drawing/2014/main" id="{2D12E78B-7CF8-47FF-40CA-978C4C266B3E}"/>
                </a:ext>
              </a:extLst>
            </p:cNvPr>
            <p:cNvSpPr/>
            <p:nvPr/>
          </p:nvSpPr>
          <p:spPr>
            <a:xfrm>
              <a:off x="2233802" y="3960812"/>
              <a:ext cx="241935" cy="206787"/>
            </a:xfrm>
            <a:custGeom>
              <a:avLst/>
              <a:gdLst>
                <a:gd name="connsiteX0" fmla="*/ 241459 w 241935"/>
                <a:gd name="connsiteY0" fmla="*/ 205454 h 206787"/>
                <a:gd name="connsiteX1" fmla="*/ 212884 w 241935"/>
                <a:gd name="connsiteY1" fmla="*/ 178117 h 206787"/>
                <a:gd name="connsiteX2" fmla="*/ 213836 w 241935"/>
                <a:gd name="connsiteY2" fmla="*/ 158972 h 206787"/>
                <a:gd name="connsiteX3" fmla="*/ 202121 w 241935"/>
                <a:gd name="connsiteY3" fmla="*/ 148495 h 206787"/>
                <a:gd name="connsiteX4" fmla="*/ 175736 w 241935"/>
                <a:gd name="connsiteY4" fmla="*/ 83153 h 206787"/>
                <a:gd name="connsiteX5" fmla="*/ 159449 w 241935"/>
                <a:gd name="connsiteY5" fmla="*/ 64770 h 206787"/>
                <a:gd name="connsiteX6" fmla="*/ 150876 w 241935"/>
                <a:gd name="connsiteY6" fmla="*/ 29813 h 206787"/>
                <a:gd name="connsiteX7" fmla="*/ 146590 w 241935"/>
                <a:gd name="connsiteY7" fmla="*/ 7715 h 206787"/>
                <a:gd name="connsiteX8" fmla="*/ 125254 w 241935"/>
                <a:gd name="connsiteY8" fmla="*/ 2000 h 206787"/>
                <a:gd name="connsiteX9" fmla="*/ 110395 w 241935"/>
                <a:gd name="connsiteY9" fmla="*/ 10192 h 206787"/>
                <a:gd name="connsiteX10" fmla="*/ 104108 w 241935"/>
                <a:gd name="connsiteY10" fmla="*/ 9906 h 206787"/>
                <a:gd name="connsiteX11" fmla="*/ 87249 w 241935"/>
                <a:gd name="connsiteY11" fmla="*/ 19621 h 206787"/>
                <a:gd name="connsiteX12" fmla="*/ 62103 w 241935"/>
                <a:gd name="connsiteY12" fmla="*/ 9906 h 206787"/>
                <a:gd name="connsiteX13" fmla="*/ 58198 w 241935"/>
                <a:gd name="connsiteY13" fmla="*/ 11716 h 206787"/>
                <a:gd name="connsiteX14" fmla="*/ 23813 w 241935"/>
                <a:gd name="connsiteY14" fmla="*/ 1619 h 206787"/>
                <a:gd name="connsiteX15" fmla="*/ 12002 w 241935"/>
                <a:gd name="connsiteY15" fmla="*/ 4286 h 206787"/>
                <a:gd name="connsiteX16" fmla="*/ 9335 w 241935"/>
                <a:gd name="connsiteY16" fmla="*/ 0 h 206787"/>
                <a:gd name="connsiteX17" fmla="*/ 2286 w 241935"/>
                <a:gd name="connsiteY17" fmla="*/ 7906 h 206787"/>
                <a:gd name="connsiteX18" fmla="*/ 6572 w 241935"/>
                <a:gd name="connsiteY18" fmla="*/ 19717 h 206787"/>
                <a:gd name="connsiteX19" fmla="*/ 5429 w 241935"/>
                <a:gd name="connsiteY19" fmla="*/ 25908 h 206787"/>
                <a:gd name="connsiteX20" fmla="*/ 0 w 241935"/>
                <a:gd name="connsiteY20" fmla="*/ 35242 h 206787"/>
                <a:gd name="connsiteX21" fmla="*/ 5810 w 241935"/>
                <a:gd name="connsiteY21" fmla="*/ 53340 h 206787"/>
                <a:gd name="connsiteX22" fmla="*/ 5810 w 241935"/>
                <a:gd name="connsiteY22" fmla="*/ 206597 h 206787"/>
                <a:gd name="connsiteX23" fmla="*/ 241840 w 241935"/>
                <a:gd name="connsiteY23" fmla="*/ 206597 h 206787"/>
                <a:gd name="connsiteX24" fmla="*/ 241935 w 241935"/>
                <a:gd name="connsiteY24" fmla="*/ 206788 h 206787"/>
                <a:gd name="connsiteX25" fmla="*/ 241459 w 241935"/>
                <a:gd name="connsiteY25" fmla="*/ 205454 h 2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1935" h="206787">
                  <a:moveTo>
                    <a:pt x="241459" y="205454"/>
                  </a:moveTo>
                  <a:lnTo>
                    <a:pt x="212884" y="178117"/>
                  </a:lnTo>
                  <a:lnTo>
                    <a:pt x="213836" y="158972"/>
                  </a:lnTo>
                  <a:lnTo>
                    <a:pt x="202121" y="148495"/>
                  </a:lnTo>
                  <a:lnTo>
                    <a:pt x="175736" y="83153"/>
                  </a:lnTo>
                  <a:lnTo>
                    <a:pt x="159449" y="64770"/>
                  </a:lnTo>
                  <a:lnTo>
                    <a:pt x="150876" y="29813"/>
                  </a:lnTo>
                  <a:lnTo>
                    <a:pt x="146590" y="7715"/>
                  </a:lnTo>
                  <a:lnTo>
                    <a:pt x="125254" y="2000"/>
                  </a:lnTo>
                  <a:lnTo>
                    <a:pt x="110395" y="10192"/>
                  </a:lnTo>
                  <a:lnTo>
                    <a:pt x="104108" y="9906"/>
                  </a:lnTo>
                  <a:lnTo>
                    <a:pt x="87249" y="19621"/>
                  </a:lnTo>
                  <a:lnTo>
                    <a:pt x="62103" y="9906"/>
                  </a:lnTo>
                  <a:lnTo>
                    <a:pt x="58198" y="11716"/>
                  </a:lnTo>
                  <a:lnTo>
                    <a:pt x="23813" y="1619"/>
                  </a:lnTo>
                  <a:lnTo>
                    <a:pt x="12002" y="4286"/>
                  </a:lnTo>
                  <a:lnTo>
                    <a:pt x="9335" y="0"/>
                  </a:lnTo>
                  <a:lnTo>
                    <a:pt x="2286" y="7906"/>
                  </a:lnTo>
                  <a:lnTo>
                    <a:pt x="6572" y="19717"/>
                  </a:lnTo>
                  <a:lnTo>
                    <a:pt x="5429" y="25908"/>
                  </a:lnTo>
                  <a:lnTo>
                    <a:pt x="0" y="35242"/>
                  </a:lnTo>
                  <a:lnTo>
                    <a:pt x="5810" y="53340"/>
                  </a:lnTo>
                  <a:lnTo>
                    <a:pt x="5810" y="206597"/>
                  </a:lnTo>
                  <a:lnTo>
                    <a:pt x="241840" y="206597"/>
                  </a:lnTo>
                  <a:lnTo>
                    <a:pt x="241935" y="206788"/>
                  </a:lnTo>
                  <a:lnTo>
                    <a:pt x="241459" y="2054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5" name="Freeform: Shape 2785">
              <a:extLst>
                <a:ext uri="{FF2B5EF4-FFF2-40B4-BE49-F238E27FC236}">
                  <a16:creationId xmlns:a16="http://schemas.microsoft.com/office/drawing/2014/main" id="{564A33AC-3654-8A25-90C3-32A4658A145D}"/>
                </a:ext>
              </a:extLst>
            </p:cNvPr>
            <p:cNvSpPr/>
            <p:nvPr/>
          </p:nvSpPr>
          <p:spPr>
            <a:xfrm>
              <a:off x="2571273" y="4356766"/>
              <a:ext cx="30099" cy="35718"/>
            </a:xfrm>
            <a:custGeom>
              <a:avLst/>
              <a:gdLst>
                <a:gd name="connsiteX0" fmla="*/ 15240 w 30099"/>
                <a:gd name="connsiteY0" fmla="*/ 23622 h 35718"/>
                <a:gd name="connsiteX1" fmla="*/ 27146 w 30099"/>
                <a:gd name="connsiteY1" fmla="*/ 0 h 35718"/>
                <a:gd name="connsiteX2" fmla="*/ 21622 w 30099"/>
                <a:gd name="connsiteY2" fmla="*/ 1238 h 35718"/>
                <a:gd name="connsiteX3" fmla="*/ 18574 w 30099"/>
                <a:gd name="connsiteY3" fmla="*/ 7048 h 35718"/>
                <a:gd name="connsiteX4" fmla="*/ 12573 w 30099"/>
                <a:gd name="connsiteY4" fmla="*/ 3048 h 35718"/>
                <a:gd name="connsiteX5" fmla="*/ 11240 w 30099"/>
                <a:gd name="connsiteY5" fmla="*/ 5048 h 35718"/>
                <a:gd name="connsiteX6" fmla="*/ 762 w 30099"/>
                <a:gd name="connsiteY6" fmla="*/ 20193 h 35718"/>
                <a:gd name="connsiteX7" fmla="*/ 0 w 30099"/>
                <a:gd name="connsiteY7" fmla="*/ 34671 h 35718"/>
                <a:gd name="connsiteX8" fmla="*/ 18574 w 30099"/>
                <a:gd name="connsiteY8" fmla="*/ 32385 h 35718"/>
                <a:gd name="connsiteX9" fmla="*/ 23146 w 30099"/>
                <a:gd name="connsiteY9" fmla="*/ 35719 h 35718"/>
                <a:gd name="connsiteX10" fmla="*/ 30099 w 30099"/>
                <a:gd name="connsiteY10" fmla="*/ 24289 h 35718"/>
                <a:gd name="connsiteX11" fmla="*/ 15240 w 30099"/>
                <a:gd name="connsiteY11" fmla="*/ 23622 h 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099" h="35718">
                  <a:moveTo>
                    <a:pt x="15240" y="23622"/>
                  </a:moveTo>
                  <a:lnTo>
                    <a:pt x="27146" y="0"/>
                  </a:lnTo>
                  <a:lnTo>
                    <a:pt x="21622" y="1238"/>
                  </a:lnTo>
                  <a:lnTo>
                    <a:pt x="18574" y="7048"/>
                  </a:lnTo>
                  <a:lnTo>
                    <a:pt x="12573" y="3048"/>
                  </a:lnTo>
                  <a:lnTo>
                    <a:pt x="11240" y="5048"/>
                  </a:lnTo>
                  <a:lnTo>
                    <a:pt x="762" y="20193"/>
                  </a:lnTo>
                  <a:lnTo>
                    <a:pt x="0" y="34671"/>
                  </a:lnTo>
                  <a:lnTo>
                    <a:pt x="18574" y="32385"/>
                  </a:lnTo>
                  <a:lnTo>
                    <a:pt x="23146" y="35719"/>
                  </a:lnTo>
                  <a:lnTo>
                    <a:pt x="30099" y="24289"/>
                  </a:lnTo>
                  <a:lnTo>
                    <a:pt x="15240" y="2362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6" name="Freeform: Shape 2786">
              <a:extLst>
                <a:ext uri="{FF2B5EF4-FFF2-40B4-BE49-F238E27FC236}">
                  <a16:creationId xmlns:a16="http://schemas.microsoft.com/office/drawing/2014/main" id="{AC9065B5-D4EB-1616-CDF0-4B25E31B68BA}"/>
                </a:ext>
              </a:extLst>
            </p:cNvPr>
            <p:cNvSpPr/>
            <p:nvPr/>
          </p:nvSpPr>
          <p:spPr>
            <a:xfrm>
              <a:off x="1993010" y="4503356"/>
              <a:ext cx="370808" cy="375666"/>
            </a:xfrm>
            <a:custGeom>
              <a:avLst/>
              <a:gdLst>
                <a:gd name="connsiteX0" fmla="*/ 337185 w 370808"/>
                <a:gd name="connsiteY0" fmla="*/ 133826 h 375666"/>
                <a:gd name="connsiteX1" fmla="*/ 339852 w 370808"/>
                <a:gd name="connsiteY1" fmla="*/ 103346 h 375666"/>
                <a:gd name="connsiteX2" fmla="*/ 345662 w 370808"/>
                <a:gd name="connsiteY2" fmla="*/ 94774 h 375666"/>
                <a:gd name="connsiteX3" fmla="*/ 348329 w 370808"/>
                <a:gd name="connsiteY3" fmla="*/ 83629 h 375666"/>
                <a:gd name="connsiteX4" fmla="*/ 358045 w 370808"/>
                <a:gd name="connsiteY4" fmla="*/ 79343 h 375666"/>
                <a:gd name="connsiteX5" fmla="*/ 370808 w 370808"/>
                <a:gd name="connsiteY5" fmla="*/ 63055 h 375666"/>
                <a:gd name="connsiteX6" fmla="*/ 360331 w 370808"/>
                <a:gd name="connsiteY6" fmla="*/ 58007 h 375666"/>
                <a:gd name="connsiteX7" fmla="*/ 363855 w 370808"/>
                <a:gd name="connsiteY7" fmla="*/ 49911 h 375666"/>
                <a:gd name="connsiteX8" fmla="*/ 360712 w 370808"/>
                <a:gd name="connsiteY8" fmla="*/ 45244 h 375666"/>
                <a:gd name="connsiteX9" fmla="*/ 365379 w 370808"/>
                <a:gd name="connsiteY9" fmla="*/ 38290 h 375666"/>
                <a:gd name="connsiteX10" fmla="*/ 361474 w 370808"/>
                <a:gd name="connsiteY10" fmla="*/ 33242 h 375666"/>
                <a:gd name="connsiteX11" fmla="*/ 356521 w 370808"/>
                <a:gd name="connsiteY11" fmla="*/ 35243 h 375666"/>
                <a:gd name="connsiteX12" fmla="*/ 355759 w 370808"/>
                <a:gd name="connsiteY12" fmla="*/ 28670 h 375666"/>
                <a:gd name="connsiteX13" fmla="*/ 347948 w 370808"/>
                <a:gd name="connsiteY13" fmla="*/ 26670 h 375666"/>
                <a:gd name="connsiteX14" fmla="*/ 341757 w 370808"/>
                <a:gd name="connsiteY14" fmla="*/ 15145 h 375666"/>
                <a:gd name="connsiteX15" fmla="*/ 334804 w 370808"/>
                <a:gd name="connsiteY15" fmla="*/ 12382 h 375666"/>
                <a:gd name="connsiteX16" fmla="*/ 330232 w 370808"/>
                <a:gd name="connsiteY16" fmla="*/ 19717 h 375666"/>
                <a:gd name="connsiteX17" fmla="*/ 320516 w 370808"/>
                <a:gd name="connsiteY17" fmla="*/ 16669 h 375666"/>
                <a:gd name="connsiteX18" fmla="*/ 312420 w 370808"/>
                <a:gd name="connsiteY18" fmla="*/ 21717 h 375666"/>
                <a:gd name="connsiteX19" fmla="*/ 307753 w 370808"/>
                <a:gd name="connsiteY19" fmla="*/ 14669 h 375666"/>
                <a:gd name="connsiteX20" fmla="*/ 301181 w 370808"/>
                <a:gd name="connsiteY20" fmla="*/ 15907 h 375666"/>
                <a:gd name="connsiteX21" fmla="*/ 299276 w 370808"/>
                <a:gd name="connsiteY21" fmla="*/ 8477 h 375666"/>
                <a:gd name="connsiteX22" fmla="*/ 286417 w 370808"/>
                <a:gd name="connsiteY22" fmla="*/ 3524 h 375666"/>
                <a:gd name="connsiteX23" fmla="*/ 276797 w 370808"/>
                <a:gd name="connsiteY23" fmla="*/ 7334 h 375666"/>
                <a:gd name="connsiteX24" fmla="*/ 267462 w 370808"/>
                <a:gd name="connsiteY24" fmla="*/ 1905 h 375666"/>
                <a:gd name="connsiteX25" fmla="*/ 253175 w 370808"/>
                <a:gd name="connsiteY25" fmla="*/ 0 h 375666"/>
                <a:gd name="connsiteX26" fmla="*/ 252413 w 370808"/>
                <a:gd name="connsiteY26" fmla="*/ 7715 h 375666"/>
                <a:gd name="connsiteX27" fmla="*/ 239268 w 370808"/>
                <a:gd name="connsiteY27" fmla="*/ 9715 h 375666"/>
                <a:gd name="connsiteX28" fmla="*/ 234982 w 370808"/>
                <a:gd name="connsiteY28" fmla="*/ 4667 h 375666"/>
                <a:gd name="connsiteX29" fmla="*/ 214122 w 370808"/>
                <a:gd name="connsiteY29" fmla="*/ 15430 h 375666"/>
                <a:gd name="connsiteX30" fmla="*/ 204406 w 370808"/>
                <a:gd name="connsiteY30" fmla="*/ 9715 h 375666"/>
                <a:gd name="connsiteX31" fmla="*/ 196310 w 370808"/>
                <a:gd name="connsiteY31" fmla="*/ 24765 h 375666"/>
                <a:gd name="connsiteX32" fmla="*/ 180404 w 370808"/>
                <a:gd name="connsiteY32" fmla="*/ 20860 h 375666"/>
                <a:gd name="connsiteX33" fmla="*/ 170593 w 370808"/>
                <a:gd name="connsiteY33" fmla="*/ 21717 h 375666"/>
                <a:gd name="connsiteX34" fmla="*/ 165449 w 370808"/>
                <a:gd name="connsiteY34" fmla="*/ 17336 h 375666"/>
                <a:gd name="connsiteX35" fmla="*/ 158782 w 370808"/>
                <a:gd name="connsiteY35" fmla="*/ 20384 h 375666"/>
                <a:gd name="connsiteX36" fmla="*/ 155639 w 370808"/>
                <a:gd name="connsiteY36" fmla="*/ 18097 h 375666"/>
                <a:gd name="connsiteX37" fmla="*/ 154115 w 370808"/>
                <a:gd name="connsiteY37" fmla="*/ 12382 h 375666"/>
                <a:gd name="connsiteX38" fmla="*/ 144304 w 370808"/>
                <a:gd name="connsiteY38" fmla="*/ 5429 h 375666"/>
                <a:gd name="connsiteX39" fmla="*/ 137065 w 370808"/>
                <a:gd name="connsiteY39" fmla="*/ 3905 h 375666"/>
                <a:gd name="connsiteX40" fmla="*/ 128588 w 370808"/>
                <a:gd name="connsiteY40" fmla="*/ 8477 h 375666"/>
                <a:gd name="connsiteX41" fmla="*/ 123635 w 370808"/>
                <a:gd name="connsiteY41" fmla="*/ 19336 h 375666"/>
                <a:gd name="connsiteX42" fmla="*/ 117443 w 370808"/>
                <a:gd name="connsiteY42" fmla="*/ 20098 h 375666"/>
                <a:gd name="connsiteX43" fmla="*/ 120872 w 370808"/>
                <a:gd name="connsiteY43" fmla="*/ 28670 h 375666"/>
                <a:gd name="connsiteX44" fmla="*/ 120301 w 370808"/>
                <a:gd name="connsiteY44" fmla="*/ 36957 h 375666"/>
                <a:gd name="connsiteX45" fmla="*/ 120682 w 370808"/>
                <a:gd name="connsiteY45" fmla="*/ 43720 h 375666"/>
                <a:gd name="connsiteX46" fmla="*/ 117729 w 370808"/>
                <a:gd name="connsiteY46" fmla="*/ 46863 h 375666"/>
                <a:gd name="connsiteX47" fmla="*/ 109633 w 370808"/>
                <a:gd name="connsiteY47" fmla="*/ 62294 h 375666"/>
                <a:gd name="connsiteX48" fmla="*/ 109633 w 370808"/>
                <a:gd name="connsiteY48" fmla="*/ 74104 h 375666"/>
                <a:gd name="connsiteX49" fmla="*/ 105156 w 370808"/>
                <a:gd name="connsiteY49" fmla="*/ 87630 h 375666"/>
                <a:gd name="connsiteX50" fmla="*/ 107061 w 370808"/>
                <a:gd name="connsiteY50" fmla="*/ 98488 h 375666"/>
                <a:gd name="connsiteX51" fmla="*/ 103251 w 370808"/>
                <a:gd name="connsiteY51" fmla="*/ 103346 h 375666"/>
                <a:gd name="connsiteX52" fmla="*/ 102108 w 370808"/>
                <a:gd name="connsiteY52" fmla="*/ 109728 h 375666"/>
                <a:gd name="connsiteX53" fmla="*/ 102299 w 370808"/>
                <a:gd name="connsiteY53" fmla="*/ 117062 h 375666"/>
                <a:gd name="connsiteX54" fmla="*/ 94107 w 370808"/>
                <a:gd name="connsiteY54" fmla="*/ 126492 h 375666"/>
                <a:gd name="connsiteX55" fmla="*/ 85249 w 370808"/>
                <a:gd name="connsiteY55" fmla="*/ 129635 h 375666"/>
                <a:gd name="connsiteX56" fmla="*/ 76772 w 370808"/>
                <a:gd name="connsiteY56" fmla="*/ 144875 h 375666"/>
                <a:gd name="connsiteX57" fmla="*/ 71342 w 370808"/>
                <a:gd name="connsiteY57" fmla="*/ 149733 h 375666"/>
                <a:gd name="connsiteX58" fmla="*/ 71533 w 370808"/>
                <a:gd name="connsiteY58" fmla="*/ 165830 h 375666"/>
                <a:gd name="connsiteX59" fmla="*/ 73438 w 370808"/>
                <a:gd name="connsiteY59" fmla="*/ 171640 h 375666"/>
                <a:gd name="connsiteX60" fmla="*/ 66675 w 370808"/>
                <a:gd name="connsiteY60" fmla="*/ 184785 h 375666"/>
                <a:gd name="connsiteX61" fmla="*/ 59722 w 370808"/>
                <a:gd name="connsiteY61" fmla="*/ 185928 h 375666"/>
                <a:gd name="connsiteX62" fmla="*/ 57531 w 370808"/>
                <a:gd name="connsiteY62" fmla="*/ 191357 h 375666"/>
                <a:gd name="connsiteX63" fmla="*/ 52959 w 370808"/>
                <a:gd name="connsiteY63" fmla="*/ 191738 h 375666"/>
                <a:gd name="connsiteX64" fmla="*/ 43434 w 370808"/>
                <a:gd name="connsiteY64" fmla="*/ 203549 h 375666"/>
                <a:gd name="connsiteX65" fmla="*/ 40005 w 370808"/>
                <a:gd name="connsiteY65" fmla="*/ 201644 h 375666"/>
                <a:gd name="connsiteX66" fmla="*/ 36290 w 370808"/>
                <a:gd name="connsiteY66" fmla="*/ 202787 h 375666"/>
                <a:gd name="connsiteX67" fmla="*/ 35338 w 370808"/>
                <a:gd name="connsiteY67" fmla="*/ 196977 h 375666"/>
                <a:gd name="connsiteX68" fmla="*/ 38957 w 370808"/>
                <a:gd name="connsiteY68" fmla="*/ 194024 h 375666"/>
                <a:gd name="connsiteX69" fmla="*/ 35719 w 370808"/>
                <a:gd name="connsiteY69" fmla="*/ 190024 h 375666"/>
                <a:gd name="connsiteX70" fmla="*/ 28766 w 370808"/>
                <a:gd name="connsiteY70" fmla="*/ 193643 h 375666"/>
                <a:gd name="connsiteX71" fmla="*/ 23146 w 370808"/>
                <a:gd name="connsiteY71" fmla="*/ 192691 h 375666"/>
                <a:gd name="connsiteX72" fmla="*/ 22574 w 370808"/>
                <a:gd name="connsiteY72" fmla="*/ 199644 h 375666"/>
                <a:gd name="connsiteX73" fmla="*/ 16574 w 370808"/>
                <a:gd name="connsiteY73" fmla="*/ 202787 h 375666"/>
                <a:gd name="connsiteX74" fmla="*/ 11621 w 370808"/>
                <a:gd name="connsiteY74" fmla="*/ 198120 h 375666"/>
                <a:gd name="connsiteX75" fmla="*/ 0 w 370808"/>
                <a:gd name="connsiteY75" fmla="*/ 208312 h 375666"/>
                <a:gd name="connsiteX76" fmla="*/ 0 w 370808"/>
                <a:gd name="connsiteY76" fmla="*/ 221361 h 375666"/>
                <a:gd name="connsiteX77" fmla="*/ 8573 w 370808"/>
                <a:gd name="connsiteY77" fmla="*/ 222123 h 375666"/>
                <a:gd name="connsiteX78" fmla="*/ 77533 w 370808"/>
                <a:gd name="connsiteY78" fmla="*/ 223361 h 375666"/>
                <a:gd name="connsiteX79" fmla="*/ 82677 w 370808"/>
                <a:gd name="connsiteY79" fmla="*/ 229076 h 375666"/>
                <a:gd name="connsiteX80" fmla="*/ 81153 w 370808"/>
                <a:gd name="connsiteY80" fmla="*/ 236792 h 375666"/>
                <a:gd name="connsiteX81" fmla="*/ 87344 w 370808"/>
                <a:gd name="connsiteY81" fmla="*/ 242983 h 375666"/>
                <a:gd name="connsiteX82" fmla="*/ 98108 w 370808"/>
                <a:gd name="connsiteY82" fmla="*/ 266224 h 375666"/>
                <a:gd name="connsiteX83" fmla="*/ 134779 w 370808"/>
                <a:gd name="connsiteY83" fmla="*/ 265176 h 375666"/>
                <a:gd name="connsiteX84" fmla="*/ 137351 w 370808"/>
                <a:gd name="connsiteY84" fmla="*/ 246126 h 375666"/>
                <a:gd name="connsiteX85" fmla="*/ 148685 w 370808"/>
                <a:gd name="connsiteY85" fmla="*/ 246126 h 375666"/>
                <a:gd name="connsiteX86" fmla="*/ 159544 w 370808"/>
                <a:gd name="connsiteY86" fmla="*/ 239935 h 375666"/>
                <a:gd name="connsiteX87" fmla="*/ 159544 w 370808"/>
                <a:gd name="connsiteY87" fmla="*/ 250222 h 375666"/>
                <a:gd name="connsiteX88" fmla="*/ 185356 w 370808"/>
                <a:gd name="connsiteY88" fmla="*/ 250222 h 375666"/>
                <a:gd name="connsiteX89" fmla="*/ 181166 w 370808"/>
                <a:gd name="connsiteY89" fmla="*/ 261556 h 375666"/>
                <a:gd name="connsiteX90" fmla="*/ 186881 w 370808"/>
                <a:gd name="connsiteY90" fmla="*/ 274987 h 375666"/>
                <a:gd name="connsiteX91" fmla="*/ 182213 w 370808"/>
                <a:gd name="connsiteY91" fmla="*/ 293561 h 375666"/>
                <a:gd name="connsiteX92" fmla="*/ 190024 w 370808"/>
                <a:gd name="connsiteY92" fmla="*/ 302895 h 375666"/>
                <a:gd name="connsiteX93" fmla="*/ 194120 w 370808"/>
                <a:gd name="connsiteY93" fmla="*/ 314515 h 375666"/>
                <a:gd name="connsiteX94" fmla="*/ 187928 w 370808"/>
                <a:gd name="connsiteY94" fmla="*/ 321850 h 375666"/>
                <a:gd name="connsiteX95" fmla="*/ 191548 w 370808"/>
                <a:gd name="connsiteY95" fmla="*/ 330803 h 375666"/>
                <a:gd name="connsiteX96" fmla="*/ 200787 w 370808"/>
                <a:gd name="connsiteY96" fmla="*/ 324517 h 375666"/>
                <a:gd name="connsiteX97" fmla="*/ 208598 w 370808"/>
                <a:gd name="connsiteY97" fmla="*/ 327184 h 375666"/>
                <a:gd name="connsiteX98" fmla="*/ 215265 w 370808"/>
                <a:gd name="connsiteY98" fmla="*/ 323469 h 375666"/>
                <a:gd name="connsiteX99" fmla="*/ 226124 w 370808"/>
                <a:gd name="connsiteY99" fmla="*/ 321755 h 375666"/>
                <a:gd name="connsiteX100" fmla="*/ 228695 w 370808"/>
                <a:gd name="connsiteY100" fmla="*/ 321373 h 375666"/>
                <a:gd name="connsiteX101" fmla="*/ 235934 w 370808"/>
                <a:gd name="connsiteY101" fmla="*/ 325564 h 375666"/>
                <a:gd name="connsiteX102" fmla="*/ 236411 w 370808"/>
                <a:gd name="connsiteY102" fmla="*/ 333470 h 375666"/>
                <a:gd name="connsiteX103" fmla="*/ 252889 w 370808"/>
                <a:gd name="connsiteY103" fmla="*/ 327184 h 375666"/>
                <a:gd name="connsiteX104" fmla="*/ 254984 w 370808"/>
                <a:gd name="connsiteY104" fmla="*/ 338233 h 375666"/>
                <a:gd name="connsiteX105" fmla="*/ 280226 w 370808"/>
                <a:gd name="connsiteY105" fmla="*/ 344043 h 375666"/>
                <a:gd name="connsiteX106" fmla="*/ 288989 w 370808"/>
                <a:gd name="connsiteY106" fmla="*/ 334518 h 375666"/>
                <a:gd name="connsiteX107" fmla="*/ 297847 w 370808"/>
                <a:gd name="connsiteY107" fmla="*/ 349282 h 375666"/>
                <a:gd name="connsiteX108" fmla="*/ 310706 w 370808"/>
                <a:gd name="connsiteY108" fmla="*/ 351377 h 375666"/>
                <a:gd name="connsiteX109" fmla="*/ 313849 w 370808"/>
                <a:gd name="connsiteY109" fmla="*/ 360331 h 375666"/>
                <a:gd name="connsiteX110" fmla="*/ 320993 w 370808"/>
                <a:gd name="connsiteY110" fmla="*/ 362426 h 375666"/>
                <a:gd name="connsiteX111" fmla="*/ 327184 w 370808"/>
                <a:gd name="connsiteY111" fmla="*/ 372999 h 375666"/>
                <a:gd name="connsiteX112" fmla="*/ 334994 w 370808"/>
                <a:gd name="connsiteY112" fmla="*/ 369856 h 375666"/>
                <a:gd name="connsiteX113" fmla="*/ 342710 w 370808"/>
                <a:gd name="connsiteY113" fmla="*/ 375666 h 375666"/>
                <a:gd name="connsiteX114" fmla="*/ 342710 w 370808"/>
                <a:gd name="connsiteY114" fmla="*/ 345567 h 375666"/>
                <a:gd name="connsiteX115" fmla="*/ 335471 w 370808"/>
                <a:gd name="connsiteY115" fmla="*/ 347663 h 375666"/>
                <a:gd name="connsiteX116" fmla="*/ 334423 w 370808"/>
                <a:gd name="connsiteY116" fmla="*/ 353473 h 375666"/>
                <a:gd name="connsiteX117" fmla="*/ 325660 w 370808"/>
                <a:gd name="connsiteY117" fmla="*/ 351377 h 375666"/>
                <a:gd name="connsiteX118" fmla="*/ 312801 w 370808"/>
                <a:gd name="connsiteY118" fmla="*/ 335566 h 375666"/>
                <a:gd name="connsiteX119" fmla="*/ 318992 w 370808"/>
                <a:gd name="connsiteY119" fmla="*/ 317087 h 375666"/>
                <a:gd name="connsiteX120" fmla="*/ 315849 w 370808"/>
                <a:gd name="connsiteY120" fmla="*/ 308515 h 375666"/>
                <a:gd name="connsiteX121" fmla="*/ 318992 w 370808"/>
                <a:gd name="connsiteY121" fmla="*/ 300799 h 375666"/>
                <a:gd name="connsiteX122" fmla="*/ 312230 w 370808"/>
                <a:gd name="connsiteY122" fmla="*/ 289465 h 375666"/>
                <a:gd name="connsiteX123" fmla="*/ 321564 w 370808"/>
                <a:gd name="connsiteY123" fmla="*/ 282702 h 375666"/>
                <a:gd name="connsiteX124" fmla="*/ 323564 w 370808"/>
                <a:gd name="connsiteY124" fmla="*/ 275463 h 375666"/>
                <a:gd name="connsiteX125" fmla="*/ 353759 w 370808"/>
                <a:gd name="connsiteY125" fmla="*/ 268510 h 375666"/>
                <a:gd name="connsiteX126" fmla="*/ 345186 w 370808"/>
                <a:gd name="connsiteY126" fmla="*/ 250793 h 375666"/>
                <a:gd name="connsiteX127" fmla="*/ 335185 w 370808"/>
                <a:gd name="connsiteY127" fmla="*/ 243745 h 375666"/>
                <a:gd name="connsiteX128" fmla="*/ 326612 w 370808"/>
                <a:gd name="connsiteY128" fmla="*/ 225933 h 375666"/>
                <a:gd name="connsiteX129" fmla="*/ 329756 w 370808"/>
                <a:gd name="connsiteY129" fmla="*/ 215170 h 375666"/>
                <a:gd name="connsiteX130" fmla="*/ 324326 w 370808"/>
                <a:gd name="connsiteY130" fmla="*/ 205073 h 375666"/>
                <a:gd name="connsiteX131" fmla="*/ 325850 w 370808"/>
                <a:gd name="connsiteY131" fmla="*/ 174117 h 375666"/>
                <a:gd name="connsiteX132" fmla="*/ 329375 w 370808"/>
                <a:gd name="connsiteY132" fmla="*/ 173641 h 375666"/>
                <a:gd name="connsiteX133" fmla="*/ 329375 w 370808"/>
                <a:gd name="connsiteY133" fmla="*/ 166592 h 375666"/>
                <a:gd name="connsiteX134" fmla="*/ 325279 w 370808"/>
                <a:gd name="connsiteY134" fmla="*/ 162401 h 375666"/>
                <a:gd name="connsiteX135" fmla="*/ 326231 w 370808"/>
                <a:gd name="connsiteY135" fmla="*/ 159925 h 375666"/>
                <a:gd name="connsiteX136" fmla="*/ 326136 w 370808"/>
                <a:gd name="connsiteY136" fmla="*/ 159829 h 375666"/>
                <a:gd name="connsiteX137" fmla="*/ 322421 w 370808"/>
                <a:gd name="connsiteY137" fmla="*/ 158115 h 375666"/>
                <a:gd name="connsiteX138" fmla="*/ 322421 w 370808"/>
                <a:gd name="connsiteY138" fmla="*/ 152305 h 375666"/>
                <a:gd name="connsiteX139" fmla="*/ 329184 w 370808"/>
                <a:gd name="connsiteY139" fmla="*/ 147638 h 375666"/>
                <a:gd name="connsiteX140" fmla="*/ 327660 w 370808"/>
                <a:gd name="connsiteY140" fmla="*/ 143161 h 375666"/>
                <a:gd name="connsiteX141" fmla="*/ 332327 w 370808"/>
                <a:gd name="connsiteY141" fmla="*/ 135636 h 375666"/>
                <a:gd name="connsiteX142" fmla="*/ 337185 w 370808"/>
                <a:gd name="connsiteY142" fmla="*/ 133826 h 37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370808" h="375666">
                  <a:moveTo>
                    <a:pt x="337185" y="133826"/>
                  </a:moveTo>
                  <a:lnTo>
                    <a:pt x="339852" y="103346"/>
                  </a:lnTo>
                  <a:lnTo>
                    <a:pt x="345662" y="94774"/>
                  </a:lnTo>
                  <a:lnTo>
                    <a:pt x="348329" y="83629"/>
                  </a:lnTo>
                  <a:lnTo>
                    <a:pt x="358045" y="79343"/>
                  </a:lnTo>
                  <a:lnTo>
                    <a:pt x="370808" y="63055"/>
                  </a:lnTo>
                  <a:lnTo>
                    <a:pt x="360331" y="58007"/>
                  </a:lnTo>
                  <a:lnTo>
                    <a:pt x="363855" y="49911"/>
                  </a:lnTo>
                  <a:lnTo>
                    <a:pt x="360712" y="45244"/>
                  </a:lnTo>
                  <a:lnTo>
                    <a:pt x="365379" y="38290"/>
                  </a:lnTo>
                  <a:lnTo>
                    <a:pt x="361474" y="33242"/>
                  </a:lnTo>
                  <a:lnTo>
                    <a:pt x="356521" y="35243"/>
                  </a:lnTo>
                  <a:lnTo>
                    <a:pt x="355759" y="28670"/>
                  </a:lnTo>
                  <a:lnTo>
                    <a:pt x="347948" y="26670"/>
                  </a:lnTo>
                  <a:lnTo>
                    <a:pt x="341757" y="15145"/>
                  </a:lnTo>
                  <a:lnTo>
                    <a:pt x="334804" y="12382"/>
                  </a:lnTo>
                  <a:lnTo>
                    <a:pt x="330232" y="19717"/>
                  </a:lnTo>
                  <a:lnTo>
                    <a:pt x="320516" y="16669"/>
                  </a:lnTo>
                  <a:lnTo>
                    <a:pt x="312420" y="21717"/>
                  </a:lnTo>
                  <a:lnTo>
                    <a:pt x="307753" y="14669"/>
                  </a:lnTo>
                  <a:lnTo>
                    <a:pt x="301181" y="15907"/>
                  </a:lnTo>
                  <a:lnTo>
                    <a:pt x="299276" y="8477"/>
                  </a:lnTo>
                  <a:lnTo>
                    <a:pt x="286417" y="3524"/>
                  </a:lnTo>
                  <a:lnTo>
                    <a:pt x="276797" y="7334"/>
                  </a:lnTo>
                  <a:lnTo>
                    <a:pt x="267462" y="1905"/>
                  </a:lnTo>
                  <a:lnTo>
                    <a:pt x="253175" y="0"/>
                  </a:lnTo>
                  <a:lnTo>
                    <a:pt x="252413" y="7715"/>
                  </a:lnTo>
                  <a:lnTo>
                    <a:pt x="239268" y="9715"/>
                  </a:lnTo>
                  <a:lnTo>
                    <a:pt x="234982" y="4667"/>
                  </a:lnTo>
                  <a:lnTo>
                    <a:pt x="214122" y="15430"/>
                  </a:lnTo>
                  <a:lnTo>
                    <a:pt x="204406" y="9715"/>
                  </a:lnTo>
                  <a:lnTo>
                    <a:pt x="196310" y="24765"/>
                  </a:lnTo>
                  <a:lnTo>
                    <a:pt x="180404" y="20860"/>
                  </a:lnTo>
                  <a:lnTo>
                    <a:pt x="170593" y="21717"/>
                  </a:lnTo>
                  <a:lnTo>
                    <a:pt x="165449" y="17336"/>
                  </a:lnTo>
                  <a:lnTo>
                    <a:pt x="158782" y="20384"/>
                  </a:lnTo>
                  <a:lnTo>
                    <a:pt x="155639" y="18097"/>
                  </a:lnTo>
                  <a:lnTo>
                    <a:pt x="154115" y="12382"/>
                  </a:lnTo>
                  <a:lnTo>
                    <a:pt x="144304" y="5429"/>
                  </a:lnTo>
                  <a:lnTo>
                    <a:pt x="137065" y="3905"/>
                  </a:lnTo>
                  <a:lnTo>
                    <a:pt x="128588" y="8477"/>
                  </a:lnTo>
                  <a:lnTo>
                    <a:pt x="123635" y="19336"/>
                  </a:lnTo>
                  <a:lnTo>
                    <a:pt x="117443" y="20098"/>
                  </a:lnTo>
                  <a:lnTo>
                    <a:pt x="120872" y="28670"/>
                  </a:lnTo>
                  <a:lnTo>
                    <a:pt x="120301" y="36957"/>
                  </a:lnTo>
                  <a:lnTo>
                    <a:pt x="120682" y="43720"/>
                  </a:lnTo>
                  <a:lnTo>
                    <a:pt x="117729" y="46863"/>
                  </a:lnTo>
                  <a:lnTo>
                    <a:pt x="109633" y="62294"/>
                  </a:lnTo>
                  <a:lnTo>
                    <a:pt x="109633" y="74104"/>
                  </a:lnTo>
                  <a:lnTo>
                    <a:pt x="105156" y="87630"/>
                  </a:lnTo>
                  <a:lnTo>
                    <a:pt x="107061" y="98488"/>
                  </a:lnTo>
                  <a:lnTo>
                    <a:pt x="103251" y="103346"/>
                  </a:lnTo>
                  <a:lnTo>
                    <a:pt x="102108" y="109728"/>
                  </a:lnTo>
                  <a:lnTo>
                    <a:pt x="102299" y="117062"/>
                  </a:lnTo>
                  <a:lnTo>
                    <a:pt x="94107" y="126492"/>
                  </a:lnTo>
                  <a:lnTo>
                    <a:pt x="85249" y="129635"/>
                  </a:lnTo>
                  <a:lnTo>
                    <a:pt x="76772" y="144875"/>
                  </a:lnTo>
                  <a:lnTo>
                    <a:pt x="71342" y="149733"/>
                  </a:lnTo>
                  <a:lnTo>
                    <a:pt x="71533" y="165830"/>
                  </a:lnTo>
                  <a:lnTo>
                    <a:pt x="73438" y="171640"/>
                  </a:lnTo>
                  <a:lnTo>
                    <a:pt x="66675" y="184785"/>
                  </a:lnTo>
                  <a:lnTo>
                    <a:pt x="59722" y="185928"/>
                  </a:lnTo>
                  <a:lnTo>
                    <a:pt x="57531" y="191357"/>
                  </a:lnTo>
                  <a:lnTo>
                    <a:pt x="52959" y="191738"/>
                  </a:lnTo>
                  <a:lnTo>
                    <a:pt x="43434" y="203549"/>
                  </a:lnTo>
                  <a:lnTo>
                    <a:pt x="40005" y="201644"/>
                  </a:lnTo>
                  <a:lnTo>
                    <a:pt x="36290" y="202787"/>
                  </a:lnTo>
                  <a:lnTo>
                    <a:pt x="35338" y="196977"/>
                  </a:lnTo>
                  <a:lnTo>
                    <a:pt x="38957" y="194024"/>
                  </a:lnTo>
                  <a:lnTo>
                    <a:pt x="35719" y="190024"/>
                  </a:lnTo>
                  <a:lnTo>
                    <a:pt x="28766" y="193643"/>
                  </a:lnTo>
                  <a:lnTo>
                    <a:pt x="23146" y="192691"/>
                  </a:lnTo>
                  <a:lnTo>
                    <a:pt x="22574" y="199644"/>
                  </a:lnTo>
                  <a:lnTo>
                    <a:pt x="16574" y="202787"/>
                  </a:lnTo>
                  <a:lnTo>
                    <a:pt x="11621" y="198120"/>
                  </a:lnTo>
                  <a:lnTo>
                    <a:pt x="0" y="208312"/>
                  </a:lnTo>
                  <a:lnTo>
                    <a:pt x="0" y="221361"/>
                  </a:lnTo>
                  <a:lnTo>
                    <a:pt x="8573" y="222123"/>
                  </a:lnTo>
                  <a:lnTo>
                    <a:pt x="77533" y="223361"/>
                  </a:lnTo>
                  <a:lnTo>
                    <a:pt x="82677" y="229076"/>
                  </a:lnTo>
                  <a:lnTo>
                    <a:pt x="81153" y="236792"/>
                  </a:lnTo>
                  <a:lnTo>
                    <a:pt x="87344" y="242983"/>
                  </a:lnTo>
                  <a:lnTo>
                    <a:pt x="98108" y="266224"/>
                  </a:lnTo>
                  <a:lnTo>
                    <a:pt x="134779" y="265176"/>
                  </a:lnTo>
                  <a:lnTo>
                    <a:pt x="137351" y="246126"/>
                  </a:lnTo>
                  <a:lnTo>
                    <a:pt x="148685" y="246126"/>
                  </a:lnTo>
                  <a:lnTo>
                    <a:pt x="159544" y="239935"/>
                  </a:lnTo>
                  <a:lnTo>
                    <a:pt x="159544" y="250222"/>
                  </a:lnTo>
                  <a:lnTo>
                    <a:pt x="185356" y="250222"/>
                  </a:lnTo>
                  <a:lnTo>
                    <a:pt x="181166" y="261556"/>
                  </a:lnTo>
                  <a:lnTo>
                    <a:pt x="186881" y="274987"/>
                  </a:lnTo>
                  <a:lnTo>
                    <a:pt x="182213" y="293561"/>
                  </a:lnTo>
                  <a:lnTo>
                    <a:pt x="190024" y="302895"/>
                  </a:lnTo>
                  <a:lnTo>
                    <a:pt x="194120" y="314515"/>
                  </a:lnTo>
                  <a:lnTo>
                    <a:pt x="187928" y="321850"/>
                  </a:lnTo>
                  <a:lnTo>
                    <a:pt x="191548" y="330803"/>
                  </a:lnTo>
                  <a:lnTo>
                    <a:pt x="200787" y="324517"/>
                  </a:lnTo>
                  <a:lnTo>
                    <a:pt x="208598" y="327184"/>
                  </a:lnTo>
                  <a:lnTo>
                    <a:pt x="215265" y="323469"/>
                  </a:lnTo>
                  <a:lnTo>
                    <a:pt x="226124" y="321755"/>
                  </a:lnTo>
                  <a:lnTo>
                    <a:pt x="228695" y="321373"/>
                  </a:lnTo>
                  <a:lnTo>
                    <a:pt x="235934" y="325564"/>
                  </a:lnTo>
                  <a:lnTo>
                    <a:pt x="236411" y="333470"/>
                  </a:lnTo>
                  <a:lnTo>
                    <a:pt x="252889" y="327184"/>
                  </a:lnTo>
                  <a:lnTo>
                    <a:pt x="254984" y="338233"/>
                  </a:lnTo>
                  <a:lnTo>
                    <a:pt x="280226" y="344043"/>
                  </a:lnTo>
                  <a:lnTo>
                    <a:pt x="288989" y="334518"/>
                  </a:lnTo>
                  <a:lnTo>
                    <a:pt x="297847" y="349282"/>
                  </a:lnTo>
                  <a:lnTo>
                    <a:pt x="310706" y="351377"/>
                  </a:lnTo>
                  <a:lnTo>
                    <a:pt x="313849" y="360331"/>
                  </a:lnTo>
                  <a:lnTo>
                    <a:pt x="320993" y="362426"/>
                  </a:lnTo>
                  <a:lnTo>
                    <a:pt x="327184" y="372999"/>
                  </a:lnTo>
                  <a:lnTo>
                    <a:pt x="334994" y="369856"/>
                  </a:lnTo>
                  <a:lnTo>
                    <a:pt x="342710" y="375666"/>
                  </a:lnTo>
                  <a:lnTo>
                    <a:pt x="342710" y="345567"/>
                  </a:lnTo>
                  <a:lnTo>
                    <a:pt x="335471" y="347663"/>
                  </a:lnTo>
                  <a:lnTo>
                    <a:pt x="334423" y="353473"/>
                  </a:lnTo>
                  <a:lnTo>
                    <a:pt x="325660" y="351377"/>
                  </a:lnTo>
                  <a:lnTo>
                    <a:pt x="312801" y="335566"/>
                  </a:lnTo>
                  <a:lnTo>
                    <a:pt x="318992" y="317087"/>
                  </a:lnTo>
                  <a:lnTo>
                    <a:pt x="315849" y="308515"/>
                  </a:lnTo>
                  <a:lnTo>
                    <a:pt x="318992" y="300799"/>
                  </a:lnTo>
                  <a:lnTo>
                    <a:pt x="312230" y="289465"/>
                  </a:lnTo>
                  <a:lnTo>
                    <a:pt x="321564" y="282702"/>
                  </a:lnTo>
                  <a:lnTo>
                    <a:pt x="323564" y="275463"/>
                  </a:lnTo>
                  <a:lnTo>
                    <a:pt x="353759" y="268510"/>
                  </a:lnTo>
                  <a:lnTo>
                    <a:pt x="345186" y="250793"/>
                  </a:lnTo>
                  <a:lnTo>
                    <a:pt x="335185" y="243745"/>
                  </a:lnTo>
                  <a:lnTo>
                    <a:pt x="326612" y="225933"/>
                  </a:lnTo>
                  <a:lnTo>
                    <a:pt x="329756" y="215170"/>
                  </a:lnTo>
                  <a:lnTo>
                    <a:pt x="324326" y="205073"/>
                  </a:lnTo>
                  <a:lnTo>
                    <a:pt x="325850" y="174117"/>
                  </a:lnTo>
                  <a:lnTo>
                    <a:pt x="329375" y="173641"/>
                  </a:lnTo>
                  <a:lnTo>
                    <a:pt x="329375" y="166592"/>
                  </a:lnTo>
                  <a:lnTo>
                    <a:pt x="325279" y="162401"/>
                  </a:lnTo>
                  <a:lnTo>
                    <a:pt x="326231" y="159925"/>
                  </a:lnTo>
                  <a:lnTo>
                    <a:pt x="326136" y="159829"/>
                  </a:lnTo>
                  <a:lnTo>
                    <a:pt x="322421" y="158115"/>
                  </a:lnTo>
                  <a:lnTo>
                    <a:pt x="322421" y="152305"/>
                  </a:lnTo>
                  <a:lnTo>
                    <a:pt x="329184" y="147638"/>
                  </a:lnTo>
                  <a:lnTo>
                    <a:pt x="327660" y="143161"/>
                  </a:lnTo>
                  <a:lnTo>
                    <a:pt x="332327" y="135636"/>
                  </a:lnTo>
                  <a:lnTo>
                    <a:pt x="337185" y="13382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7" name="Freeform: Shape 2787">
              <a:extLst>
                <a:ext uri="{FF2B5EF4-FFF2-40B4-BE49-F238E27FC236}">
                  <a16:creationId xmlns:a16="http://schemas.microsoft.com/office/drawing/2014/main" id="{7F26EFE0-839F-8C12-61FC-BEFB45C4665C}"/>
                </a:ext>
              </a:extLst>
            </p:cNvPr>
            <p:cNvSpPr/>
            <p:nvPr/>
          </p:nvSpPr>
          <p:spPr>
            <a:xfrm>
              <a:off x="2317337" y="4676711"/>
              <a:ext cx="46481" cy="110680"/>
            </a:xfrm>
            <a:custGeom>
              <a:avLst/>
              <a:gdLst>
                <a:gd name="connsiteX0" fmla="*/ 5048 w 46481"/>
                <a:gd name="connsiteY0" fmla="*/ 286 h 110680"/>
                <a:gd name="connsiteX1" fmla="*/ 1524 w 46481"/>
                <a:gd name="connsiteY1" fmla="*/ 762 h 110680"/>
                <a:gd name="connsiteX2" fmla="*/ 0 w 46481"/>
                <a:gd name="connsiteY2" fmla="*/ 31718 h 110680"/>
                <a:gd name="connsiteX3" fmla="*/ 5429 w 46481"/>
                <a:gd name="connsiteY3" fmla="*/ 41815 h 110680"/>
                <a:gd name="connsiteX4" fmla="*/ 2286 w 46481"/>
                <a:gd name="connsiteY4" fmla="*/ 52578 h 110680"/>
                <a:gd name="connsiteX5" fmla="*/ 10858 w 46481"/>
                <a:gd name="connsiteY5" fmla="*/ 70390 h 110680"/>
                <a:gd name="connsiteX6" fmla="*/ 20860 w 46481"/>
                <a:gd name="connsiteY6" fmla="*/ 77438 h 110680"/>
                <a:gd name="connsiteX7" fmla="*/ 29432 w 46481"/>
                <a:gd name="connsiteY7" fmla="*/ 95155 h 110680"/>
                <a:gd name="connsiteX8" fmla="*/ 27051 w 46481"/>
                <a:gd name="connsiteY8" fmla="*/ 102965 h 110680"/>
                <a:gd name="connsiteX9" fmla="*/ 43339 w 46481"/>
                <a:gd name="connsiteY9" fmla="*/ 110680 h 110680"/>
                <a:gd name="connsiteX10" fmla="*/ 46482 w 46481"/>
                <a:gd name="connsiteY10" fmla="*/ 101346 h 110680"/>
                <a:gd name="connsiteX11" fmla="*/ 34861 w 46481"/>
                <a:gd name="connsiteY11" fmla="*/ 85915 h 110680"/>
                <a:gd name="connsiteX12" fmla="*/ 33242 w 46481"/>
                <a:gd name="connsiteY12" fmla="*/ 71152 h 110680"/>
                <a:gd name="connsiteX13" fmla="*/ 23241 w 46481"/>
                <a:gd name="connsiteY13" fmla="*/ 60388 h 110680"/>
                <a:gd name="connsiteX14" fmla="*/ 15526 w 46481"/>
                <a:gd name="connsiteY14" fmla="*/ 58007 h 110680"/>
                <a:gd name="connsiteX15" fmla="*/ 20098 w 46481"/>
                <a:gd name="connsiteY15" fmla="*/ 45625 h 110680"/>
                <a:gd name="connsiteX16" fmla="*/ 13525 w 46481"/>
                <a:gd name="connsiteY16" fmla="*/ 21241 h 110680"/>
                <a:gd name="connsiteX17" fmla="*/ 7715 w 46481"/>
                <a:gd name="connsiteY17" fmla="*/ 0 h 110680"/>
                <a:gd name="connsiteX18" fmla="*/ 5048 w 46481"/>
                <a:gd name="connsiteY18" fmla="*/ 286 h 11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481" h="110680">
                  <a:moveTo>
                    <a:pt x="5048" y="286"/>
                  </a:moveTo>
                  <a:lnTo>
                    <a:pt x="1524" y="762"/>
                  </a:lnTo>
                  <a:lnTo>
                    <a:pt x="0" y="31718"/>
                  </a:lnTo>
                  <a:lnTo>
                    <a:pt x="5429" y="41815"/>
                  </a:lnTo>
                  <a:lnTo>
                    <a:pt x="2286" y="52578"/>
                  </a:lnTo>
                  <a:lnTo>
                    <a:pt x="10858" y="70390"/>
                  </a:lnTo>
                  <a:lnTo>
                    <a:pt x="20860" y="77438"/>
                  </a:lnTo>
                  <a:lnTo>
                    <a:pt x="29432" y="95155"/>
                  </a:lnTo>
                  <a:lnTo>
                    <a:pt x="27051" y="102965"/>
                  </a:lnTo>
                  <a:lnTo>
                    <a:pt x="43339" y="110680"/>
                  </a:lnTo>
                  <a:lnTo>
                    <a:pt x="46482" y="101346"/>
                  </a:lnTo>
                  <a:lnTo>
                    <a:pt x="34861" y="85915"/>
                  </a:lnTo>
                  <a:lnTo>
                    <a:pt x="33242" y="71152"/>
                  </a:lnTo>
                  <a:lnTo>
                    <a:pt x="23241" y="60388"/>
                  </a:lnTo>
                  <a:lnTo>
                    <a:pt x="15526" y="58007"/>
                  </a:lnTo>
                  <a:lnTo>
                    <a:pt x="20098" y="45625"/>
                  </a:lnTo>
                  <a:lnTo>
                    <a:pt x="13525" y="21241"/>
                  </a:lnTo>
                  <a:lnTo>
                    <a:pt x="7715" y="0"/>
                  </a:lnTo>
                  <a:lnTo>
                    <a:pt x="5048" y="28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8" name="Freeform: Shape 2788">
              <a:extLst>
                <a:ext uri="{FF2B5EF4-FFF2-40B4-BE49-F238E27FC236}">
                  <a16:creationId xmlns:a16="http://schemas.microsoft.com/office/drawing/2014/main" id="{0E0EB7BD-37CA-D069-4F89-125E0489298D}"/>
                </a:ext>
              </a:extLst>
            </p:cNvPr>
            <p:cNvSpPr/>
            <p:nvPr/>
          </p:nvSpPr>
          <p:spPr>
            <a:xfrm>
              <a:off x="1573434" y="4395724"/>
              <a:ext cx="122491" cy="127634"/>
            </a:xfrm>
            <a:custGeom>
              <a:avLst/>
              <a:gdLst>
                <a:gd name="connsiteX0" fmla="*/ 51530 w 122491"/>
                <a:gd name="connsiteY0" fmla="*/ 11811 h 127634"/>
                <a:gd name="connsiteX1" fmla="*/ 47149 w 122491"/>
                <a:gd name="connsiteY1" fmla="*/ 10001 h 127634"/>
                <a:gd name="connsiteX2" fmla="*/ 49721 w 122491"/>
                <a:gd name="connsiteY2" fmla="*/ 3524 h 127634"/>
                <a:gd name="connsiteX3" fmla="*/ 48101 w 122491"/>
                <a:gd name="connsiteY3" fmla="*/ 0 h 127634"/>
                <a:gd name="connsiteX4" fmla="*/ 43339 w 122491"/>
                <a:gd name="connsiteY4" fmla="*/ 381 h 127634"/>
                <a:gd name="connsiteX5" fmla="*/ 43434 w 122491"/>
                <a:gd name="connsiteY5" fmla="*/ 4953 h 127634"/>
                <a:gd name="connsiteX6" fmla="*/ 38291 w 122491"/>
                <a:gd name="connsiteY6" fmla="*/ 2381 h 127634"/>
                <a:gd name="connsiteX7" fmla="*/ 38576 w 122491"/>
                <a:gd name="connsiteY7" fmla="*/ 9334 h 127634"/>
                <a:gd name="connsiteX8" fmla="*/ 32766 w 122491"/>
                <a:gd name="connsiteY8" fmla="*/ 8572 h 127634"/>
                <a:gd name="connsiteX9" fmla="*/ 33623 w 122491"/>
                <a:gd name="connsiteY9" fmla="*/ 13335 h 127634"/>
                <a:gd name="connsiteX10" fmla="*/ 25146 w 122491"/>
                <a:gd name="connsiteY10" fmla="*/ 11049 h 127634"/>
                <a:gd name="connsiteX11" fmla="*/ 24194 w 122491"/>
                <a:gd name="connsiteY11" fmla="*/ 7810 h 127634"/>
                <a:gd name="connsiteX12" fmla="*/ 19812 w 122491"/>
                <a:gd name="connsiteY12" fmla="*/ 7048 h 127634"/>
                <a:gd name="connsiteX13" fmla="*/ 15431 w 122491"/>
                <a:gd name="connsiteY13" fmla="*/ 13716 h 127634"/>
                <a:gd name="connsiteX14" fmla="*/ 10668 w 122491"/>
                <a:gd name="connsiteY14" fmla="*/ 13430 h 127634"/>
                <a:gd name="connsiteX15" fmla="*/ 10573 w 122491"/>
                <a:gd name="connsiteY15" fmla="*/ 13430 h 127634"/>
                <a:gd name="connsiteX16" fmla="*/ 8954 w 122491"/>
                <a:gd name="connsiteY16" fmla="*/ 16097 h 127634"/>
                <a:gd name="connsiteX17" fmla="*/ 9239 w 122491"/>
                <a:gd name="connsiteY17" fmla="*/ 26860 h 127634"/>
                <a:gd name="connsiteX18" fmla="*/ 15145 w 122491"/>
                <a:gd name="connsiteY18" fmla="*/ 25622 h 127634"/>
                <a:gd name="connsiteX19" fmla="*/ 14192 w 122491"/>
                <a:gd name="connsiteY19" fmla="*/ 30766 h 127634"/>
                <a:gd name="connsiteX20" fmla="*/ 18288 w 122491"/>
                <a:gd name="connsiteY20" fmla="*/ 35147 h 127634"/>
                <a:gd name="connsiteX21" fmla="*/ 12573 w 122491"/>
                <a:gd name="connsiteY21" fmla="*/ 38290 h 127634"/>
                <a:gd name="connsiteX22" fmla="*/ 19050 w 122491"/>
                <a:gd name="connsiteY22" fmla="*/ 42386 h 127634"/>
                <a:gd name="connsiteX23" fmla="*/ 19050 w 122491"/>
                <a:gd name="connsiteY23" fmla="*/ 49054 h 127634"/>
                <a:gd name="connsiteX24" fmla="*/ 8477 w 122491"/>
                <a:gd name="connsiteY24" fmla="*/ 45720 h 127634"/>
                <a:gd name="connsiteX25" fmla="*/ 6382 w 122491"/>
                <a:gd name="connsiteY25" fmla="*/ 50673 h 127634"/>
                <a:gd name="connsiteX26" fmla="*/ 12383 w 122491"/>
                <a:gd name="connsiteY26" fmla="*/ 54197 h 127634"/>
                <a:gd name="connsiteX27" fmla="*/ 9239 w 122491"/>
                <a:gd name="connsiteY27" fmla="*/ 57626 h 127634"/>
                <a:gd name="connsiteX28" fmla="*/ 8477 w 122491"/>
                <a:gd name="connsiteY28" fmla="*/ 64294 h 127634"/>
                <a:gd name="connsiteX29" fmla="*/ 2572 w 122491"/>
                <a:gd name="connsiteY29" fmla="*/ 62960 h 127634"/>
                <a:gd name="connsiteX30" fmla="*/ 2477 w 122491"/>
                <a:gd name="connsiteY30" fmla="*/ 63246 h 127634"/>
                <a:gd name="connsiteX31" fmla="*/ 4477 w 122491"/>
                <a:gd name="connsiteY31" fmla="*/ 69913 h 127634"/>
                <a:gd name="connsiteX32" fmla="*/ 7810 w 122491"/>
                <a:gd name="connsiteY32" fmla="*/ 71818 h 127634"/>
                <a:gd name="connsiteX33" fmla="*/ 6191 w 122491"/>
                <a:gd name="connsiteY33" fmla="*/ 80010 h 127634"/>
                <a:gd name="connsiteX34" fmla="*/ 0 w 122491"/>
                <a:gd name="connsiteY34" fmla="*/ 84582 h 127634"/>
                <a:gd name="connsiteX35" fmla="*/ 8001 w 122491"/>
                <a:gd name="connsiteY35" fmla="*/ 89440 h 127634"/>
                <a:gd name="connsiteX36" fmla="*/ 14192 w 122491"/>
                <a:gd name="connsiteY36" fmla="*/ 88868 h 127634"/>
                <a:gd name="connsiteX37" fmla="*/ 14764 w 122491"/>
                <a:gd name="connsiteY37" fmla="*/ 93345 h 127634"/>
                <a:gd name="connsiteX38" fmla="*/ 18383 w 122491"/>
                <a:gd name="connsiteY38" fmla="*/ 93535 h 127634"/>
                <a:gd name="connsiteX39" fmla="*/ 18383 w 122491"/>
                <a:gd name="connsiteY39" fmla="*/ 96774 h 127634"/>
                <a:gd name="connsiteX40" fmla="*/ 24003 w 122491"/>
                <a:gd name="connsiteY40" fmla="*/ 97726 h 127634"/>
                <a:gd name="connsiteX41" fmla="*/ 24575 w 122491"/>
                <a:gd name="connsiteY41" fmla="*/ 107823 h 127634"/>
                <a:gd name="connsiteX42" fmla="*/ 20955 w 122491"/>
                <a:gd name="connsiteY42" fmla="*/ 109918 h 127634"/>
                <a:gd name="connsiteX43" fmla="*/ 22098 w 122491"/>
                <a:gd name="connsiteY43" fmla="*/ 115919 h 127634"/>
                <a:gd name="connsiteX44" fmla="*/ 19526 w 122491"/>
                <a:gd name="connsiteY44" fmla="*/ 118300 h 127634"/>
                <a:gd name="connsiteX45" fmla="*/ 21812 w 122491"/>
                <a:gd name="connsiteY45" fmla="*/ 127635 h 127634"/>
                <a:gd name="connsiteX46" fmla="*/ 54197 w 122491"/>
                <a:gd name="connsiteY46" fmla="*/ 114490 h 127634"/>
                <a:gd name="connsiteX47" fmla="*/ 71723 w 122491"/>
                <a:gd name="connsiteY47" fmla="*/ 112109 h 127634"/>
                <a:gd name="connsiteX48" fmla="*/ 67437 w 122491"/>
                <a:gd name="connsiteY48" fmla="*/ 103346 h 127634"/>
                <a:gd name="connsiteX49" fmla="*/ 79724 w 122491"/>
                <a:gd name="connsiteY49" fmla="*/ 111157 h 127634"/>
                <a:gd name="connsiteX50" fmla="*/ 99727 w 122491"/>
                <a:gd name="connsiteY50" fmla="*/ 111728 h 127634"/>
                <a:gd name="connsiteX51" fmla="*/ 111062 w 122491"/>
                <a:gd name="connsiteY51" fmla="*/ 107251 h 127634"/>
                <a:gd name="connsiteX52" fmla="*/ 109442 w 122491"/>
                <a:gd name="connsiteY52" fmla="*/ 112871 h 127634"/>
                <a:gd name="connsiteX53" fmla="*/ 117443 w 122491"/>
                <a:gd name="connsiteY53" fmla="*/ 112871 h 127634"/>
                <a:gd name="connsiteX54" fmla="*/ 116110 w 122491"/>
                <a:gd name="connsiteY54" fmla="*/ 102394 h 127634"/>
                <a:gd name="connsiteX55" fmla="*/ 111252 w 122491"/>
                <a:gd name="connsiteY55" fmla="*/ 101822 h 127634"/>
                <a:gd name="connsiteX56" fmla="*/ 106109 w 122491"/>
                <a:gd name="connsiteY56" fmla="*/ 82867 h 127634"/>
                <a:gd name="connsiteX57" fmla="*/ 108966 w 122491"/>
                <a:gd name="connsiteY57" fmla="*/ 72962 h 127634"/>
                <a:gd name="connsiteX58" fmla="*/ 113252 w 122491"/>
                <a:gd name="connsiteY58" fmla="*/ 73533 h 127634"/>
                <a:gd name="connsiteX59" fmla="*/ 116110 w 122491"/>
                <a:gd name="connsiteY59" fmla="*/ 56007 h 127634"/>
                <a:gd name="connsiteX60" fmla="*/ 122492 w 122491"/>
                <a:gd name="connsiteY60" fmla="*/ 51149 h 127634"/>
                <a:gd name="connsiteX61" fmla="*/ 120015 w 122491"/>
                <a:gd name="connsiteY61" fmla="*/ 35814 h 127634"/>
                <a:gd name="connsiteX62" fmla="*/ 115538 w 122491"/>
                <a:gd name="connsiteY62" fmla="*/ 34480 h 127634"/>
                <a:gd name="connsiteX63" fmla="*/ 119063 w 122491"/>
                <a:gd name="connsiteY63" fmla="*/ 25813 h 127634"/>
                <a:gd name="connsiteX64" fmla="*/ 114109 w 122491"/>
                <a:gd name="connsiteY64" fmla="*/ 28099 h 127634"/>
                <a:gd name="connsiteX65" fmla="*/ 106013 w 122491"/>
                <a:gd name="connsiteY65" fmla="*/ 17050 h 127634"/>
                <a:gd name="connsiteX66" fmla="*/ 96298 w 122491"/>
                <a:gd name="connsiteY66" fmla="*/ 16478 h 127634"/>
                <a:gd name="connsiteX67" fmla="*/ 92297 w 122491"/>
                <a:gd name="connsiteY67" fmla="*/ 19526 h 127634"/>
                <a:gd name="connsiteX68" fmla="*/ 88964 w 122491"/>
                <a:gd name="connsiteY68" fmla="*/ 19050 h 127634"/>
                <a:gd name="connsiteX69" fmla="*/ 84963 w 122491"/>
                <a:gd name="connsiteY69" fmla="*/ 24193 h 127634"/>
                <a:gd name="connsiteX70" fmla="*/ 81058 w 122491"/>
                <a:gd name="connsiteY70" fmla="*/ 20098 h 127634"/>
                <a:gd name="connsiteX71" fmla="*/ 78105 w 122491"/>
                <a:gd name="connsiteY71" fmla="*/ 21717 h 127634"/>
                <a:gd name="connsiteX72" fmla="*/ 72771 w 122491"/>
                <a:gd name="connsiteY72" fmla="*/ 18383 h 127634"/>
                <a:gd name="connsiteX73" fmla="*/ 72200 w 122491"/>
                <a:gd name="connsiteY73" fmla="*/ 14478 h 127634"/>
                <a:gd name="connsiteX74" fmla="*/ 69152 w 122491"/>
                <a:gd name="connsiteY74" fmla="*/ 9715 h 127634"/>
                <a:gd name="connsiteX75" fmla="*/ 63341 w 122491"/>
                <a:gd name="connsiteY75" fmla="*/ 9906 h 127634"/>
                <a:gd name="connsiteX76" fmla="*/ 61341 w 122491"/>
                <a:gd name="connsiteY76" fmla="*/ 7048 h 127634"/>
                <a:gd name="connsiteX77" fmla="*/ 54483 w 122491"/>
                <a:gd name="connsiteY77" fmla="*/ 7810 h 127634"/>
                <a:gd name="connsiteX78" fmla="*/ 51530 w 122491"/>
                <a:gd name="connsiteY78" fmla="*/ 11811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2491" h="127634">
                  <a:moveTo>
                    <a:pt x="51530" y="11811"/>
                  </a:moveTo>
                  <a:lnTo>
                    <a:pt x="47149" y="10001"/>
                  </a:lnTo>
                  <a:lnTo>
                    <a:pt x="49721" y="3524"/>
                  </a:lnTo>
                  <a:lnTo>
                    <a:pt x="48101" y="0"/>
                  </a:lnTo>
                  <a:lnTo>
                    <a:pt x="43339" y="381"/>
                  </a:lnTo>
                  <a:lnTo>
                    <a:pt x="43434" y="4953"/>
                  </a:lnTo>
                  <a:lnTo>
                    <a:pt x="38291" y="2381"/>
                  </a:lnTo>
                  <a:lnTo>
                    <a:pt x="38576" y="9334"/>
                  </a:lnTo>
                  <a:lnTo>
                    <a:pt x="32766" y="8572"/>
                  </a:lnTo>
                  <a:lnTo>
                    <a:pt x="33623" y="13335"/>
                  </a:lnTo>
                  <a:lnTo>
                    <a:pt x="25146" y="11049"/>
                  </a:lnTo>
                  <a:lnTo>
                    <a:pt x="24194" y="7810"/>
                  </a:lnTo>
                  <a:lnTo>
                    <a:pt x="19812" y="7048"/>
                  </a:lnTo>
                  <a:lnTo>
                    <a:pt x="15431" y="13716"/>
                  </a:lnTo>
                  <a:lnTo>
                    <a:pt x="10668" y="13430"/>
                  </a:lnTo>
                  <a:lnTo>
                    <a:pt x="10573" y="13430"/>
                  </a:lnTo>
                  <a:lnTo>
                    <a:pt x="8954" y="16097"/>
                  </a:lnTo>
                  <a:lnTo>
                    <a:pt x="9239" y="26860"/>
                  </a:lnTo>
                  <a:lnTo>
                    <a:pt x="15145" y="25622"/>
                  </a:lnTo>
                  <a:lnTo>
                    <a:pt x="14192" y="30766"/>
                  </a:lnTo>
                  <a:lnTo>
                    <a:pt x="18288" y="35147"/>
                  </a:lnTo>
                  <a:lnTo>
                    <a:pt x="12573" y="38290"/>
                  </a:lnTo>
                  <a:lnTo>
                    <a:pt x="19050" y="42386"/>
                  </a:lnTo>
                  <a:lnTo>
                    <a:pt x="19050" y="49054"/>
                  </a:lnTo>
                  <a:lnTo>
                    <a:pt x="8477" y="45720"/>
                  </a:lnTo>
                  <a:lnTo>
                    <a:pt x="6382" y="50673"/>
                  </a:lnTo>
                  <a:lnTo>
                    <a:pt x="12383" y="54197"/>
                  </a:lnTo>
                  <a:lnTo>
                    <a:pt x="9239" y="57626"/>
                  </a:lnTo>
                  <a:lnTo>
                    <a:pt x="8477" y="64294"/>
                  </a:lnTo>
                  <a:lnTo>
                    <a:pt x="2572" y="62960"/>
                  </a:lnTo>
                  <a:lnTo>
                    <a:pt x="2477" y="63246"/>
                  </a:lnTo>
                  <a:lnTo>
                    <a:pt x="4477" y="69913"/>
                  </a:lnTo>
                  <a:lnTo>
                    <a:pt x="7810" y="71818"/>
                  </a:lnTo>
                  <a:lnTo>
                    <a:pt x="6191" y="80010"/>
                  </a:lnTo>
                  <a:lnTo>
                    <a:pt x="0" y="84582"/>
                  </a:lnTo>
                  <a:lnTo>
                    <a:pt x="8001" y="89440"/>
                  </a:lnTo>
                  <a:lnTo>
                    <a:pt x="14192" y="88868"/>
                  </a:lnTo>
                  <a:lnTo>
                    <a:pt x="14764" y="93345"/>
                  </a:lnTo>
                  <a:lnTo>
                    <a:pt x="18383" y="93535"/>
                  </a:lnTo>
                  <a:lnTo>
                    <a:pt x="18383" y="96774"/>
                  </a:lnTo>
                  <a:lnTo>
                    <a:pt x="24003" y="97726"/>
                  </a:lnTo>
                  <a:lnTo>
                    <a:pt x="24575" y="107823"/>
                  </a:lnTo>
                  <a:lnTo>
                    <a:pt x="20955" y="109918"/>
                  </a:lnTo>
                  <a:lnTo>
                    <a:pt x="22098" y="115919"/>
                  </a:lnTo>
                  <a:lnTo>
                    <a:pt x="19526" y="118300"/>
                  </a:lnTo>
                  <a:lnTo>
                    <a:pt x="21812" y="127635"/>
                  </a:lnTo>
                  <a:lnTo>
                    <a:pt x="54197" y="114490"/>
                  </a:lnTo>
                  <a:lnTo>
                    <a:pt x="71723" y="112109"/>
                  </a:lnTo>
                  <a:lnTo>
                    <a:pt x="67437" y="103346"/>
                  </a:lnTo>
                  <a:lnTo>
                    <a:pt x="79724" y="111157"/>
                  </a:lnTo>
                  <a:lnTo>
                    <a:pt x="99727" y="111728"/>
                  </a:lnTo>
                  <a:lnTo>
                    <a:pt x="111062" y="107251"/>
                  </a:lnTo>
                  <a:lnTo>
                    <a:pt x="109442" y="112871"/>
                  </a:lnTo>
                  <a:lnTo>
                    <a:pt x="117443" y="112871"/>
                  </a:lnTo>
                  <a:lnTo>
                    <a:pt x="116110" y="102394"/>
                  </a:lnTo>
                  <a:lnTo>
                    <a:pt x="111252" y="101822"/>
                  </a:lnTo>
                  <a:lnTo>
                    <a:pt x="106109" y="82867"/>
                  </a:lnTo>
                  <a:lnTo>
                    <a:pt x="108966" y="72962"/>
                  </a:lnTo>
                  <a:lnTo>
                    <a:pt x="113252" y="73533"/>
                  </a:lnTo>
                  <a:lnTo>
                    <a:pt x="116110" y="56007"/>
                  </a:lnTo>
                  <a:lnTo>
                    <a:pt x="122492" y="51149"/>
                  </a:lnTo>
                  <a:lnTo>
                    <a:pt x="120015" y="35814"/>
                  </a:lnTo>
                  <a:lnTo>
                    <a:pt x="115538" y="34480"/>
                  </a:lnTo>
                  <a:lnTo>
                    <a:pt x="119063" y="25813"/>
                  </a:lnTo>
                  <a:lnTo>
                    <a:pt x="114109" y="28099"/>
                  </a:lnTo>
                  <a:lnTo>
                    <a:pt x="106013" y="17050"/>
                  </a:lnTo>
                  <a:lnTo>
                    <a:pt x="96298" y="16478"/>
                  </a:lnTo>
                  <a:lnTo>
                    <a:pt x="92297" y="19526"/>
                  </a:lnTo>
                  <a:lnTo>
                    <a:pt x="88964" y="19050"/>
                  </a:lnTo>
                  <a:lnTo>
                    <a:pt x="84963" y="24193"/>
                  </a:lnTo>
                  <a:lnTo>
                    <a:pt x="81058" y="20098"/>
                  </a:lnTo>
                  <a:lnTo>
                    <a:pt x="78105" y="21717"/>
                  </a:lnTo>
                  <a:lnTo>
                    <a:pt x="72771" y="18383"/>
                  </a:lnTo>
                  <a:lnTo>
                    <a:pt x="72200" y="14478"/>
                  </a:lnTo>
                  <a:lnTo>
                    <a:pt x="69152" y="9715"/>
                  </a:lnTo>
                  <a:lnTo>
                    <a:pt x="63341" y="9906"/>
                  </a:lnTo>
                  <a:lnTo>
                    <a:pt x="61341" y="7048"/>
                  </a:lnTo>
                  <a:lnTo>
                    <a:pt x="54483" y="7810"/>
                  </a:lnTo>
                  <a:lnTo>
                    <a:pt x="51530" y="1181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799" name="Freeform: Shape 2789">
              <a:extLst>
                <a:ext uri="{FF2B5EF4-FFF2-40B4-BE49-F238E27FC236}">
                  <a16:creationId xmlns:a16="http://schemas.microsoft.com/office/drawing/2014/main" id="{3765183B-ECC7-F029-079B-56A981A3D4CD}"/>
                </a:ext>
              </a:extLst>
            </p:cNvPr>
            <p:cNvSpPr/>
            <p:nvPr/>
          </p:nvSpPr>
          <p:spPr>
            <a:xfrm>
              <a:off x="2010727" y="4135310"/>
              <a:ext cx="208787" cy="327278"/>
            </a:xfrm>
            <a:custGeom>
              <a:avLst/>
              <a:gdLst>
                <a:gd name="connsiteX0" fmla="*/ 181070 w 208787"/>
                <a:gd name="connsiteY0" fmla="*/ 242506 h 327278"/>
                <a:gd name="connsiteX1" fmla="*/ 184118 w 208787"/>
                <a:gd name="connsiteY1" fmla="*/ 234505 h 327278"/>
                <a:gd name="connsiteX2" fmla="*/ 178403 w 208787"/>
                <a:gd name="connsiteY2" fmla="*/ 231934 h 327278"/>
                <a:gd name="connsiteX3" fmla="*/ 176403 w 208787"/>
                <a:gd name="connsiteY3" fmla="*/ 220884 h 327278"/>
                <a:gd name="connsiteX4" fmla="*/ 168116 w 208787"/>
                <a:gd name="connsiteY4" fmla="*/ 226123 h 327278"/>
                <a:gd name="connsiteX5" fmla="*/ 164021 w 208787"/>
                <a:gd name="connsiteY5" fmla="*/ 216598 h 327278"/>
                <a:gd name="connsiteX6" fmla="*/ 175831 w 208787"/>
                <a:gd name="connsiteY6" fmla="*/ 207645 h 327278"/>
                <a:gd name="connsiteX7" fmla="*/ 172307 w 208787"/>
                <a:gd name="connsiteY7" fmla="*/ 198691 h 327278"/>
                <a:gd name="connsiteX8" fmla="*/ 182023 w 208787"/>
                <a:gd name="connsiteY8" fmla="*/ 193453 h 327278"/>
                <a:gd name="connsiteX9" fmla="*/ 175831 w 208787"/>
                <a:gd name="connsiteY9" fmla="*/ 186023 h 327278"/>
                <a:gd name="connsiteX10" fmla="*/ 183071 w 208787"/>
                <a:gd name="connsiteY10" fmla="*/ 181832 h 327278"/>
                <a:gd name="connsiteX11" fmla="*/ 182594 w 208787"/>
                <a:gd name="connsiteY11" fmla="*/ 176022 h 327278"/>
                <a:gd name="connsiteX12" fmla="*/ 189833 w 208787"/>
                <a:gd name="connsiteY12" fmla="*/ 171831 h 327278"/>
                <a:gd name="connsiteX13" fmla="*/ 187738 w 208787"/>
                <a:gd name="connsiteY13" fmla="*/ 160210 h 327278"/>
                <a:gd name="connsiteX14" fmla="*/ 208788 w 208787"/>
                <a:gd name="connsiteY14" fmla="*/ 159734 h 327278"/>
                <a:gd name="connsiteX15" fmla="*/ 208788 w 208787"/>
                <a:gd name="connsiteY15" fmla="*/ 83820 h 327278"/>
                <a:gd name="connsiteX16" fmla="*/ 50483 w 208787"/>
                <a:gd name="connsiteY16" fmla="*/ 0 h 327278"/>
                <a:gd name="connsiteX17" fmla="*/ 30575 w 208787"/>
                <a:gd name="connsiteY17" fmla="*/ 10954 h 327278"/>
                <a:gd name="connsiteX18" fmla="*/ 30671 w 208787"/>
                <a:gd name="connsiteY18" fmla="*/ 11049 h 327278"/>
                <a:gd name="connsiteX19" fmla="*/ 34671 w 208787"/>
                <a:gd name="connsiteY19" fmla="*/ 31623 h 327278"/>
                <a:gd name="connsiteX20" fmla="*/ 34195 w 208787"/>
                <a:gd name="connsiteY20" fmla="*/ 41910 h 327278"/>
                <a:gd name="connsiteX21" fmla="*/ 42958 w 208787"/>
                <a:gd name="connsiteY21" fmla="*/ 53530 h 327278"/>
                <a:gd name="connsiteX22" fmla="*/ 41243 w 208787"/>
                <a:gd name="connsiteY22" fmla="*/ 57055 h 327278"/>
                <a:gd name="connsiteX23" fmla="*/ 50483 w 208787"/>
                <a:gd name="connsiteY23" fmla="*/ 66961 h 327278"/>
                <a:gd name="connsiteX24" fmla="*/ 44863 w 208787"/>
                <a:gd name="connsiteY24" fmla="*/ 75628 h 327278"/>
                <a:gd name="connsiteX25" fmla="*/ 40100 w 208787"/>
                <a:gd name="connsiteY25" fmla="*/ 136207 h 327278"/>
                <a:gd name="connsiteX26" fmla="*/ 18383 w 208787"/>
                <a:gd name="connsiteY26" fmla="*/ 159258 h 327278"/>
                <a:gd name="connsiteX27" fmla="*/ 6001 w 208787"/>
                <a:gd name="connsiteY27" fmla="*/ 177641 h 327278"/>
                <a:gd name="connsiteX28" fmla="*/ 6001 w 208787"/>
                <a:gd name="connsiteY28" fmla="*/ 184023 h 327278"/>
                <a:gd name="connsiteX29" fmla="*/ 0 w 208787"/>
                <a:gd name="connsiteY29" fmla="*/ 186404 h 327278"/>
                <a:gd name="connsiteX30" fmla="*/ 2762 w 208787"/>
                <a:gd name="connsiteY30" fmla="*/ 199263 h 327278"/>
                <a:gd name="connsiteX31" fmla="*/ 11049 w 208787"/>
                <a:gd name="connsiteY31" fmla="*/ 212979 h 327278"/>
                <a:gd name="connsiteX32" fmla="*/ 21527 w 208787"/>
                <a:gd name="connsiteY32" fmla="*/ 212979 h 327278"/>
                <a:gd name="connsiteX33" fmla="*/ 22670 w 208787"/>
                <a:gd name="connsiteY33" fmla="*/ 219361 h 327278"/>
                <a:gd name="connsiteX34" fmla="*/ 29242 w 208787"/>
                <a:gd name="connsiteY34" fmla="*/ 222599 h 327278"/>
                <a:gd name="connsiteX35" fmla="*/ 30004 w 208787"/>
                <a:gd name="connsiteY35" fmla="*/ 232029 h 327278"/>
                <a:gd name="connsiteX36" fmla="*/ 34195 w 208787"/>
                <a:gd name="connsiteY36" fmla="*/ 243078 h 327278"/>
                <a:gd name="connsiteX37" fmla="*/ 30766 w 208787"/>
                <a:gd name="connsiteY37" fmla="*/ 252984 h 327278"/>
                <a:gd name="connsiteX38" fmla="*/ 33052 w 208787"/>
                <a:gd name="connsiteY38" fmla="*/ 265652 h 327278"/>
                <a:gd name="connsiteX39" fmla="*/ 45053 w 208787"/>
                <a:gd name="connsiteY39" fmla="*/ 277082 h 327278"/>
                <a:gd name="connsiteX40" fmla="*/ 29242 w 208787"/>
                <a:gd name="connsiteY40" fmla="*/ 278320 h 327278"/>
                <a:gd name="connsiteX41" fmla="*/ 15240 w 208787"/>
                <a:gd name="connsiteY41" fmla="*/ 275177 h 327278"/>
                <a:gd name="connsiteX42" fmla="*/ 9906 w 208787"/>
                <a:gd name="connsiteY42" fmla="*/ 283273 h 327278"/>
                <a:gd name="connsiteX43" fmla="*/ 33433 w 208787"/>
                <a:gd name="connsiteY43" fmla="*/ 305371 h 327278"/>
                <a:gd name="connsiteX44" fmla="*/ 42005 w 208787"/>
                <a:gd name="connsiteY44" fmla="*/ 317754 h 327278"/>
                <a:gd name="connsiteX45" fmla="*/ 40577 w 208787"/>
                <a:gd name="connsiteY45" fmla="*/ 322516 h 327278"/>
                <a:gd name="connsiteX46" fmla="*/ 47911 w 208787"/>
                <a:gd name="connsiteY46" fmla="*/ 327279 h 327278"/>
                <a:gd name="connsiteX47" fmla="*/ 58007 w 208787"/>
                <a:gd name="connsiteY47" fmla="*/ 324231 h 327278"/>
                <a:gd name="connsiteX48" fmla="*/ 57436 w 208787"/>
                <a:gd name="connsiteY48" fmla="*/ 320040 h 327278"/>
                <a:gd name="connsiteX49" fmla="*/ 62389 w 208787"/>
                <a:gd name="connsiteY49" fmla="*/ 317468 h 327278"/>
                <a:gd name="connsiteX50" fmla="*/ 68771 w 208787"/>
                <a:gd name="connsiteY50" fmla="*/ 324707 h 327278"/>
                <a:gd name="connsiteX51" fmla="*/ 83725 w 208787"/>
                <a:gd name="connsiteY51" fmla="*/ 316420 h 327278"/>
                <a:gd name="connsiteX52" fmla="*/ 103156 w 208787"/>
                <a:gd name="connsiteY52" fmla="*/ 315373 h 327278"/>
                <a:gd name="connsiteX53" fmla="*/ 103346 w 208787"/>
                <a:gd name="connsiteY53" fmla="*/ 311086 h 327278"/>
                <a:gd name="connsiteX54" fmla="*/ 112395 w 208787"/>
                <a:gd name="connsiteY54" fmla="*/ 303562 h 327278"/>
                <a:gd name="connsiteX55" fmla="*/ 106966 w 208787"/>
                <a:gd name="connsiteY55" fmla="*/ 300228 h 327278"/>
                <a:gd name="connsiteX56" fmla="*/ 112109 w 208787"/>
                <a:gd name="connsiteY56" fmla="*/ 295275 h 327278"/>
                <a:gd name="connsiteX57" fmla="*/ 136874 w 208787"/>
                <a:gd name="connsiteY57" fmla="*/ 294037 h 327278"/>
                <a:gd name="connsiteX58" fmla="*/ 139256 w 208787"/>
                <a:gd name="connsiteY58" fmla="*/ 289655 h 327278"/>
                <a:gd name="connsiteX59" fmla="*/ 144685 w 208787"/>
                <a:gd name="connsiteY59" fmla="*/ 287845 h 327278"/>
                <a:gd name="connsiteX60" fmla="*/ 153448 w 208787"/>
                <a:gd name="connsiteY60" fmla="*/ 275653 h 327278"/>
                <a:gd name="connsiteX61" fmla="*/ 157544 w 208787"/>
                <a:gd name="connsiteY61" fmla="*/ 277463 h 327278"/>
                <a:gd name="connsiteX62" fmla="*/ 163449 w 208787"/>
                <a:gd name="connsiteY62" fmla="*/ 269748 h 327278"/>
                <a:gd name="connsiteX63" fmla="*/ 162973 w 208787"/>
                <a:gd name="connsiteY63" fmla="*/ 261938 h 327278"/>
                <a:gd name="connsiteX64" fmla="*/ 172498 w 208787"/>
                <a:gd name="connsiteY64" fmla="*/ 260604 h 327278"/>
                <a:gd name="connsiteX65" fmla="*/ 178975 w 208787"/>
                <a:gd name="connsiteY65" fmla="*/ 255937 h 327278"/>
                <a:gd name="connsiteX66" fmla="*/ 186690 w 208787"/>
                <a:gd name="connsiteY66" fmla="*/ 257175 h 327278"/>
                <a:gd name="connsiteX67" fmla="*/ 189262 w 208787"/>
                <a:gd name="connsiteY67" fmla="*/ 247745 h 327278"/>
                <a:gd name="connsiteX68" fmla="*/ 181070 w 208787"/>
                <a:gd name="connsiteY68" fmla="*/ 242506 h 32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8787" h="327278">
                  <a:moveTo>
                    <a:pt x="181070" y="242506"/>
                  </a:moveTo>
                  <a:lnTo>
                    <a:pt x="184118" y="234505"/>
                  </a:lnTo>
                  <a:lnTo>
                    <a:pt x="178403" y="231934"/>
                  </a:lnTo>
                  <a:lnTo>
                    <a:pt x="176403" y="220884"/>
                  </a:lnTo>
                  <a:lnTo>
                    <a:pt x="168116" y="226123"/>
                  </a:lnTo>
                  <a:lnTo>
                    <a:pt x="164021" y="216598"/>
                  </a:lnTo>
                  <a:lnTo>
                    <a:pt x="175831" y="207645"/>
                  </a:lnTo>
                  <a:lnTo>
                    <a:pt x="172307" y="198691"/>
                  </a:lnTo>
                  <a:lnTo>
                    <a:pt x="182023" y="193453"/>
                  </a:lnTo>
                  <a:lnTo>
                    <a:pt x="175831" y="186023"/>
                  </a:lnTo>
                  <a:lnTo>
                    <a:pt x="183071" y="181832"/>
                  </a:lnTo>
                  <a:lnTo>
                    <a:pt x="182594" y="176022"/>
                  </a:lnTo>
                  <a:lnTo>
                    <a:pt x="189833" y="171831"/>
                  </a:lnTo>
                  <a:lnTo>
                    <a:pt x="187738" y="160210"/>
                  </a:lnTo>
                  <a:lnTo>
                    <a:pt x="208788" y="159734"/>
                  </a:lnTo>
                  <a:lnTo>
                    <a:pt x="208788" y="83820"/>
                  </a:lnTo>
                  <a:lnTo>
                    <a:pt x="50483" y="0"/>
                  </a:lnTo>
                  <a:lnTo>
                    <a:pt x="30575" y="10954"/>
                  </a:lnTo>
                  <a:lnTo>
                    <a:pt x="30671" y="11049"/>
                  </a:lnTo>
                  <a:lnTo>
                    <a:pt x="34671" y="31623"/>
                  </a:lnTo>
                  <a:lnTo>
                    <a:pt x="34195" y="41910"/>
                  </a:lnTo>
                  <a:lnTo>
                    <a:pt x="42958" y="53530"/>
                  </a:lnTo>
                  <a:lnTo>
                    <a:pt x="41243" y="57055"/>
                  </a:lnTo>
                  <a:lnTo>
                    <a:pt x="50483" y="66961"/>
                  </a:lnTo>
                  <a:lnTo>
                    <a:pt x="44863" y="75628"/>
                  </a:lnTo>
                  <a:lnTo>
                    <a:pt x="40100" y="136207"/>
                  </a:lnTo>
                  <a:lnTo>
                    <a:pt x="18383" y="159258"/>
                  </a:lnTo>
                  <a:lnTo>
                    <a:pt x="6001" y="177641"/>
                  </a:lnTo>
                  <a:lnTo>
                    <a:pt x="6001" y="184023"/>
                  </a:lnTo>
                  <a:lnTo>
                    <a:pt x="0" y="186404"/>
                  </a:lnTo>
                  <a:lnTo>
                    <a:pt x="2762" y="199263"/>
                  </a:lnTo>
                  <a:lnTo>
                    <a:pt x="11049" y="212979"/>
                  </a:lnTo>
                  <a:lnTo>
                    <a:pt x="21527" y="212979"/>
                  </a:lnTo>
                  <a:lnTo>
                    <a:pt x="22670" y="219361"/>
                  </a:lnTo>
                  <a:lnTo>
                    <a:pt x="29242" y="222599"/>
                  </a:lnTo>
                  <a:lnTo>
                    <a:pt x="30004" y="232029"/>
                  </a:lnTo>
                  <a:lnTo>
                    <a:pt x="34195" y="243078"/>
                  </a:lnTo>
                  <a:lnTo>
                    <a:pt x="30766" y="252984"/>
                  </a:lnTo>
                  <a:lnTo>
                    <a:pt x="33052" y="265652"/>
                  </a:lnTo>
                  <a:lnTo>
                    <a:pt x="45053" y="277082"/>
                  </a:lnTo>
                  <a:lnTo>
                    <a:pt x="29242" y="278320"/>
                  </a:lnTo>
                  <a:lnTo>
                    <a:pt x="15240" y="275177"/>
                  </a:lnTo>
                  <a:lnTo>
                    <a:pt x="9906" y="283273"/>
                  </a:lnTo>
                  <a:lnTo>
                    <a:pt x="33433" y="305371"/>
                  </a:lnTo>
                  <a:lnTo>
                    <a:pt x="42005" y="317754"/>
                  </a:lnTo>
                  <a:lnTo>
                    <a:pt x="40577" y="322516"/>
                  </a:lnTo>
                  <a:lnTo>
                    <a:pt x="47911" y="327279"/>
                  </a:lnTo>
                  <a:lnTo>
                    <a:pt x="58007" y="324231"/>
                  </a:lnTo>
                  <a:lnTo>
                    <a:pt x="57436" y="320040"/>
                  </a:lnTo>
                  <a:lnTo>
                    <a:pt x="62389" y="317468"/>
                  </a:lnTo>
                  <a:lnTo>
                    <a:pt x="68771" y="324707"/>
                  </a:lnTo>
                  <a:lnTo>
                    <a:pt x="83725" y="316420"/>
                  </a:lnTo>
                  <a:lnTo>
                    <a:pt x="103156" y="315373"/>
                  </a:lnTo>
                  <a:lnTo>
                    <a:pt x="103346" y="311086"/>
                  </a:lnTo>
                  <a:lnTo>
                    <a:pt x="112395" y="303562"/>
                  </a:lnTo>
                  <a:lnTo>
                    <a:pt x="106966" y="300228"/>
                  </a:lnTo>
                  <a:lnTo>
                    <a:pt x="112109" y="295275"/>
                  </a:lnTo>
                  <a:lnTo>
                    <a:pt x="136874" y="294037"/>
                  </a:lnTo>
                  <a:lnTo>
                    <a:pt x="139256" y="289655"/>
                  </a:lnTo>
                  <a:lnTo>
                    <a:pt x="144685" y="287845"/>
                  </a:lnTo>
                  <a:lnTo>
                    <a:pt x="153448" y="275653"/>
                  </a:lnTo>
                  <a:lnTo>
                    <a:pt x="157544" y="277463"/>
                  </a:lnTo>
                  <a:lnTo>
                    <a:pt x="163449" y="269748"/>
                  </a:lnTo>
                  <a:lnTo>
                    <a:pt x="162973" y="261938"/>
                  </a:lnTo>
                  <a:lnTo>
                    <a:pt x="172498" y="260604"/>
                  </a:lnTo>
                  <a:lnTo>
                    <a:pt x="178975" y="255937"/>
                  </a:lnTo>
                  <a:lnTo>
                    <a:pt x="186690" y="257175"/>
                  </a:lnTo>
                  <a:lnTo>
                    <a:pt x="189262" y="247745"/>
                  </a:lnTo>
                  <a:lnTo>
                    <a:pt x="181070" y="24250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0" name="Freeform: Shape 2790">
              <a:extLst>
                <a:ext uri="{FF2B5EF4-FFF2-40B4-BE49-F238E27FC236}">
                  <a16:creationId xmlns:a16="http://schemas.microsoft.com/office/drawing/2014/main" id="{B4D5DBF9-9F4B-7E8C-CDAD-4DB08E29A1A2}"/>
                </a:ext>
              </a:extLst>
            </p:cNvPr>
            <p:cNvSpPr/>
            <p:nvPr/>
          </p:nvSpPr>
          <p:spPr>
            <a:xfrm>
              <a:off x="2027967" y="4391247"/>
              <a:ext cx="261842" cy="173640"/>
            </a:xfrm>
            <a:custGeom>
              <a:avLst/>
              <a:gdLst>
                <a:gd name="connsiteX0" fmla="*/ 16954 w 261842"/>
                <a:gd name="connsiteY0" fmla="*/ 74962 h 173640"/>
                <a:gd name="connsiteX1" fmla="*/ 14668 w 261842"/>
                <a:gd name="connsiteY1" fmla="*/ 83725 h 173640"/>
                <a:gd name="connsiteX2" fmla="*/ 10287 w 261842"/>
                <a:gd name="connsiteY2" fmla="*/ 86582 h 173640"/>
                <a:gd name="connsiteX3" fmla="*/ 9049 w 261842"/>
                <a:gd name="connsiteY3" fmla="*/ 93250 h 173640"/>
                <a:gd name="connsiteX4" fmla="*/ 0 w 261842"/>
                <a:gd name="connsiteY4" fmla="*/ 98965 h 173640"/>
                <a:gd name="connsiteX5" fmla="*/ 5905 w 261842"/>
                <a:gd name="connsiteY5" fmla="*/ 102298 h 173640"/>
                <a:gd name="connsiteX6" fmla="*/ 3810 w 261842"/>
                <a:gd name="connsiteY6" fmla="*/ 113157 h 173640"/>
                <a:gd name="connsiteX7" fmla="*/ 7715 w 261842"/>
                <a:gd name="connsiteY7" fmla="*/ 117253 h 173640"/>
                <a:gd name="connsiteX8" fmla="*/ 8477 w 261842"/>
                <a:gd name="connsiteY8" fmla="*/ 127540 h 173640"/>
                <a:gd name="connsiteX9" fmla="*/ 14383 w 261842"/>
                <a:gd name="connsiteY9" fmla="*/ 131731 h 173640"/>
                <a:gd name="connsiteX10" fmla="*/ 18288 w 261842"/>
                <a:gd name="connsiteY10" fmla="*/ 138208 h 173640"/>
                <a:gd name="connsiteX11" fmla="*/ 12859 w 261842"/>
                <a:gd name="connsiteY11" fmla="*/ 138684 h 173640"/>
                <a:gd name="connsiteX12" fmla="*/ 17526 w 261842"/>
                <a:gd name="connsiteY12" fmla="*/ 145351 h 173640"/>
                <a:gd name="connsiteX13" fmla="*/ 30956 w 261842"/>
                <a:gd name="connsiteY13" fmla="*/ 156210 h 173640"/>
                <a:gd name="connsiteX14" fmla="*/ 37528 w 261842"/>
                <a:gd name="connsiteY14" fmla="*/ 173641 h 173640"/>
                <a:gd name="connsiteX15" fmla="*/ 38671 w 261842"/>
                <a:gd name="connsiteY15" fmla="*/ 172688 h 173640"/>
                <a:gd name="connsiteX16" fmla="*/ 44101 w 261842"/>
                <a:gd name="connsiteY16" fmla="*/ 161639 h 173640"/>
                <a:gd name="connsiteX17" fmla="*/ 42005 w 261842"/>
                <a:gd name="connsiteY17" fmla="*/ 154114 h 173640"/>
                <a:gd name="connsiteX18" fmla="*/ 45339 w 261842"/>
                <a:gd name="connsiteY18" fmla="*/ 147161 h 173640"/>
                <a:gd name="connsiteX19" fmla="*/ 52864 w 261842"/>
                <a:gd name="connsiteY19" fmla="*/ 148495 h 173640"/>
                <a:gd name="connsiteX20" fmla="*/ 59341 w 261842"/>
                <a:gd name="connsiteY20" fmla="*/ 147447 h 173640"/>
                <a:gd name="connsiteX21" fmla="*/ 62674 w 261842"/>
                <a:gd name="connsiteY21" fmla="*/ 143351 h 173640"/>
                <a:gd name="connsiteX22" fmla="*/ 68866 w 261842"/>
                <a:gd name="connsiteY22" fmla="*/ 148304 h 173640"/>
                <a:gd name="connsiteX23" fmla="*/ 73152 w 261842"/>
                <a:gd name="connsiteY23" fmla="*/ 145923 h 173640"/>
                <a:gd name="connsiteX24" fmla="*/ 76962 w 261842"/>
                <a:gd name="connsiteY24" fmla="*/ 149257 h 173640"/>
                <a:gd name="connsiteX25" fmla="*/ 80486 w 261842"/>
                <a:gd name="connsiteY25" fmla="*/ 146399 h 173640"/>
                <a:gd name="connsiteX26" fmla="*/ 85344 w 261842"/>
                <a:gd name="connsiteY26" fmla="*/ 149066 h 173640"/>
                <a:gd name="connsiteX27" fmla="*/ 85915 w 261842"/>
                <a:gd name="connsiteY27" fmla="*/ 140779 h 173640"/>
                <a:gd name="connsiteX28" fmla="*/ 82486 w 261842"/>
                <a:gd name="connsiteY28" fmla="*/ 132207 h 173640"/>
                <a:gd name="connsiteX29" fmla="*/ 88678 w 261842"/>
                <a:gd name="connsiteY29" fmla="*/ 131445 h 173640"/>
                <a:gd name="connsiteX30" fmla="*/ 93631 w 261842"/>
                <a:gd name="connsiteY30" fmla="*/ 120587 h 173640"/>
                <a:gd name="connsiteX31" fmla="*/ 102108 w 261842"/>
                <a:gd name="connsiteY31" fmla="*/ 116014 h 173640"/>
                <a:gd name="connsiteX32" fmla="*/ 109347 w 261842"/>
                <a:gd name="connsiteY32" fmla="*/ 117538 h 173640"/>
                <a:gd name="connsiteX33" fmla="*/ 119158 w 261842"/>
                <a:gd name="connsiteY33" fmla="*/ 124492 h 173640"/>
                <a:gd name="connsiteX34" fmla="*/ 120682 w 261842"/>
                <a:gd name="connsiteY34" fmla="*/ 130207 h 173640"/>
                <a:gd name="connsiteX35" fmla="*/ 123825 w 261842"/>
                <a:gd name="connsiteY35" fmla="*/ 132493 h 173640"/>
                <a:gd name="connsiteX36" fmla="*/ 130492 w 261842"/>
                <a:gd name="connsiteY36" fmla="*/ 129445 h 173640"/>
                <a:gd name="connsiteX37" fmla="*/ 135636 w 261842"/>
                <a:gd name="connsiteY37" fmla="*/ 133826 h 173640"/>
                <a:gd name="connsiteX38" fmla="*/ 145447 w 261842"/>
                <a:gd name="connsiteY38" fmla="*/ 132969 h 173640"/>
                <a:gd name="connsiteX39" fmla="*/ 161353 w 261842"/>
                <a:gd name="connsiteY39" fmla="*/ 136874 h 173640"/>
                <a:gd name="connsiteX40" fmla="*/ 169450 w 261842"/>
                <a:gd name="connsiteY40" fmla="*/ 121825 h 173640"/>
                <a:gd name="connsiteX41" fmla="*/ 179165 w 261842"/>
                <a:gd name="connsiteY41" fmla="*/ 127540 h 173640"/>
                <a:gd name="connsiteX42" fmla="*/ 200025 w 261842"/>
                <a:gd name="connsiteY42" fmla="*/ 116776 h 173640"/>
                <a:gd name="connsiteX43" fmla="*/ 204311 w 261842"/>
                <a:gd name="connsiteY43" fmla="*/ 121825 h 173640"/>
                <a:gd name="connsiteX44" fmla="*/ 217456 w 261842"/>
                <a:gd name="connsiteY44" fmla="*/ 119824 h 173640"/>
                <a:gd name="connsiteX45" fmla="*/ 218218 w 261842"/>
                <a:gd name="connsiteY45" fmla="*/ 112109 h 173640"/>
                <a:gd name="connsiteX46" fmla="*/ 232505 w 261842"/>
                <a:gd name="connsiteY46" fmla="*/ 114014 h 173640"/>
                <a:gd name="connsiteX47" fmla="*/ 241840 w 261842"/>
                <a:gd name="connsiteY47" fmla="*/ 119443 h 173640"/>
                <a:gd name="connsiteX48" fmla="*/ 251460 w 261842"/>
                <a:gd name="connsiteY48" fmla="*/ 115633 h 173640"/>
                <a:gd name="connsiteX49" fmla="*/ 260032 w 261842"/>
                <a:gd name="connsiteY49" fmla="*/ 118967 h 173640"/>
                <a:gd name="connsiteX50" fmla="*/ 261842 w 261842"/>
                <a:gd name="connsiteY50" fmla="*/ 115443 h 173640"/>
                <a:gd name="connsiteX51" fmla="*/ 256889 w 261842"/>
                <a:gd name="connsiteY51" fmla="*/ 110299 h 173640"/>
                <a:gd name="connsiteX52" fmla="*/ 255841 w 261842"/>
                <a:gd name="connsiteY52" fmla="*/ 105442 h 173640"/>
                <a:gd name="connsiteX53" fmla="*/ 247078 w 261842"/>
                <a:gd name="connsiteY53" fmla="*/ 99250 h 173640"/>
                <a:gd name="connsiteX54" fmla="*/ 242506 w 261842"/>
                <a:gd name="connsiteY54" fmla="*/ 99250 h 173640"/>
                <a:gd name="connsiteX55" fmla="*/ 243268 w 261842"/>
                <a:gd name="connsiteY55" fmla="*/ 93821 h 173640"/>
                <a:gd name="connsiteX56" fmla="*/ 236791 w 261842"/>
                <a:gd name="connsiteY56" fmla="*/ 92488 h 173640"/>
                <a:gd name="connsiteX57" fmla="*/ 237077 w 261842"/>
                <a:gd name="connsiteY57" fmla="*/ 88868 h 173640"/>
                <a:gd name="connsiteX58" fmla="*/ 240125 w 261842"/>
                <a:gd name="connsiteY58" fmla="*/ 86582 h 173640"/>
                <a:gd name="connsiteX59" fmla="*/ 226695 w 261842"/>
                <a:gd name="connsiteY59" fmla="*/ 76009 h 173640"/>
                <a:gd name="connsiteX60" fmla="*/ 219551 w 261842"/>
                <a:gd name="connsiteY60" fmla="*/ 73723 h 173640"/>
                <a:gd name="connsiteX61" fmla="*/ 215646 w 261842"/>
                <a:gd name="connsiteY61" fmla="*/ 68485 h 173640"/>
                <a:gd name="connsiteX62" fmla="*/ 217932 w 261842"/>
                <a:gd name="connsiteY62" fmla="*/ 63055 h 173640"/>
                <a:gd name="connsiteX63" fmla="*/ 210693 w 261842"/>
                <a:gd name="connsiteY63" fmla="*/ 61246 h 173640"/>
                <a:gd name="connsiteX64" fmla="*/ 207169 w 261842"/>
                <a:gd name="connsiteY64" fmla="*/ 55150 h 173640"/>
                <a:gd name="connsiteX65" fmla="*/ 198882 w 261842"/>
                <a:gd name="connsiteY65" fmla="*/ 56102 h 173640"/>
                <a:gd name="connsiteX66" fmla="*/ 193738 w 261842"/>
                <a:gd name="connsiteY66" fmla="*/ 53530 h 173640"/>
                <a:gd name="connsiteX67" fmla="*/ 196120 w 261842"/>
                <a:gd name="connsiteY67" fmla="*/ 46291 h 173640"/>
                <a:gd name="connsiteX68" fmla="*/ 180689 w 261842"/>
                <a:gd name="connsiteY68" fmla="*/ 44767 h 173640"/>
                <a:gd name="connsiteX69" fmla="*/ 184594 w 261842"/>
                <a:gd name="connsiteY69" fmla="*/ 39338 h 173640"/>
                <a:gd name="connsiteX70" fmla="*/ 181832 w 261842"/>
                <a:gd name="connsiteY70" fmla="*/ 33909 h 173640"/>
                <a:gd name="connsiteX71" fmla="*/ 186118 w 261842"/>
                <a:gd name="connsiteY71" fmla="*/ 25432 h 173640"/>
                <a:gd name="connsiteX72" fmla="*/ 178784 w 261842"/>
                <a:gd name="connsiteY72" fmla="*/ 11144 h 173640"/>
                <a:gd name="connsiteX73" fmla="*/ 169450 w 261842"/>
                <a:gd name="connsiteY73" fmla="*/ 1238 h 173640"/>
                <a:gd name="connsiteX74" fmla="*/ 161734 w 261842"/>
                <a:gd name="connsiteY74" fmla="*/ 0 h 173640"/>
                <a:gd name="connsiteX75" fmla="*/ 155257 w 261842"/>
                <a:gd name="connsiteY75" fmla="*/ 4667 h 173640"/>
                <a:gd name="connsiteX76" fmla="*/ 145732 w 261842"/>
                <a:gd name="connsiteY76" fmla="*/ 6001 h 173640"/>
                <a:gd name="connsiteX77" fmla="*/ 146209 w 261842"/>
                <a:gd name="connsiteY77" fmla="*/ 13811 h 173640"/>
                <a:gd name="connsiteX78" fmla="*/ 140303 w 261842"/>
                <a:gd name="connsiteY78" fmla="*/ 21526 h 173640"/>
                <a:gd name="connsiteX79" fmla="*/ 136207 w 261842"/>
                <a:gd name="connsiteY79" fmla="*/ 19717 h 173640"/>
                <a:gd name="connsiteX80" fmla="*/ 127444 w 261842"/>
                <a:gd name="connsiteY80" fmla="*/ 31909 h 173640"/>
                <a:gd name="connsiteX81" fmla="*/ 122015 w 261842"/>
                <a:gd name="connsiteY81" fmla="*/ 33718 h 173640"/>
                <a:gd name="connsiteX82" fmla="*/ 119634 w 261842"/>
                <a:gd name="connsiteY82" fmla="*/ 38100 h 173640"/>
                <a:gd name="connsiteX83" fmla="*/ 94869 w 261842"/>
                <a:gd name="connsiteY83" fmla="*/ 39338 h 173640"/>
                <a:gd name="connsiteX84" fmla="*/ 89725 w 261842"/>
                <a:gd name="connsiteY84" fmla="*/ 44291 h 173640"/>
                <a:gd name="connsiteX85" fmla="*/ 95155 w 261842"/>
                <a:gd name="connsiteY85" fmla="*/ 47625 h 173640"/>
                <a:gd name="connsiteX86" fmla="*/ 86106 w 261842"/>
                <a:gd name="connsiteY86" fmla="*/ 55150 h 173640"/>
                <a:gd name="connsiteX87" fmla="*/ 85915 w 261842"/>
                <a:gd name="connsiteY87" fmla="*/ 59436 h 173640"/>
                <a:gd name="connsiteX88" fmla="*/ 66484 w 261842"/>
                <a:gd name="connsiteY88" fmla="*/ 60484 h 173640"/>
                <a:gd name="connsiteX89" fmla="*/ 51530 w 261842"/>
                <a:gd name="connsiteY89" fmla="*/ 68771 h 173640"/>
                <a:gd name="connsiteX90" fmla="*/ 45148 w 261842"/>
                <a:gd name="connsiteY90" fmla="*/ 61531 h 173640"/>
                <a:gd name="connsiteX91" fmla="*/ 40195 w 261842"/>
                <a:gd name="connsiteY91" fmla="*/ 64103 h 173640"/>
                <a:gd name="connsiteX92" fmla="*/ 40767 w 261842"/>
                <a:gd name="connsiteY92" fmla="*/ 68294 h 173640"/>
                <a:gd name="connsiteX93" fmla="*/ 30670 w 261842"/>
                <a:gd name="connsiteY93" fmla="*/ 71342 h 173640"/>
                <a:gd name="connsiteX94" fmla="*/ 23336 w 261842"/>
                <a:gd name="connsiteY94" fmla="*/ 66580 h 173640"/>
                <a:gd name="connsiteX95" fmla="*/ 21622 w 261842"/>
                <a:gd name="connsiteY95" fmla="*/ 72676 h 173640"/>
                <a:gd name="connsiteX96" fmla="*/ 16954 w 261842"/>
                <a:gd name="connsiteY96" fmla="*/ 74962 h 17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61842" h="173640">
                  <a:moveTo>
                    <a:pt x="16954" y="74962"/>
                  </a:moveTo>
                  <a:lnTo>
                    <a:pt x="14668" y="83725"/>
                  </a:lnTo>
                  <a:lnTo>
                    <a:pt x="10287" y="86582"/>
                  </a:lnTo>
                  <a:lnTo>
                    <a:pt x="9049" y="93250"/>
                  </a:lnTo>
                  <a:lnTo>
                    <a:pt x="0" y="98965"/>
                  </a:lnTo>
                  <a:lnTo>
                    <a:pt x="5905" y="102298"/>
                  </a:lnTo>
                  <a:lnTo>
                    <a:pt x="3810" y="113157"/>
                  </a:lnTo>
                  <a:lnTo>
                    <a:pt x="7715" y="117253"/>
                  </a:lnTo>
                  <a:lnTo>
                    <a:pt x="8477" y="127540"/>
                  </a:lnTo>
                  <a:lnTo>
                    <a:pt x="14383" y="131731"/>
                  </a:lnTo>
                  <a:lnTo>
                    <a:pt x="18288" y="138208"/>
                  </a:lnTo>
                  <a:lnTo>
                    <a:pt x="12859" y="138684"/>
                  </a:lnTo>
                  <a:lnTo>
                    <a:pt x="17526" y="145351"/>
                  </a:lnTo>
                  <a:lnTo>
                    <a:pt x="30956" y="156210"/>
                  </a:lnTo>
                  <a:lnTo>
                    <a:pt x="37528" y="173641"/>
                  </a:lnTo>
                  <a:lnTo>
                    <a:pt x="38671" y="172688"/>
                  </a:lnTo>
                  <a:lnTo>
                    <a:pt x="44101" y="161639"/>
                  </a:lnTo>
                  <a:lnTo>
                    <a:pt x="42005" y="154114"/>
                  </a:lnTo>
                  <a:lnTo>
                    <a:pt x="45339" y="147161"/>
                  </a:lnTo>
                  <a:lnTo>
                    <a:pt x="52864" y="148495"/>
                  </a:lnTo>
                  <a:lnTo>
                    <a:pt x="59341" y="147447"/>
                  </a:lnTo>
                  <a:lnTo>
                    <a:pt x="62674" y="143351"/>
                  </a:lnTo>
                  <a:lnTo>
                    <a:pt x="68866" y="148304"/>
                  </a:lnTo>
                  <a:lnTo>
                    <a:pt x="73152" y="145923"/>
                  </a:lnTo>
                  <a:lnTo>
                    <a:pt x="76962" y="149257"/>
                  </a:lnTo>
                  <a:lnTo>
                    <a:pt x="80486" y="146399"/>
                  </a:lnTo>
                  <a:lnTo>
                    <a:pt x="85344" y="149066"/>
                  </a:lnTo>
                  <a:lnTo>
                    <a:pt x="85915" y="140779"/>
                  </a:lnTo>
                  <a:lnTo>
                    <a:pt x="82486" y="132207"/>
                  </a:lnTo>
                  <a:lnTo>
                    <a:pt x="88678" y="131445"/>
                  </a:lnTo>
                  <a:lnTo>
                    <a:pt x="93631" y="120587"/>
                  </a:lnTo>
                  <a:lnTo>
                    <a:pt x="102108" y="116014"/>
                  </a:lnTo>
                  <a:lnTo>
                    <a:pt x="109347" y="117538"/>
                  </a:lnTo>
                  <a:lnTo>
                    <a:pt x="119158" y="124492"/>
                  </a:lnTo>
                  <a:lnTo>
                    <a:pt x="120682" y="130207"/>
                  </a:lnTo>
                  <a:lnTo>
                    <a:pt x="123825" y="132493"/>
                  </a:lnTo>
                  <a:lnTo>
                    <a:pt x="130492" y="129445"/>
                  </a:lnTo>
                  <a:lnTo>
                    <a:pt x="135636" y="133826"/>
                  </a:lnTo>
                  <a:lnTo>
                    <a:pt x="145447" y="132969"/>
                  </a:lnTo>
                  <a:lnTo>
                    <a:pt x="161353" y="136874"/>
                  </a:lnTo>
                  <a:lnTo>
                    <a:pt x="169450" y="121825"/>
                  </a:lnTo>
                  <a:lnTo>
                    <a:pt x="179165" y="127540"/>
                  </a:lnTo>
                  <a:lnTo>
                    <a:pt x="200025" y="116776"/>
                  </a:lnTo>
                  <a:lnTo>
                    <a:pt x="204311" y="121825"/>
                  </a:lnTo>
                  <a:lnTo>
                    <a:pt x="217456" y="119824"/>
                  </a:lnTo>
                  <a:lnTo>
                    <a:pt x="218218" y="112109"/>
                  </a:lnTo>
                  <a:lnTo>
                    <a:pt x="232505" y="114014"/>
                  </a:lnTo>
                  <a:lnTo>
                    <a:pt x="241840" y="119443"/>
                  </a:lnTo>
                  <a:lnTo>
                    <a:pt x="251460" y="115633"/>
                  </a:lnTo>
                  <a:lnTo>
                    <a:pt x="260032" y="118967"/>
                  </a:lnTo>
                  <a:lnTo>
                    <a:pt x="261842" y="115443"/>
                  </a:lnTo>
                  <a:lnTo>
                    <a:pt x="256889" y="110299"/>
                  </a:lnTo>
                  <a:lnTo>
                    <a:pt x="255841" y="105442"/>
                  </a:lnTo>
                  <a:lnTo>
                    <a:pt x="247078" y="99250"/>
                  </a:lnTo>
                  <a:lnTo>
                    <a:pt x="242506" y="99250"/>
                  </a:lnTo>
                  <a:lnTo>
                    <a:pt x="243268" y="93821"/>
                  </a:lnTo>
                  <a:lnTo>
                    <a:pt x="236791" y="92488"/>
                  </a:lnTo>
                  <a:lnTo>
                    <a:pt x="237077" y="88868"/>
                  </a:lnTo>
                  <a:lnTo>
                    <a:pt x="240125" y="86582"/>
                  </a:lnTo>
                  <a:lnTo>
                    <a:pt x="226695" y="76009"/>
                  </a:lnTo>
                  <a:lnTo>
                    <a:pt x="219551" y="73723"/>
                  </a:lnTo>
                  <a:lnTo>
                    <a:pt x="215646" y="68485"/>
                  </a:lnTo>
                  <a:lnTo>
                    <a:pt x="217932" y="63055"/>
                  </a:lnTo>
                  <a:lnTo>
                    <a:pt x="210693" y="61246"/>
                  </a:lnTo>
                  <a:lnTo>
                    <a:pt x="207169" y="55150"/>
                  </a:lnTo>
                  <a:lnTo>
                    <a:pt x="198882" y="56102"/>
                  </a:lnTo>
                  <a:lnTo>
                    <a:pt x="193738" y="53530"/>
                  </a:lnTo>
                  <a:lnTo>
                    <a:pt x="196120" y="46291"/>
                  </a:lnTo>
                  <a:lnTo>
                    <a:pt x="180689" y="44767"/>
                  </a:lnTo>
                  <a:lnTo>
                    <a:pt x="184594" y="39338"/>
                  </a:lnTo>
                  <a:lnTo>
                    <a:pt x="181832" y="33909"/>
                  </a:lnTo>
                  <a:lnTo>
                    <a:pt x="186118" y="25432"/>
                  </a:lnTo>
                  <a:lnTo>
                    <a:pt x="178784" y="11144"/>
                  </a:lnTo>
                  <a:lnTo>
                    <a:pt x="169450" y="1238"/>
                  </a:lnTo>
                  <a:lnTo>
                    <a:pt x="161734" y="0"/>
                  </a:lnTo>
                  <a:lnTo>
                    <a:pt x="155257" y="4667"/>
                  </a:lnTo>
                  <a:lnTo>
                    <a:pt x="145732" y="6001"/>
                  </a:lnTo>
                  <a:lnTo>
                    <a:pt x="146209" y="13811"/>
                  </a:lnTo>
                  <a:lnTo>
                    <a:pt x="140303" y="21526"/>
                  </a:lnTo>
                  <a:lnTo>
                    <a:pt x="136207" y="19717"/>
                  </a:lnTo>
                  <a:lnTo>
                    <a:pt x="127444" y="31909"/>
                  </a:lnTo>
                  <a:lnTo>
                    <a:pt x="122015" y="33718"/>
                  </a:lnTo>
                  <a:lnTo>
                    <a:pt x="119634" y="38100"/>
                  </a:lnTo>
                  <a:lnTo>
                    <a:pt x="94869" y="39338"/>
                  </a:lnTo>
                  <a:lnTo>
                    <a:pt x="89725" y="44291"/>
                  </a:lnTo>
                  <a:lnTo>
                    <a:pt x="95155" y="47625"/>
                  </a:lnTo>
                  <a:lnTo>
                    <a:pt x="86106" y="55150"/>
                  </a:lnTo>
                  <a:lnTo>
                    <a:pt x="85915" y="59436"/>
                  </a:lnTo>
                  <a:lnTo>
                    <a:pt x="66484" y="60484"/>
                  </a:lnTo>
                  <a:lnTo>
                    <a:pt x="51530" y="68771"/>
                  </a:lnTo>
                  <a:lnTo>
                    <a:pt x="45148" y="61531"/>
                  </a:lnTo>
                  <a:lnTo>
                    <a:pt x="40195" y="64103"/>
                  </a:lnTo>
                  <a:lnTo>
                    <a:pt x="40767" y="68294"/>
                  </a:lnTo>
                  <a:lnTo>
                    <a:pt x="30670" y="71342"/>
                  </a:lnTo>
                  <a:lnTo>
                    <a:pt x="23336" y="66580"/>
                  </a:lnTo>
                  <a:lnTo>
                    <a:pt x="21622" y="72676"/>
                  </a:lnTo>
                  <a:lnTo>
                    <a:pt x="16954" y="7496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1" name="Freeform: Shape 2791">
              <a:extLst>
                <a:ext uri="{FF2B5EF4-FFF2-40B4-BE49-F238E27FC236}">
                  <a16:creationId xmlns:a16="http://schemas.microsoft.com/office/drawing/2014/main" id="{A9FDE1D5-89B6-7D73-DEF8-F04DC59E0856}"/>
                </a:ext>
              </a:extLst>
            </p:cNvPr>
            <p:cNvSpPr/>
            <p:nvPr/>
          </p:nvSpPr>
          <p:spPr>
            <a:xfrm>
              <a:off x="1913572" y="4348289"/>
              <a:ext cx="152781" cy="230028"/>
            </a:xfrm>
            <a:custGeom>
              <a:avLst/>
              <a:gdLst>
                <a:gd name="connsiteX0" fmla="*/ 149161 w 152781"/>
                <a:gd name="connsiteY0" fmla="*/ 218789 h 230028"/>
                <a:gd name="connsiteX1" fmla="*/ 151924 w 152781"/>
                <a:gd name="connsiteY1" fmla="*/ 216598 h 230028"/>
                <a:gd name="connsiteX2" fmla="*/ 145352 w 152781"/>
                <a:gd name="connsiteY2" fmla="*/ 199168 h 230028"/>
                <a:gd name="connsiteX3" fmla="*/ 131921 w 152781"/>
                <a:gd name="connsiteY3" fmla="*/ 188309 h 230028"/>
                <a:gd name="connsiteX4" fmla="*/ 127254 w 152781"/>
                <a:gd name="connsiteY4" fmla="*/ 181642 h 230028"/>
                <a:gd name="connsiteX5" fmla="*/ 132683 w 152781"/>
                <a:gd name="connsiteY5" fmla="*/ 181165 h 230028"/>
                <a:gd name="connsiteX6" fmla="*/ 128778 w 152781"/>
                <a:gd name="connsiteY6" fmla="*/ 174688 h 230028"/>
                <a:gd name="connsiteX7" fmla="*/ 122873 w 152781"/>
                <a:gd name="connsiteY7" fmla="*/ 170497 h 230028"/>
                <a:gd name="connsiteX8" fmla="*/ 122111 w 152781"/>
                <a:gd name="connsiteY8" fmla="*/ 160211 h 230028"/>
                <a:gd name="connsiteX9" fmla="*/ 118205 w 152781"/>
                <a:gd name="connsiteY9" fmla="*/ 156115 h 230028"/>
                <a:gd name="connsiteX10" fmla="*/ 120301 w 152781"/>
                <a:gd name="connsiteY10" fmla="*/ 145256 h 230028"/>
                <a:gd name="connsiteX11" fmla="*/ 114395 w 152781"/>
                <a:gd name="connsiteY11" fmla="*/ 141922 h 230028"/>
                <a:gd name="connsiteX12" fmla="*/ 123444 w 152781"/>
                <a:gd name="connsiteY12" fmla="*/ 136207 h 230028"/>
                <a:gd name="connsiteX13" fmla="*/ 124682 w 152781"/>
                <a:gd name="connsiteY13" fmla="*/ 129540 h 230028"/>
                <a:gd name="connsiteX14" fmla="*/ 129064 w 152781"/>
                <a:gd name="connsiteY14" fmla="*/ 126682 h 230028"/>
                <a:gd name="connsiteX15" fmla="*/ 131350 w 152781"/>
                <a:gd name="connsiteY15" fmla="*/ 117920 h 230028"/>
                <a:gd name="connsiteX16" fmla="*/ 136017 w 152781"/>
                <a:gd name="connsiteY16" fmla="*/ 115634 h 230028"/>
                <a:gd name="connsiteX17" fmla="*/ 137731 w 152781"/>
                <a:gd name="connsiteY17" fmla="*/ 109538 h 230028"/>
                <a:gd name="connsiteX18" fmla="*/ 139160 w 152781"/>
                <a:gd name="connsiteY18" fmla="*/ 104775 h 230028"/>
                <a:gd name="connsiteX19" fmla="*/ 130588 w 152781"/>
                <a:gd name="connsiteY19" fmla="*/ 92393 h 230028"/>
                <a:gd name="connsiteX20" fmla="*/ 107061 w 152781"/>
                <a:gd name="connsiteY20" fmla="*/ 70295 h 230028"/>
                <a:gd name="connsiteX21" fmla="*/ 112395 w 152781"/>
                <a:gd name="connsiteY21" fmla="*/ 62198 h 230028"/>
                <a:gd name="connsiteX22" fmla="*/ 126397 w 152781"/>
                <a:gd name="connsiteY22" fmla="*/ 65341 h 230028"/>
                <a:gd name="connsiteX23" fmla="*/ 142208 w 152781"/>
                <a:gd name="connsiteY23" fmla="*/ 64103 h 230028"/>
                <a:gd name="connsiteX24" fmla="*/ 130207 w 152781"/>
                <a:gd name="connsiteY24" fmla="*/ 52673 h 230028"/>
                <a:gd name="connsiteX25" fmla="*/ 127921 w 152781"/>
                <a:gd name="connsiteY25" fmla="*/ 40005 h 230028"/>
                <a:gd name="connsiteX26" fmla="*/ 131350 w 152781"/>
                <a:gd name="connsiteY26" fmla="*/ 30099 h 230028"/>
                <a:gd name="connsiteX27" fmla="*/ 127159 w 152781"/>
                <a:gd name="connsiteY27" fmla="*/ 19050 h 230028"/>
                <a:gd name="connsiteX28" fmla="*/ 126397 w 152781"/>
                <a:gd name="connsiteY28" fmla="*/ 9620 h 230028"/>
                <a:gd name="connsiteX29" fmla="*/ 119825 w 152781"/>
                <a:gd name="connsiteY29" fmla="*/ 6382 h 230028"/>
                <a:gd name="connsiteX30" fmla="*/ 118681 w 152781"/>
                <a:gd name="connsiteY30" fmla="*/ 0 h 230028"/>
                <a:gd name="connsiteX31" fmla="*/ 108204 w 152781"/>
                <a:gd name="connsiteY31" fmla="*/ 0 h 230028"/>
                <a:gd name="connsiteX32" fmla="*/ 110204 w 152781"/>
                <a:gd name="connsiteY32" fmla="*/ 15240 h 230028"/>
                <a:gd name="connsiteX33" fmla="*/ 120015 w 152781"/>
                <a:gd name="connsiteY33" fmla="*/ 18669 h 230028"/>
                <a:gd name="connsiteX34" fmla="*/ 119253 w 152781"/>
                <a:gd name="connsiteY34" fmla="*/ 32861 h 230028"/>
                <a:gd name="connsiteX35" fmla="*/ 112014 w 152781"/>
                <a:gd name="connsiteY35" fmla="*/ 37910 h 230028"/>
                <a:gd name="connsiteX36" fmla="*/ 106871 w 152781"/>
                <a:gd name="connsiteY36" fmla="*/ 36576 h 230028"/>
                <a:gd name="connsiteX37" fmla="*/ 98679 w 152781"/>
                <a:gd name="connsiteY37" fmla="*/ 50578 h 230028"/>
                <a:gd name="connsiteX38" fmla="*/ 97631 w 152781"/>
                <a:gd name="connsiteY38" fmla="*/ 60388 h 230028"/>
                <a:gd name="connsiteX39" fmla="*/ 92202 w 152781"/>
                <a:gd name="connsiteY39" fmla="*/ 62484 h 230028"/>
                <a:gd name="connsiteX40" fmla="*/ 92964 w 152781"/>
                <a:gd name="connsiteY40" fmla="*/ 72771 h 230028"/>
                <a:gd name="connsiteX41" fmla="*/ 84963 w 152781"/>
                <a:gd name="connsiteY41" fmla="*/ 75057 h 230028"/>
                <a:gd name="connsiteX42" fmla="*/ 84677 w 152781"/>
                <a:gd name="connsiteY42" fmla="*/ 88011 h 230028"/>
                <a:gd name="connsiteX43" fmla="*/ 77438 w 152781"/>
                <a:gd name="connsiteY43" fmla="*/ 88487 h 230028"/>
                <a:gd name="connsiteX44" fmla="*/ 77438 w 152781"/>
                <a:gd name="connsiteY44" fmla="*/ 93631 h 230028"/>
                <a:gd name="connsiteX45" fmla="*/ 72580 w 152781"/>
                <a:gd name="connsiteY45" fmla="*/ 94679 h 230028"/>
                <a:gd name="connsiteX46" fmla="*/ 72295 w 152781"/>
                <a:gd name="connsiteY46" fmla="*/ 104013 h 230028"/>
                <a:gd name="connsiteX47" fmla="*/ 64294 w 152781"/>
                <a:gd name="connsiteY47" fmla="*/ 115348 h 230028"/>
                <a:gd name="connsiteX48" fmla="*/ 67437 w 152781"/>
                <a:gd name="connsiteY48" fmla="*/ 120205 h 230028"/>
                <a:gd name="connsiteX49" fmla="*/ 59912 w 152781"/>
                <a:gd name="connsiteY49" fmla="*/ 124587 h 230028"/>
                <a:gd name="connsiteX50" fmla="*/ 57626 w 152781"/>
                <a:gd name="connsiteY50" fmla="*/ 132588 h 230028"/>
                <a:gd name="connsiteX51" fmla="*/ 49911 w 152781"/>
                <a:gd name="connsiteY51" fmla="*/ 133636 h 230028"/>
                <a:gd name="connsiteX52" fmla="*/ 49149 w 152781"/>
                <a:gd name="connsiteY52" fmla="*/ 126968 h 230028"/>
                <a:gd name="connsiteX53" fmla="*/ 40862 w 152781"/>
                <a:gd name="connsiteY53" fmla="*/ 120205 h 230028"/>
                <a:gd name="connsiteX54" fmla="*/ 38767 w 152781"/>
                <a:gd name="connsiteY54" fmla="*/ 126397 h 230028"/>
                <a:gd name="connsiteX55" fmla="*/ 32861 w 152781"/>
                <a:gd name="connsiteY55" fmla="*/ 126206 h 230028"/>
                <a:gd name="connsiteX56" fmla="*/ 31337 w 152781"/>
                <a:gd name="connsiteY56" fmla="*/ 120968 h 230028"/>
                <a:gd name="connsiteX57" fmla="*/ 24098 w 152781"/>
                <a:gd name="connsiteY57" fmla="*/ 126206 h 230028"/>
                <a:gd name="connsiteX58" fmla="*/ 23622 w 152781"/>
                <a:gd name="connsiteY58" fmla="*/ 133350 h 230028"/>
                <a:gd name="connsiteX59" fmla="*/ 15526 w 152781"/>
                <a:gd name="connsiteY59" fmla="*/ 136017 h 230028"/>
                <a:gd name="connsiteX60" fmla="*/ 5810 w 152781"/>
                <a:gd name="connsiteY60" fmla="*/ 145542 h 230028"/>
                <a:gd name="connsiteX61" fmla="*/ 7525 w 152781"/>
                <a:gd name="connsiteY61" fmla="*/ 151162 h 230028"/>
                <a:gd name="connsiteX62" fmla="*/ 5525 w 152781"/>
                <a:gd name="connsiteY62" fmla="*/ 158972 h 230028"/>
                <a:gd name="connsiteX63" fmla="*/ 0 w 152781"/>
                <a:gd name="connsiteY63" fmla="*/ 166497 h 230028"/>
                <a:gd name="connsiteX64" fmla="*/ 23813 w 152781"/>
                <a:gd name="connsiteY64" fmla="*/ 179356 h 230028"/>
                <a:gd name="connsiteX65" fmla="*/ 28099 w 152781"/>
                <a:gd name="connsiteY65" fmla="*/ 200215 h 230028"/>
                <a:gd name="connsiteX66" fmla="*/ 23813 w 152781"/>
                <a:gd name="connsiteY66" fmla="*/ 213836 h 230028"/>
                <a:gd name="connsiteX67" fmla="*/ 28956 w 152781"/>
                <a:gd name="connsiteY67" fmla="*/ 218504 h 230028"/>
                <a:gd name="connsiteX68" fmla="*/ 55054 w 152781"/>
                <a:gd name="connsiteY68" fmla="*/ 218504 h 230028"/>
                <a:gd name="connsiteX69" fmla="*/ 55054 w 152781"/>
                <a:gd name="connsiteY69" fmla="*/ 214694 h 230028"/>
                <a:gd name="connsiteX70" fmla="*/ 71056 w 152781"/>
                <a:gd name="connsiteY70" fmla="*/ 216694 h 230028"/>
                <a:gd name="connsiteX71" fmla="*/ 76200 w 152781"/>
                <a:gd name="connsiteY71" fmla="*/ 213836 h 230028"/>
                <a:gd name="connsiteX72" fmla="*/ 84963 w 152781"/>
                <a:gd name="connsiteY72" fmla="*/ 216979 h 230028"/>
                <a:gd name="connsiteX73" fmla="*/ 92488 w 152781"/>
                <a:gd name="connsiteY73" fmla="*/ 214884 h 230028"/>
                <a:gd name="connsiteX74" fmla="*/ 94298 w 152781"/>
                <a:gd name="connsiteY74" fmla="*/ 218313 h 230028"/>
                <a:gd name="connsiteX75" fmla="*/ 118205 w 152781"/>
                <a:gd name="connsiteY75" fmla="*/ 218313 h 230028"/>
                <a:gd name="connsiteX76" fmla="*/ 126206 w 152781"/>
                <a:gd name="connsiteY76" fmla="*/ 222123 h 230028"/>
                <a:gd name="connsiteX77" fmla="*/ 131159 w 152781"/>
                <a:gd name="connsiteY77" fmla="*/ 219551 h 230028"/>
                <a:gd name="connsiteX78" fmla="*/ 133731 w 152781"/>
                <a:gd name="connsiteY78" fmla="*/ 224219 h 230028"/>
                <a:gd name="connsiteX79" fmla="*/ 138113 w 152781"/>
                <a:gd name="connsiteY79" fmla="*/ 221647 h 230028"/>
                <a:gd name="connsiteX80" fmla="*/ 144590 w 152781"/>
                <a:gd name="connsiteY80" fmla="*/ 224695 h 230028"/>
                <a:gd name="connsiteX81" fmla="*/ 147638 w 152781"/>
                <a:gd name="connsiteY81" fmla="*/ 230029 h 230028"/>
                <a:gd name="connsiteX82" fmla="*/ 152781 w 152781"/>
                <a:gd name="connsiteY82" fmla="*/ 226504 h 230028"/>
                <a:gd name="connsiteX83" fmla="*/ 149161 w 152781"/>
                <a:gd name="connsiteY83" fmla="*/ 218789 h 23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2781" h="230028">
                  <a:moveTo>
                    <a:pt x="149161" y="218789"/>
                  </a:moveTo>
                  <a:lnTo>
                    <a:pt x="151924" y="216598"/>
                  </a:lnTo>
                  <a:lnTo>
                    <a:pt x="145352" y="199168"/>
                  </a:lnTo>
                  <a:lnTo>
                    <a:pt x="131921" y="188309"/>
                  </a:lnTo>
                  <a:lnTo>
                    <a:pt x="127254" y="181642"/>
                  </a:lnTo>
                  <a:lnTo>
                    <a:pt x="132683" y="181165"/>
                  </a:lnTo>
                  <a:lnTo>
                    <a:pt x="128778" y="174688"/>
                  </a:lnTo>
                  <a:lnTo>
                    <a:pt x="122873" y="170497"/>
                  </a:lnTo>
                  <a:lnTo>
                    <a:pt x="122111" y="160211"/>
                  </a:lnTo>
                  <a:lnTo>
                    <a:pt x="118205" y="156115"/>
                  </a:lnTo>
                  <a:lnTo>
                    <a:pt x="120301" y="145256"/>
                  </a:lnTo>
                  <a:lnTo>
                    <a:pt x="114395" y="141922"/>
                  </a:lnTo>
                  <a:lnTo>
                    <a:pt x="123444" y="136207"/>
                  </a:lnTo>
                  <a:lnTo>
                    <a:pt x="124682" y="129540"/>
                  </a:lnTo>
                  <a:lnTo>
                    <a:pt x="129064" y="126682"/>
                  </a:lnTo>
                  <a:lnTo>
                    <a:pt x="131350" y="117920"/>
                  </a:lnTo>
                  <a:lnTo>
                    <a:pt x="136017" y="115634"/>
                  </a:lnTo>
                  <a:lnTo>
                    <a:pt x="137731" y="109538"/>
                  </a:lnTo>
                  <a:lnTo>
                    <a:pt x="139160" y="104775"/>
                  </a:lnTo>
                  <a:lnTo>
                    <a:pt x="130588" y="92393"/>
                  </a:lnTo>
                  <a:lnTo>
                    <a:pt x="107061" y="70295"/>
                  </a:lnTo>
                  <a:lnTo>
                    <a:pt x="112395" y="62198"/>
                  </a:lnTo>
                  <a:lnTo>
                    <a:pt x="126397" y="65341"/>
                  </a:lnTo>
                  <a:lnTo>
                    <a:pt x="142208" y="64103"/>
                  </a:lnTo>
                  <a:lnTo>
                    <a:pt x="130207" y="52673"/>
                  </a:lnTo>
                  <a:lnTo>
                    <a:pt x="127921" y="40005"/>
                  </a:lnTo>
                  <a:lnTo>
                    <a:pt x="131350" y="30099"/>
                  </a:lnTo>
                  <a:lnTo>
                    <a:pt x="127159" y="19050"/>
                  </a:lnTo>
                  <a:lnTo>
                    <a:pt x="126397" y="9620"/>
                  </a:lnTo>
                  <a:lnTo>
                    <a:pt x="119825" y="6382"/>
                  </a:lnTo>
                  <a:lnTo>
                    <a:pt x="118681" y="0"/>
                  </a:lnTo>
                  <a:lnTo>
                    <a:pt x="108204" y="0"/>
                  </a:lnTo>
                  <a:lnTo>
                    <a:pt x="110204" y="15240"/>
                  </a:lnTo>
                  <a:lnTo>
                    <a:pt x="120015" y="18669"/>
                  </a:lnTo>
                  <a:lnTo>
                    <a:pt x="119253" y="32861"/>
                  </a:lnTo>
                  <a:lnTo>
                    <a:pt x="112014" y="37910"/>
                  </a:lnTo>
                  <a:lnTo>
                    <a:pt x="106871" y="36576"/>
                  </a:lnTo>
                  <a:lnTo>
                    <a:pt x="98679" y="50578"/>
                  </a:lnTo>
                  <a:lnTo>
                    <a:pt x="97631" y="60388"/>
                  </a:lnTo>
                  <a:lnTo>
                    <a:pt x="92202" y="62484"/>
                  </a:lnTo>
                  <a:lnTo>
                    <a:pt x="92964" y="72771"/>
                  </a:lnTo>
                  <a:lnTo>
                    <a:pt x="84963" y="75057"/>
                  </a:lnTo>
                  <a:lnTo>
                    <a:pt x="84677" y="88011"/>
                  </a:lnTo>
                  <a:lnTo>
                    <a:pt x="77438" y="88487"/>
                  </a:lnTo>
                  <a:lnTo>
                    <a:pt x="77438" y="93631"/>
                  </a:lnTo>
                  <a:lnTo>
                    <a:pt x="72580" y="94679"/>
                  </a:lnTo>
                  <a:lnTo>
                    <a:pt x="72295" y="104013"/>
                  </a:lnTo>
                  <a:lnTo>
                    <a:pt x="64294" y="115348"/>
                  </a:lnTo>
                  <a:lnTo>
                    <a:pt x="67437" y="120205"/>
                  </a:lnTo>
                  <a:lnTo>
                    <a:pt x="59912" y="124587"/>
                  </a:lnTo>
                  <a:lnTo>
                    <a:pt x="57626" y="132588"/>
                  </a:lnTo>
                  <a:lnTo>
                    <a:pt x="49911" y="133636"/>
                  </a:lnTo>
                  <a:lnTo>
                    <a:pt x="49149" y="126968"/>
                  </a:lnTo>
                  <a:lnTo>
                    <a:pt x="40862" y="120205"/>
                  </a:lnTo>
                  <a:lnTo>
                    <a:pt x="38767" y="126397"/>
                  </a:lnTo>
                  <a:lnTo>
                    <a:pt x="32861" y="126206"/>
                  </a:lnTo>
                  <a:lnTo>
                    <a:pt x="31337" y="120968"/>
                  </a:lnTo>
                  <a:lnTo>
                    <a:pt x="24098" y="126206"/>
                  </a:lnTo>
                  <a:lnTo>
                    <a:pt x="23622" y="133350"/>
                  </a:lnTo>
                  <a:lnTo>
                    <a:pt x="15526" y="136017"/>
                  </a:lnTo>
                  <a:lnTo>
                    <a:pt x="5810" y="145542"/>
                  </a:lnTo>
                  <a:lnTo>
                    <a:pt x="7525" y="151162"/>
                  </a:lnTo>
                  <a:lnTo>
                    <a:pt x="5525" y="158972"/>
                  </a:lnTo>
                  <a:lnTo>
                    <a:pt x="0" y="166497"/>
                  </a:lnTo>
                  <a:lnTo>
                    <a:pt x="23813" y="179356"/>
                  </a:lnTo>
                  <a:lnTo>
                    <a:pt x="28099" y="200215"/>
                  </a:lnTo>
                  <a:lnTo>
                    <a:pt x="23813" y="213836"/>
                  </a:lnTo>
                  <a:lnTo>
                    <a:pt x="28956" y="218504"/>
                  </a:lnTo>
                  <a:lnTo>
                    <a:pt x="55054" y="218504"/>
                  </a:lnTo>
                  <a:lnTo>
                    <a:pt x="55054" y="214694"/>
                  </a:lnTo>
                  <a:lnTo>
                    <a:pt x="71056" y="216694"/>
                  </a:lnTo>
                  <a:lnTo>
                    <a:pt x="76200" y="213836"/>
                  </a:lnTo>
                  <a:lnTo>
                    <a:pt x="84963" y="216979"/>
                  </a:lnTo>
                  <a:lnTo>
                    <a:pt x="92488" y="214884"/>
                  </a:lnTo>
                  <a:lnTo>
                    <a:pt x="94298" y="218313"/>
                  </a:lnTo>
                  <a:lnTo>
                    <a:pt x="118205" y="218313"/>
                  </a:lnTo>
                  <a:lnTo>
                    <a:pt x="126206" y="222123"/>
                  </a:lnTo>
                  <a:lnTo>
                    <a:pt x="131159" y="219551"/>
                  </a:lnTo>
                  <a:lnTo>
                    <a:pt x="133731" y="224219"/>
                  </a:lnTo>
                  <a:lnTo>
                    <a:pt x="138113" y="221647"/>
                  </a:lnTo>
                  <a:lnTo>
                    <a:pt x="144590" y="224695"/>
                  </a:lnTo>
                  <a:lnTo>
                    <a:pt x="147638" y="230029"/>
                  </a:lnTo>
                  <a:lnTo>
                    <a:pt x="152781" y="226504"/>
                  </a:lnTo>
                  <a:lnTo>
                    <a:pt x="149161" y="21878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2" name="Freeform: Shape 2792">
              <a:extLst>
                <a:ext uri="{FF2B5EF4-FFF2-40B4-BE49-F238E27FC236}">
                  <a16:creationId xmlns:a16="http://schemas.microsoft.com/office/drawing/2014/main" id="{59417586-78C7-F4A2-9AF3-18826498CA95}"/>
                </a:ext>
              </a:extLst>
            </p:cNvPr>
            <p:cNvSpPr/>
            <p:nvPr/>
          </p:nvSpPr>
          <p:spPr>
            <a:xfrm>
              <a:off x="2318289" y="4654899"/>
              <a:ext cx="37052" cy="43052"/>
            </a:xfrm>
            <a:custGeom>
              <a:avLst/>
              <a:gdLst>
                <a:gd name="connsiteX0" fmla="*/ 36481 w 37052"/>
                <a:gd name="connsiteY0" fmla="*/ 13145 h 43052"/>
                <a:gd name="connsiteX1" fmla="*/ 29242 w 37052"/>
                <a:gd name="connsiteY1" fmla="*/ 12478 h 43052"/>
                <a:gd name="connsiteX2" fmla="*/ 31623 w 37052"/>
                <a:gd name="connsiteY2" fmla="*/ 2477 h 43052"/>
                <a:gd name="connsiteX3" fmla="*/ 27337 w 37052"/>
                <a:gd name="connsiteY3" fmla="*/ 0 h 43052"/>
                <a:gd name="connsiteX4" fmla="*/ 23527 w 37052"/>
                <a:gd name="connsiteY4" fmla="*/ 3048 h 43052"/>
                <a:gd name="connsiteX5" fmla="*/ 19050 w 37052"/>
                <a:gd name="connsiteY5" fmla="*/ 0 h 43052"/>
                <a:gd name="connsiteX6" fmla="*/ 17907 w 37052"/>
                <a:gd name="connsiteY6" fmla="*/ 9049 h 43052"/>
                <a:gd name="connsiteX7" fmla="*/ 8763 w 37052"/>
                <a:gd name="connsiteY7" fmla="*/ 10763 h 43052"/>
                <a:gd name="connsiteX8" fmla="*/ 8001 w 37052"/>
                <a:gd name="connsiteY8" fmla="*/ 6572 h 43052"/>
                <a:gd name="connsiteX9" fmla="*/ 2191 w 37052"/>
                <a:gd name="connsiteY9" fmla="*/ 4953 h 43052"/>
                <a:gd name="connsiteX10" fmla="*/ 952 w 37052"/>
                <a:gd name="connsiteY10" fmla="*/ 8382 h 43052"/>
                <a:gd name="connsiteX11" fmla="*/ 0 w 37052"/>
                <a:gd name="connsiteY11" fmla="*/ 10858 h 43052"/>
                <a:gd name="connsiteX12" fmla="*/ 4096 w 37052"/>
                <a:gd name="connsiteY12" fmla="*/ 15049 h 43052"/>
                <a:gd name="connsiteX13" fmla="*/ 4096 w 37052"/>
                <a:gd name="connsiteY13" fmla="*/ 22098 h 43052"/>
                <a:gd name="connsiteX14" fmla="*/ 6763 w 37052"/>
                <a:gd name="connsiteY14" fmla="*/ 21812 h 43052"/>
                <a:gd name="connsiteX15" fmla="*/ 12573 w 37052"/>
                <a:gd name="connsiteY15" fmla="*/ 43053 h 43052"/>
                <a:gd name="connsiteX16" fmla="*/ 21908 w 37052"/>
                <a:gd name="connsiteY16" fmla="*/ 39053 h 43052"/>
                <a:gd name="connsiteX17" fmla="*/ 25622 w 37052"/>
                <a:gd name="connsiteY17" fmla="*/ 30289 h 43052"/>
                <a:gd name="connsiteX18" fmla="*/ 29051 w 37052"/>
                <a:gd name="connsiteY18" fmla="*/ 30289 h 43052"/>
                <a:gd name="connsiteX19" fmla="*/ 29908 w 37052"/>
                <a:gd name="connsiteY19" fmla="*/ 24289 h 43052"/>
                <a:gd name="connsiteX20" fmla="*/ 37052 w 37052"/>
                <a:gd name="connsiteY20" fmla="*/ 18669 h 43052"/>
                <a:gd name="connsiteX21" fmla="*/ 36481 w 37052"/>
                <a:gd name="connsiteY21" fmla="*/ 13145 h 4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052" h="43052">
                  <a:moveTo>
                    <a:pt x="36481" y="13145"/>
                  </a:moveTo>
                  <a:lnTo>
                    <a:pt x="29242" y="12478"/>
                  </a:lnTo>
                  <a:lnTo>
                    <a:pt x="31623" y="2477"/>
                  </a:lnTo>
                  <a:lnTo>
                    <a:pt x="27337" y="0"/>
                  </a:lnTo>
                  <a:lnTo>
                    <a:pt x="23527" y="3048"/>
                  </a:lnTo>
                  <a:lnTo>
                    <a:pt x="19050" y="0"/>
                  </a:lnTo>
                  <a:lnTo>
                    <a:pt x="17907" y="9049"/>
                  </a:lnTo>
                  <a:lnTo>
                    <a:pt x="8763" y="10763"/>
                  </a:lnTo>
                  <a:lnTo>
                    <a:pt x="8001" y="6572"/>
                  </a:lnTo>
                  <a:lnTo>
                    <a:pt x="2191" y="4953"/>
                  </a:lnTo>
                  <a:lnTo>
                    <a:pt x="952" y="8382"/>
                  </a:lnTo>
                  <a:lnTo>
                    <a:pt x="0" y="10858"/>
                  </a:lnTo>
                  <a:lnTo>
                    <a:pt x="4096" y="15049"/>
                  </a:lnTo>
                  <a:lnTo>
                    <a:pt x="4096" y="22098"/>
                  </a:lnTo>
                  <a:lnTo>
                    <a:pt x="6763" y="21812"/>
                  </a:lnTo>
                  <a:lnTo>
                    <a:pt x="12573" y="43053"/>
                  </a:lnTo>
                  <a:lnTo>
                    <a:pt x="21908" y="39053"/>
                  </a:lnTo>
                  <a:lnTo>
                    <a:pt x="25622" y="30289"/>
                  </a:lnTo>
                  <a:lnTo>
                    <a:pt x="29051" y="30289"/>
                  </a:lnTo>
                  <a:lnTo>
                    <a:pt x="29908" y="24289"/>
                  </a:lnTo>
                  <a:lnTo>
                    <a:pt x="37052" y="18669"/>
                  </a:lnTo>
                  <a:lnTo>
                    <a:pt x="36481" y="1314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3" name="Freeform: Shape 2793">
              <a:extLst>
                <a:ext uri="{FF2B5EF4-FFF2-40B4-BE49-F238E27FC236}">
                  <a16:creationId xmlns:a16="http://schemas.microsoft.com/office/drawing/2014/main" id="{374B0C1E-E2C3-458A-02D9-51341C67374A}"/>
                </a:ext>
              </a:extLst>
            </p:cNvPr>
            <p:cNvSpPr/>
            <p:nvPr/>
          </p:nvSpPr>
          <p:spPr>
            <a:xfrm>
              <a:off x="1634585" y="4307617"/>
              <a:ext cx="156971" cy="116204"/>
            </a:xfrm>
            <a:custGeom>
              <a:avLst/>
              <a:gdLst>
                <a:gd name="connsiteX0" fmla="*/ 95631 w 156971"/>
                <a:gd name="connsiteY0" fmla="*/ 0 h 116204"/>
                <a:gd name="connsiteX1" fmla="*/ 87154 w 156971"/>
                <a:gd name="connsiteY1" fmla="*/ 6382 h 116204"/>
                <a:gd name="connsiteX2" fmla="*/ 71628 w 156971"/>
                <a:gd name="connsiteY2" fmla="*/ 11144 h 116204"/>
                <a:gd name="connsiteX3" fmla="*/ 69056 w 156971"/>
                <a:gd name="connsiteY3" fmla="*/ 20860 h 116204"/>
                <a:gd name="connsiteX4" fmla="*/ 60293 w 156971"/>
                <a:gd name="connsiteY4" fmla="*/ 16669 h 116204"/>
                <a:gd name="connsiteX5" fmla="*/ 54102 w 156971"/>
                <a:gd name="connsiteY5" fmla="*/ 21146 h 116204"/>
                <a:gd name="connsiteX6" fmla="*/ 52578 w 156971"/>
                <a:gd name="connsiteY6" fmla="*/ 30385 h 116204"/>
                <a:gd name="connsiteX7" fmla="*/ 44577 w 156971"/>
                <a:gd name="connsiteY7" fmla="*/ 28765 h 116204"/>
                <a:gd name="connsiteX8" fmla="*/ 45339 w 156971"/>
                <a:gd name="connsiteY8" fmla="*/ 37243 h 116204"/>
                <a:gd name="connsiteX9" fmla="*/ 41243 w 156971"/>
                <a:gd name="connsiteY9" fmla="*/ 40386 h 116204"/>
                <a:gd name="connsiteX10" fmla="*/ 30671 w 156971"/>
                <a:gd name="connsiteY10" fmla="*/ 33528 h 116204"/>
                <a:gd name="connsiteX11" fmla="*/ 24955 w 156971"/>
                <a:gd name="connsiteY11" fmla="*/ 38767 h 116204"/>
                <a:gd name="connsiteX12" fmla="*/ 26575 w 156971"/>
                <a:gd name="connsiteY12" fmla="*/ 48292 h 116204"/>
                <a:gd name="connsiteX13" fmla="*/ 21146 w 156971"/>
                <a:gd name="connsiteY13" fmla="*/ 48577 h 116204"/>
                <a:gd name="connsiteX14" fmla="*/ 22670 w 156971"/>
                <a:gd name="connsiteY14" fmla="*/ 56483 h 116204"/>
                <a:gd name="connsiteX15" fmla="*/ 15907 w 156971"/>
                <a:gd name="connsiteY15" fmla="*/ 63341 h 116204"/>
                <a:gd name="connsiteX16" fmla="*/ 9716 w 156971"/>
                <a:gd name="connsiteY16" fmla="*/ 61722 h 116204"/>
                <a:gd name="connsiteX17" fmla="*/ 2286 w 156971"/>
                <a:gd name="connsiteY17" fmla="*/ 66770 h 116204"/>
                <a:gd name="connsiteX18" fmla="*/ 6382 w 156971"/>
                <a:gd name="connsiteY18" fmla="*/ 72295 h 116204"/>
                <a:gd name="connsiteX19" fmla="*/ 5334 w 156971"/>
                <a:gd name="connsiteY19" fmla="*/ 80486 h 116204"/>
                <a:gd name="connsiteX20" fmla="*/ 0 w 156971"/>
                <a:gd name="connsiteY20" fmla="*/ 82010 h 116204"/>
                <a:gd name="connsiteX21" fmla="*/ 2762 w 156971"/>
                <a:gd name="connsiteY21" fmla="*/ 87821 h 116204"/>
                <a:gd name="connsiteX22" fmla="*/ 191 w 156971"/>
                <a:gd name="connsiteY22" fmla="*/ 95155 h 116204"/>
                <a:gd name="connsiteX23" fmla="*/ 2191 w 156971"/>
                <a:gd name="connsiteY23" fmla="*/ 98012 h 116204"/>
                <a:gd name="connsiteX24" fmla="*/ 8001 w 156971"/>
                <a:gd name="connsiteY24" fmla="*/ 97822 h 116204"/>
                <a:gd name="connsiteX25" fmla="*/ 11049 w 156971"/>
                <a:gd name="connsiteY25" fmla="*/ 102584 h 116204"/>
                <a:gd name="connsiteX26" fmla="*/ 11621 w 156971"/>
                <a:gd name="connsiteY26" fmla="*/ 106489 h 116204"/>
                <a:gd name="connsiteX27" fmla="*/ 16954 w 156971"/>
                <a:gd name="connsiteY27" fmla="*/ 109823 h 116204"/>
                <a:gd name="connsiteX28" fmla="*/ 19907 w 156971"/>
                <a:gd name="connsiteY28" fmla="*/ 108204 h 116204"/>
                <a:gd name="connsiteX29" fmla="*/ 23813 w 156971"/>
                <a:gd name="connsiteY29" fmla="*/ 112300 h 116204"/>
                <a:gd name="connsiteX30" fmla="*/ 27813 w 156971"/>
                <a:gd name="connsiteY30" fmla="*/ 107156 h 116204"/>
                <a:gd name="connsiteX31" fmla="*/ 31147 w 156971"/>
                <a:gd name="connsiteY31" fmla="*/ 107632 h 116204"/>
                <a:gd name="connsiteX32" fmla="*/ 35147 w 156971"/>
                <a:gd name="connsiteY32" fmla="*/ 104584 h 116204"/>
                <a:gd name="connsiteX33" fmla="*/ 44863 w 156971"/>
                <a:gd name="connsiteY33" fmla="*/ 105156 h 116204"/>
                <a:gd name="connsiteX34" fmla="*/ 52959 w 156971"/>
                <a:gd name="connsiteY34" fmla="*/ 116205 h 116204"/>
                <a:gd name="connsiteX35" fmla="*/ 57912 w 156971"/>
                <a:gd name="connsiteY35" fmla="*/ 113919 h 116204"/>
                <a:gd name="connsiteX36" fmla="*/ 54578 w 156971"/>
                <a:gd name="connsiteY36" fmla="*/ 108490 h 116204"/>
                <a:gd name="connsiteX37" fmla="*/ 55340 w 156971"/>
                <a:gd name="connsiteY37" fmla="*/ 100393 h 116204"/>
                <a:gd name="connsiteX38" fmla="*/ 53245 w 156971"/>
                <a:gd name="connsiteY38" fmla="*/ 97441 h 116204"/>
                <a:gd name="connsiteX39" fmla="*/ 54959 w 156971"/>
                <a:gd name="connsiteY39" fmla="*/ 94393 h 116204"/>
                <a:gd name="connsiteX40" fmla="*/ 51530 w 156971"/>
                <a:gd name="connsiteY40" fmla="*/ 91535 h 116204"/>
                <a:gd name="connsiteX41" fmla="*/ 53245 w 156971"/>
                <a:gd name="connsiteY41" fmla="*/ 83439 h 116204"/>
                <a:gd name="connsiteX42" fmla="*/ 95250 w 156971"/>
                <a:gd name="connsiteY42" fmla="*/ 83439 h 116204"/>
                <a:gd name="connsiteX43" fmla="*/ 98107 w 156971"/>
                <a:gd name="connsiteY43" fmla="*/ 86201 h 116204"/>
                <a:gd name="connsiteX44" fmla="*/ 103727 w 156971"/>
                <a:gd name="connsiteY44" fmla="*/ 80105 h 116204"/>
                <a:gd name="connsiteX45" fmla="*/ 109442 w 156971"/>
                <a:gd name="connsiteY45" fmla="*/ 81629 h 116204"/>
                <a:gd name="connsiteX46" fmla="*/ 119824 w 156971"/>
                <a:gd name="connsiteY46" fmla="*/ 84296 h 116204"/>
                <a:gd name="connsiteX47" fmla="*/ 128302 w 156971"/>
                <a:gd name="connsiteY47" fmla="*/ 83820 h 116204"/>
                <a:gd name="connsiteX48" fmla="*/ 137541 w 156971"/>
                <a:gd name="connsiteY48" fmla="*/ 72390 h 116204"/>
                <a:gd name="connsiteX49" fmla="*/ 143351 w 156971"/>
                <a:gd name="connsiteY49" fmla="*/ 76771 h 116204"/>
                <a:gd name="connsiteX50" fmla="*/ 151543 w 156971"/>
                <a:gd name="connsiteY50" fmla="*/ 74771 h 116204"/>
                <a:gd name="connsiteX51" fmla="*/ 156972 w 156971"/>
                <a:gd name="connsiteY51" fmla="*/ 67151 h 116204"/>
                <a:gd name="connsiteX52" fmla="*/ 148685 w 156971"/>
                <a:gd name="connsiteY52" fmla="*/ 56579 h 116204"/>
                <a:gd name="connsiteX53" fmla="*/ 154115 w 156971"/>
                <a:gd name="connsiteY53" fmla="*/ 54388 h 116204"/>
                <a:gd name="connsiteX54" fmla="*/ 152781 w 156971"/>
                <a:gd name="connsiteY54" fmla="*/ 49816 h 116204"/>
                <a:gd name="connsiteX55" fmla="*/ 148590 w 156971"/>
                <a:gd name="connsiteY55" fmla="*/ 47434 h 116204"/>
                <a:gd name="connsiteX56" fmla="*/ 144685 w 156971"/>
                <a:gd name="connsiteY56" fmla="*/ 50768 h 116204"/>
                <a:gd name="connsiteX57" fmla="*/ 140684 w 156971"/>
                <a:gd name="connsiteY57" fmla="*/ 50768 h 116204"/>
                <a:gd name="connsiteX58" fmla="*/ 132017 w 156971"/>
                <a:gd name="connsiteY58" fmla="*/ 42767 h 116204"/>
                <a:gd name="connsiteX59" fmla="*/ 128683 w 156971"/>
                <a:gd name="connsiteY59" fmla="*/ 41815 h 116204"/>
                <a:gd name="connsiteX60" fmla="*/ 128683 w 156971"/>
                <a:gd name="connsiteY60" fmla="*/ 37052 h 116204"/>
                <a:gd name="connsiteX61" fmla="*/ 133731 w 156971"/>
                <a:gd name="connsiteY61" fmla="*/ 36385 h 116204"/>
                <a:gd name="connsiteX62" fmla="*/ 129730 w 156971"/>
                <a:gd name="connsiteY62" fmla="*/ 31432 h 116204"/>
                <a:gd name="connsiteX63" fmla="*/ 122396 w 156971"/>
                <a:gd name="connsiteY63" fmla="*/ 28861 h 116204"/>
                <a:gd name="connsiteX64" fmla="*/ 117062 w 156971"/>
                <a:gd name="connsiteY64" fmla="*/ 22288 h 116204"/>
                <a:gd name="connsiteX65" fmla="*/ 117443 w 156971"/>
                <a:gd name="connsiteY65" fmla="*/ 18097 h 116204"/>
                <a:gd name="connsiteX66" fmla="*/ 112204 w 156971"/>
                <a:gd name="connsiteY66" fmla="*/ 13240 h 116204"/>
                <a:gd name="connsiteX67" fmla="*/ 114109 w 156971"/>
                <a:gd name="connsiteY67" fmla="*/ 7906 h 116204"/>
                <a:gd name="connsiteX68" fmla="*/ 114491 w 156971"/>
                <a:gd name="connsiteY68" fmla="*/ 1619 h 116204"/>
                <a:gd name="connsiteX69" fmla="*/ 102108 w 156971"/>
                <a:gd name="connsiteY69" fmla="*/ 3238 h 116204"/>
                <a:gd name="connsiteX70" fmla="*/ 95631 w 156971"/>
                <a:gd name="connsiteY70" fmla="*/ 0 h 11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56971" h="116204">
                  <a:moveTo>
                    <a:pt x="95631" y="0"/>
                  </a:moveTo>
                  <a:lnTo>
                    <a:pt x="87154" y="6382"/>
                  </a:lnTo>
                  <a:lnTo>
                    <a:pt x="71628" y="11144"/>
                  </a:lnTo>
                  <a:lnTo>
                    <a:pt x="69056" y="20860"/>
                  </a:lnTo>
                  <a:lnTo>
                    <a:pt x="60293" y="16669"/>
                  </a:lnTo>
                  <a:lnTo>
                    <a:pt x="54102" y="21146"/>
                  </a:lnTo>
                  <a:lnTo>
                    <a:pt x="52578" y="30385"/>
                  </a:lnTo>
                  <a:lnTo>
                    <a:pt x="44577" y="28765"/>
                  </a:lnTo>
                  <a:lnTo>
                    <a:pt x="45339" y="37243"/>
                  </a:lnTo>
                  <a:lnTo>
                    <a:pt x="41243" y="40386"/>
                  </a:lnTo>
                  <a:lnTo>
                    <a:pt x="30671" y="33528"/>
                  </a:lnTo>
                  <a:lnTo>
                    <a:pt x="24955" y="38767"/>
                  </a:lnTo>
                  <a:lnTo>
                    <a:pt x="26575" y="48292"/>
                  </a:lnTo>
                  <a:lnTo>
                    <a:pt x="21146" y="48577"/>
                  </a:lnTo>
                  <a:lnTo>
                    <a:pt x="22670" y="56483"/>
                  </a:lnTo>
                  <a:lnTo>
                    <a:pt x="15907" y="63341"/>
                  </a:lnTo>
                  <a:lnTo>
                    <a:pt x="9716" y="61722"/>
                  </a:lnTo>
                  <a:lnTo>
                    <a:pt x="2286" y="66770"/>
                  </a:lnTo>
                  <a:lnTo>
                    <a:pt x="6382" y="72295"/>
                  </a:lnTo>
                  <a:lnTo>
                    <a:pt x="5334" y="80486"/>
                  </a:lnTo>
                  <a:lnTo>
                    <a:pt x="0" y="82010"/>
                  </a:lnTo>
                  <a:lnTo>
                    <a:pt x="2762" y="87821"/>
                  </a:lnTo>
                  <a:lnTo>
                    <a:pt x="191" y="95155"/>
                  </a:lnTo>
                  <a:lnTo>
                    <a:pt x="2191" y="98012"/>
                  </a:lnTo>
                  <a:lnTo>
                    <a:pt x="8001" y="97822"/>
                  </a:lnTo>
                  <a:lnTo>
                    <a:pt x="11049" y="102584"/>
                  </a:lnTo>
                  <a:lnTo>
                    <a:pt x="11621" y="106489"/>
                  </a:lnTo>
                  <a:lnTo>
                    <a:pt x="16954" y="109823"/>
                  </a:lnTo>
                  <a:lnTo>
                    <a:pt x="19907" y="108204"/>
                  </a:lnTo>
                  <a:lnTo>
                    <a:pt x="23813" y="112300"/>
                  </a:lnTo>
                  <a:lnTo>
                    <a:pt x="27813" y="107156"/>
                  </a:lnTo>
                  <a:lnTo>
                    <a:pt x="31147" y="107632"/>
                  </a:lnTo>
                  <a:lnTo>
                    <a:pt x="35147" y="104584"/>
                  </a:lnTo>
                  <a:lnTo>
                    <a:pt x="44863" y="105156"/>
                  </a:lnTo>
                  <a:lnTo>
                    <a:pt x="52959" y="116205"/>
                  </a:lnTo>
                  <a:lnTo>
                    <a:pt x="57912" y="113919"/>
                  </a:lnTo>
                  <a:lnTo>
                    <a:pt x="54578" y="108490"/>
                  </a:lnTo>
                  <a:lnTo>
                    <a:pt x="55340" y="100393"/>
                  </a:lnTo>
                  <a:lnTo>
                    <a:pt x="53245" y="97441"/>
                  </a:lnTo>
                  <a:lnTo>
                    <a:pt x="54959" y="94393"/>
                  </a:lnTo>
                  <a:lnTo>
                    <a:pt x="51530" y="91535"/>
                  </a:lnTo>
                  <a:lnTo>
                    <a:pt x="53245" y="83439"/>
                  </a:lnTo>
                  <a:lnTo>
                    <a:pt x="95250" y="83439"/>
                  </a:lnTo>
                  <a:lnTo>
                    <a:pt x="98107" y="86201"/>
                  </a:lnTo>
                  <a:lnTo>
                    <a:pt x="103727" y="80105"/>
                  </a:lnTo>
                  <a:lnTo>
                    <a:pt x="109442" y="81629"/>
                  </a:lnTo>
                  <a:lnTo>
                    <a:pt x="119824" y="84296"/>
                  </a:lnTo>
                  <a:lnTo>
                    <a:pt x="128302" y="83820"/>
                  </a:lnTo>
                  <a:lnTo>
                    <a:pt x="137541" y="72390"/>
                  </a:lnTo>
                  <a:lnTo>
                    <a:pt x="143351" y="76771"/>
                  </a:lnTo>
                  <a:lnTo>
                    <a:pt x="151543" y="74771"/>
                  </a:lnTo>
                  <a:lnTo>
                    <a:pt x="156972" y="67151"/>
                  </a:lnTo>
                  <a:lnTo>
                    <a:pt x="148685" y="56579"/>
                  </a:lnTo>
                  <a:lnTo>
                    <a:pt x="154115" y="54388"/>
                  </a:lnTo>
                  <a:lnTo>
                    <a:pt x="152781" y="49816"/>
                  </a:lnTo>
                  <a:lnTo>
                    <a:pt x="148590" y="47434"/>
                  </a:lnTo>
                  <a:lnTo>
                    <a:pt x="144685" y="50768"/>
                  </a:lnTo>
                  <a:lnTo>
                    <a:pt x="140684" y="50768"/>
                  </a:lnTo>
                  <a:lnTo>
                    <a:pt x="132017" y="42767"/>
                  </a:lnTo>
                  <a:lnTo>
                    <a:pt x="128683" y="41815"/>
                  </a:lnTo>
                  <a:lnTo>
                    <a:pt x="128683" y="37052"/>
                  </a:lnTo>
                  <a:lnTo>
                    <a:pt x="133731" y="36385"/>
                  </a:lnTo>
                  <a:lnTo>
                    <a:pt x="129730" y="31432"/>
                  </a:lnTo>
                  <a:lnTo>
                    <a:pt x="122396" y="28861"/>
                  </a:lnTo>
                  <a:lnTo>
                    <a:pt x="117062" y="22288"/>
                  </a:lnTo>
                  <a:lnTo>
                    <a:pt x="117443" y="18097"/>
                  </a:lnTo>
                  <a:lnTo>
                    <a:pt x="112204" y="13240"/>
                  </a:lnTo>
                  <a:lnTo>
                    <a:pt x="114109" y="7906"/>
                  </a:lnTo>
                  <a:lnTo>
                    <a:pt x="114491" y="1619"/>
                  </a:lnTo>
                  <a:lnTo>
                    <a:pt x="102108" y="3238"/>
                  </a:lnTo>
                  <a:lnTo>
                    <a:pt x="95631"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4" name="Freeform: Shape 2794">
              <a:extLst>
                <a:ext uri="{FF2B5EF4-FFF2-40B4-BE49-F238E27FC236}">
                  <a16:creationId xmlns:a16="http://schemas.microsoft.com/office/drawing/2014/main" id="{64677360-08A4-739C-A567-378BC855A772}"/>
                </a:ext>
              </a:extLst>
            </p:cNvPr>
            <p:cNvSpPr/>
            <p:nvPr/>
          </p:nvSpPr>
          <p:spPr>
            <a:xfrm>
              <a:off x="2139410" y="4966366"/>
              <a:ext cx="187642" cy="189833"/>
            </a:xfrm>
            <a:custGeom>
              <a:avLst/>
              <a:gdLst>
                <a:gd name="connsiteX0" fmla="*/ 181070 w 187642"/>
                <a:gd name="connsiteY0" fmla="*/ 79438 h 189833"/>
                <a:gd name="connsiteX1" fmla="*/ 160592 w 187642"/>
                <a:gd name="connsiteY1" fmla="*/ 76962 h 189833"/>
                <a:gd name="connsiteX2" fmla="*/ 158591 w 187642"/>
                <a:gd name="connsiteY2" fmla="*/ 70009 h 189833"/>
                <a:gd name="connsiteX3" fmla="*/ 152876 w 187642"/>
                <a:gd name="connsiteY3" fmla="*/ 65532 h 189833"/>
                <a:gd name="connsiteX4" fmla="*/ 153638 w 187642"/>
                <a:gd name="connsiteY4" fmla="*/ 54007 h 189833"/>
                <a:gd name="connsiteX5" fmla="*/ 144304 w 187642"/>
                <a:gd name="connsiteY5" fmla="*/ 53149 h 189833"/>
                <a:gd name="connsiteX6" fmla="*/ 142780 w 187642"/>
                <a:gd name="connsiteY6" fmla="*/ 43910 h 189833"/>
                <a:gd name="connsiteX7" fmla="*/ 120682 w 187642"/>
                <a:gd name="connsiteY7" fmla="*/ 32861 h 189833"/>
                <a:gd name="connsiteX8" fmla="*/ 118396 w 187642"/>
                <a:gd name="connsiteY8" fmla="*/ 21336 h 189833"/>
                <a:gd name="connsiteX9" fmla="*/ 105442 w 187642"/>
                <a:gd name="connsiteY9" fmla="*/ 0 h 189833"/>
                <a:gd name="connsiteX10" fmla="*/ 95536 w 187642"/>
                <a:gd name="connsiteY10" fmla="*/ 1238 h 189833"/>
                <a:gd name="connsiteX11" fmla="*/ 90964 w 187642"/>
                <a:gd name="connsiteY11" fmla="*/ 5905 h 189833"/>
                <a:gd name="connsiteX12" fmla="*/ 87058 w 187642"/>
                <a:gd name="connsiteY12" fmla="*/ 2762 h 189833"/>
                <a:gd name="connsiteX13" fmla="*/ 73533 w 187642"/>
                <a:gd name="connsiteY13" fmla="*/ 14192 h 189833"/>
                <a:gd name="connsiteX14" fmla="*/ 67342 w 187642"/>
                <a:gd name="connsiteY14" fmla="*/ 6382 h 189833"/>
                <a:gd name="connsiteX15" fmla="*/ 22003 w 187642"/>
                <a:gd name="connsiteY15" fmla="*/ 13811 h 189833"/>
                <a:gd name="connsiteX16" fmla="*/ 22003 w 187642"/>
                <a:gd name="connsiteY16" fmla="*/ 84772 h 189833"/>
                <a:gd name="connsiteX17" fmla="*/ 0 w 187642"/>
                <a:gd name="connsiteY17" fmla="*/ 84772 h 189833"/>
                <a:gd name="connsiteX18" fmla="*/ 0 w 187642"/>
                <a:gd name="connsiteY18" fmla="*/ 142780 h 189833"/>
                <a:gd name="connsiteX19" fmla="*/ 95 w 187642"/>
                <a:gd name="connsiteY19" fmla="*/ 142780 h 189833"/>
                <a:gd name="connsiteX20" fmla="*/ 10096 w 187642"/>
                <a:gd name="connsiteY20" fmla="*/ 149542 h 189833"/>
                <a:gd name="connsiteX21" fmla="*/ 18859 w 187642"/>
                <a:gd name="connsiteY21" fmla="*/ 172021 h 189833"/>
                <a:gd name="connsiteX22" fmla="*/ 12097 w 187642"/>
                <a:gd name="connsiteY22" fmla="*/ 180499 h 189833"/>
                <a:gd name="connsiteX23" fmla="*/ 14097 w 187642"/>
                <a:gd name="connsiteY23" fmla="*/ 189833 h 189833"/>
                <a:gd name="connsiteX24" fmla="*/ 19621 w 187642"/>
                <a:gd name="connsiteY24" fmla="*/ 186023 h 189833"/>
                <a:gd name="connsiteX25" fmla="*/ 35242 w 187642"/>
                <a:gd name="connsiteY25" fmla="*/ 186499 h 189833"/>
                <a:gd name="connsiteX26" fmla="*/ 53721 w 187642"/>
                <a:gd name="connsiteY26" fmla="*/ 171164 h 189833"/>
                <a:gd name="connsiteX27" fmla="*/ 57721 w 187642"/>
                <a:gd name="connsiteY27" fmla="*/ 155924 h 189833"/>
                <a:gd name="connsiteX28" fmla="*/ 68866 w 187642"/>
                <a:gd name="connsiteY28" fmla="*/ 153829 h 189833"/>
                <a:gd name="connsiteX29" fmla="*/ 87630 w 187642"/>
                <a:gd name="connsiteY29" fmla="*/ 164782 h 189833"/>
                <a:gd name="connsiteX30" fmla="*/ 98869 w 187642"/>
                <a:gd name="connsiteY30" fmla="*/ 164020 h 189833"/>
                <a:gd name="connsiteX31" fmla="*/ 108871 w 187642"/>
                <a:gd name="connsiteY31" fmla="*/ 164782 h 189833"/>
                <a:gd name="connsiteX32" fmla="*/ 116110 w 187642"/>
                <a:gd name="connsiteY32" fmla="*/ 150781 h 189833"/>
                <a:gd name="connsiteX33" fmla="*/ 115633 w 187642"/>
                <a:gd name="connsiteY33" fmla="*/ 142303 h 189833"/>
                <a:gd name="connsiteX34" fmla="*/ 128873 w 187642"/>
                <a:gd name="connsiteY34" fmla="*/ 140589 h 189833"/>
                <a:gd name="connsiteX35" fmla="*/ 137255 w 187642"/>
                <a:gd name="connsiteY35" fmla="*/ 132969 h 189833"/>
                <a:gd name="connsiteX36" fmla="*/ 140875 w 187642"/>
                <a:gd name="connsiteY36" fmla="*/ 118491 h 189833"/>
                <a:gd name="connsiteX37" fmla="*/ 150114 w 187642"/>
                <a:gd name="connsiteY37" fmla="*/ 111347 h 189833"/>
                <a:gd name="connsiteX38" fmla="*/ 156115 w 187642"/>
                <a:gd name="connsiteY38" fmla="*/ 112204 h 189833"/>
                <a:gd name="connsiteX39" fmla="*/ 161734 w 187642"/>
                <a:gd name="connsiteY39" fmla="*/ 100298 h 189833"/>
                <a:gd name="connsiteX40" fmla="*/ 175260 w 187642"/>
                <a:gd name="connsiteY40" fmla="*/ 96869 h 189833"/>
                <a:gd name="connsiteX41" fmla="*/ 179261 w 187642"/>
                <a:gd name="connsiteY41" fmla="*/ 90964 h 189833"/>
                <a:gd name="connsiteX42" fmla="*/ 187642 w 187642"/>
                <a:gd name="connsiteY42" fmla="*/ 89249 h 189833"/>
                <a:gd name="connsiteX43" fmla="*/ 179927 w 187642"/>
                <a:gd name="connsiteY43" fmla="*/ 83534 h 189833"/>
                <a:gd name="connsiteX44" fmla="*/ 181070 w 187642"/>
                <a:gd name="connsiteY44" fmla="*/ 79438 h 189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87642" h="189833">
                  <a:moveTo>
                    <a:pt x="181070" y="79438"/>
                  </a:moveTo>
                  <a:lnTo>
                    <a:pt x="160592" y="76962"/>
                  </a:lnTo>
                  <a:lnTo>
                    <a:pt x="158591" y="70009"/>
                  </a:lnTo>
                  <a:lnTo>
                    <a:pt x="152876" y="65532"/>
                  </a:lnTo>
                  <a:lnTo>
                    <a:pt x="153638" y="54007"/>
                  </a:lnTo>
                  <a:lnTo>
                    <a:pt x="144304" y="53149"/>
                  </a:lnTo>
                  <a:lnTo>
                    <a:pt x="142780" y="43910"/>
                  </a:lnTo>
                  <a:lnTo>
                    <a:pt x="120682" y="32861"/>
                  </a:lnTo>
                  <a:lnTo>
                    <a:pt x="118396" y="21336"/>
                  </a:lnTo>
                  <a:lnTo>
                    <a:pt x="105442" y="0"/>
                  </a:lnTo>
                  <a:lnTo>
                    <a:pt x="95536" y="1238"/>
                  </a:lnTo>
                  <a:lnTo>
                    <a:pt x="90964" y="5905"/>
                  </a:lnTo>
                  <a:lnTo>
                    <a:pt x="87058" y="2762"/>
                  </a:lnTo>
                  <a:lnTo>
                    <a:pt x="73533" y="14192"/>
                  </a:lnTo>
                  <a:lnTo>
                    <a:pt x="67342" y="6382"/>
                  </a:lnTo>
                  <a:lnTo>
                    <a:pt x="22003" y="13811"/>
                  </a:lnTo>
                  <a:lnTo>
                    <a:pt x="22003" y="84772"/>
                  </a:lnTo>
                  <a:lnTo>
                    <a:pt x="0" y="84772"/>
                  </a:lnTo>
                  <a:lnTo>
                    <a:pt x="0" y="142780"/>
                  </a:lnTo>
                  <a:lnTo>
                    <a:pt x="95" y="142780"/>
                  </a:lnTo>
                  <a:lnTo>
                    <a:pt x="10096" y="149542"/>
                  </a:lnTo>
                  <a:lnTo>
                    <a:pt x="18859" y="172021"/>
                  </a:lnTo>
                  <a:lnTo>
                    <a:pt x="12097" y="180499"/>
                  </a:lnTo>
                  <a:lnTo>
                    <a:pt x="14097" y="189833"/>
                  </a:lnTo>
                  <a:lnTo>
                    <a:pt x="19621" y="186023"/>
                  </a:lnTo>
                  <a:lnTo>
                    <a:pt x="35242" y="186499"/>
                  </a:lnTo>
                  <a:lnTo>
                    <a:pt x="53721" y="171164"/>
                  </a:lnTo>
                  <a:lnTo>
                    <a:pt x="57721" y="155924"/>
                  </a:lnTo>
                  <a:lnTo>
                    <a:pt x="68866" y="153829"/>
                  </a:lnTo>
                  <a:lnTo>
                    <a:pt x="87630" y="164782"/>
                  </a:lnTo>
                  <a:lnTo>
                    <a:pt x="98869" y="164020"/>
                  </a:lnTo>
                  <a:lnTo>
                    <a:pt x="108871" y="164782"/>
                  </a:lnTo>
                  <a:lnTo>
                    <a:pt x="116110" y="150781"/>
                  </a:lnTo>
                  <a:lnTo>
                    <a:pt x="115633" y="142303"/>
                  </a:lnTo>
                  <a:lnTo>
                    <a:pt x="128873" y="140589"/>
                  </a:lnTo>
                  <a:lnTo>
                    <a:pt x="137255" y="132969"/>
                  </a:lnTo>
                  <a:lnTo>
                    <a:pt x="140875" y="118491"/>
                  </a:lnTo>
                  <a:lnTo>
                    <a:pt x="150114" y="111347"/>
                  </a:lnTo>
                  <a:lnTo>
                    <a:pt x="156115" y="112204"/>
                  </a:lnTo>
                  <a:lnTo>
                    <a:pt x="161734" y="100298"/>
                  </a:lnTo>
                  <a:lnTo>
                    <a:pt x="175260" y="96869"/>
                  </a:lnTo>
                  <a:lnTo>
                    <a:pt x="179261" y="90964"/>
                  </a:lnTo>
                  <a:lnTo>
                    <a:pt x="187642" y="89249"/>
                  </a:lnTo>
                  <a:lnTo>
                    <a:pt x="179927" y="83534"/>
                  </a:lnTo>
                  <a:lnTo>
                    <a:pt x="181070" y="7943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5" name="Freeform: Shape 2795">
              <a:extLst>
                <a:ext uri="{FF2B5EF4-FFF2-40B4-BE49-F238E27FC236}">
                  <a16:creationId xmlns:a16="http://schemas.microsoft.com/office/drawing/2014/main" id="{477BD8DB-AE4D-A89C-2C1B-3F812EC676DF}"/>
                </a:ext>
              </a:extLst>
            </p:cNvPr>
            <p:cNvSpPr/>
            <p:nvPr/>
          </p:nvSpPr>
          <p:spPr>
            <a:xfrm>
              <a:off x="1760982" y="4363053"/>
              <a:ext cx="61340" cy="123444"/>
            </a:xfrm>
            <a:custGeom>
              <a:avLst/>
              <a:gdLst>
                <a:gd name="connsiteX0" fmla="*/ 56102 w 61340"/>
                <a:gd name="connsiteY0" fmla="*/ 28004 h 123444"/>
                <a:gd name="connsiteX1" fmla="*/ 57626 w 61340"/>
                <a:gd name="connsiteY1" fmla="*/ 23717 h 123444"/>
                <a:gd name="connsiteX2" fmla="*/ 53340 w 61340"/>
                <a:gd name="connsiteY2" fmla="*/ 19717 h 123444"/>
                <a:gd name="connsiteX3" fmla="*/ 55150 w 61340"/>
                <a:gd name="connsiteY3" fmla="*/ 14573 h 123444"/>
                <a:gd name="connsiteX4" fmla="*/ 47149 w 61340"/>
                <a:gd name="connsiteY4" fmla="*/ 9049 h 123444"/>
                <a:gd name="connsiteX5" fmla="*/ 39814 w 61340"/>
                <a:gd name="connsiteY5" fmla="*/ 0 h 123444"/>
                <a:gd name="connsiteX6" fmla="*/ 32480 w 61340"/>
                <a:gd name="connsiteY6" fmla="*/ 2762 h 123444"/>
                <a:gd name="connsiteX7" fmla="*/ 33623 w 61340"/>
                <a:gd name="connsiteY7" fmla="*/ 7429 h 123444"/>
                <a:gd name="connsiteX8" fmla="*/ 30575 w 61340"/>
                <a:gd name="connsiteY8" fmla="*/ 11716 h 123444"/>
                <a:gd name="connsiteX9" fmla="*/ 25146 w 61340"/>
                <a:gd name="connsiteY9" fmla="*/ 19336 h 123444"/>
                <a:gd name="connsiteX10" fmla="*/ 16954 w 61340"/>
                <a:gd name="connsiteY10" fmla="*/ 21336 h 123444"/>
                <a:gd name="connsiteX11" fmla="*/ 11144 w 61340"/>
                <a:gd name="connsiteY11" fmla="*/ 16954 h 123444"/>
                <a:gd name="connsiteX12" fmla="*/ 1905 w 61340"/>
                <a:gd name="connsiteY12" fmla="*/ 28385 h 123444"/>
                <a:gd name="connsiteX13" fmla="*/ 0 w 61340"/>
                <a:gd name="connsiteY13" fmla="*/ 40767 h 123444"/>
                <a:gd name="connsiteX14" fmla="*/ 10763 w 61340"/>
                <a:gd name="connsiteY14" fmla="*/ 47435 h 123444"/>
                <a:gd name="connsiteX15" fmla="*/ 9239 w 61340"/>
                <a:gd name="connsiteY15" fmla="*/ 58769 h 123444"/>
                <a:gd name="connsiteX16" fmla="*/ 16002 w 61340"/>
                <a:gd name="connsiteY16" fmla="*/ 67056 h 123444"/>
                <a:gd name="connsiteX17" fmla="*/ 16002 w 61340"/>
                <a:gd name="connsiteY17" fmla="*/ 105728 h 123444"/>
                <a:gd name="connsiteX18" fmla="*/ 13335 w 61340"/>
                <a:gd name="connsiteY18" fmla="*/ 111919 h 123444"/>
                <a:gd name="connsiteX19" fmla="*/ 19717 w 61340"/>
                <a:gd name="connsiteY19" fmla="*/ 123444 h 123444"/>
                <a:gd name="connsiteX20" fmla="*/ 37052 w 61340"/>
                <a:gd name="connsiteY20" fmla="*/ 120396 h 123444"/>
                <a:gd name="connsiteX21" fmla="*/ 38195 w 61340"/>
                <a:gd name="connsiteY21" fmla="*/ 120396 h 123444"/>
                <a:gd name="connsiteX22" fmla="*/ 38195 w 61340"/>
                <a:gd name="connsiteY22" fmla="*/ 120396 h 123444"/>
                <a:gd name="connsiteX23" fmla="*/ 38672 w 61340"/>
                <a:gd name="connsiteY23" fmla="*/ 68104 h 123444"/>
                <a:gd name="connsiteX24" fmla="*/ 46387 w 61340"/>
                <a:gd name="connsiteY24" fmla="*/ 66485 h 123444"/>
                <a:gd name="connsiteX25" fmla="*/ 46387 w 61340"/>
                <a:gd name="connsiteY25" fmla="*/ 55721 h 123444"/>
                <a:gd name="connsiteX26" fmla="*/ 54102 w 61340"/>
                <a:gd name="connsiteY26" fmla="*/ 51054 h 123444"/>
                <a:gd name="connsiteX27" fmla="*/ 54102 w 61340"/>
                <a:gd name="connsiteY27" fmla="*/ 40767 h 123444"/>
                <a:gd name="connsiteX28" fmla="*/ 60293 w 61340"/>
                <a:gd name="connsiteY28" fmla="*/ 40767 h 123444"/>
                <a:gd name="connsiteX29" fmla="*/ 61341 w 61340"/>
                <a:gd name="connsiteY29" fmla="*/ 32099 h 123444"/>
                <a:gd name="connsiteX30" fmla="*/ 56102 w 61340"/>
                <a:gd name="connsiteY30" fmla="*/ 28004 h 12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1340" h="123444">
                  <a:moveTo>
                    <a:pt x="56102" y="28004"/>
                  </a:moveTo>
                  <a:lnTo>
                    <a:pt x="57626" y="23717"/>
                  </a:lnTo>
                  <a:lnTo>
                    <a:pt x="53340" y="19717"/>
                  </a:lnTo>
                  <a:lnTo>
                    <a:pt x="55150" y="14573"/>
                  </a:lnTo>
                  <a:lnTo>
                    <a:pt x="47149" y="9049"/>
                  </a:lnTo>
                  <a:lnTo>
                    <a:pt x="39814" y="0"/>
                  </a:lnTo>
                  <a:lnTo>
                    <a:pt x="32480" y="2762"/>
                  </a:lnTo>
                  <a:lnTo>
                    <a:pt x="33623" y="7429"/>
                  </a:lnTo>
                  <a:lnTo>
                    <a:pt x="30575" y="11716"/>
                  </a:lnTo>
                  <a:lnTo>
                    <a:pt x="25146" y="19336"/>
                  </a:lnTo>
                  <a:lnTo>
                    <a:pt x="16954" y="21336"/>
                  </a:lnTo>
                  <a:lnTo>
                    <a:pt x="11144" y="16954"/>
                  </a:lnTo>
                  <a:lnTo>
                    <a:pt x="1905" y="28385"/>
                  </a:lnTo>
                  <a:lnTo>
                    <a:pt x="0" y="40767"/>
                  </a:lnTo>
                  <a:lnTo>
                    <a:pt x="10763" y="47435"/>
                  </a:lnTo>
                  <a:lnTo>
                    <a:pt x="9239" y="58769"/>
                  </a:lnTo>
                  <a:lnTo>
                    <a:pt x="16002" y="67056"/>
                  </a:lnTo>
                  <a:lnTo>
                    <a:pt x="16002" y="105728"/>
                  </a:lnTo>
                  <a:lnTo>
                    <a:pt x="13335" y="111919"/>
                  </a:lnTo>
                  <a:lnTo>
                    <a:pt x="19717" y="123444"/>
                  </a:lnTo>
                  <a:lnTo>
                    <a:pt x="37052" y="120396"/>
                  </a:lnTo>
                  <a:lnTo>
                    <a:pt x="38195" y="120396"/>
                  </a:lnTo>
                  <a:lnTo>
                    <a:pt x="38195" y="120396"/>
                  </a:lnTo>
                  <a:lnTo>
                    <a:pt x="38672" y="68104"/>
                  </a:lnTo>
                  <a:lnTo>
                    <a:pt x="46387" y="66485"/>
                  </a:lnTo>
                  <a:lnTo>
                    <a:pt x="46387" y="55721"/>
                  </a:lnTo>
                  <a:lnTo>
                    <a:pt x="54102" y="51054"/>
                  </a:lnTo>
                  <a:lnTo>
                    <a:pt x="54102" y="40767"/>
                  </a:lnTo>
                  <a:lnTo>
                    <a:pt x="60293" y="40767"/>
                  </a:lnTo>
                  <a:lnTo>
                    <a:pt x="61341" y="32099"/>
                  </a:lnTo>
                  <a:lnTo>
                    <a:pt x="56102" y="2800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6" name="Freeform: Shape 2796">
              <a:extLst>
                <a:ext uri="{FF2B5EF4-FFF2-40B4-BE49-F238E27FC236}">
                  <a16:creationId xmlns:a16="http://schemas.microsoft.com/office/drawing/2014/main" id="{B46FF592-E911-9154-6438-4245874F4D6B}"/>
                </a:ext>
              </a:extLst>
            </p:cNvPr>
            <p:cNvSpPr/>
            <p:nvPr/>
          </p:nvSpPr>
          <p:spPr>
            <a:xfrm>
              <a:off x="1982247" y="4695475"/>
              <a:ext cx="22383" cy="29241"/>
            </a:xfrm>
            <a:custGeom>
              <a:avLst/>
              <a:gdLst>
                <a:gd name="connsiteX0" fmla="*/ 22384 w 22383"/>
                <a:gd name="connsiteY0" fmla="*/ 6001 h 29241"/>
                <a:gd name="connsiteX1" fmla="*/ 16097 w 22383"/>
                <a:gd name="connsiteY1" fmla="*/ 0 h 29241"/>
                <a:gd name="connsiteX2" fmla="*/ 13430 w 22383"/>
                <a:gd name="connsiteY2" fmla="*/ 5048 h 29241"/>
                <a:gd name="connsiteX3" fmla="*/ 7429 w 22383"/>
                <a:gd name="connsiteY3" fmla="*/ 4286 h 29241"/>
                <a:gd name="connsiteX4" fmla="*/ 6191 w 22383"/>
                <a:gd name="connsiteY4" fmla="*/ 8858 h 29241"/>
                <a:gd name="connsiteX5" fmla="*/ 0 w 22383"/>
                <a:gd name="connsiteY5" fmla="*/ 13621 h 29241"/>
                <a:gd name="connsiteX6" fmla="*/ 3619 w 22383"/>
                <a:gd name="connsiteY6" fmla="*/ 28670 h 29241"/>
                <a:gd name="connsiteX7" fmla="*/ 10763 w 22383"/>
                <a:gd name="connsiteY7" fmla="*/ 29242 h 29241"/>
                <a:gd name="connsiteX8" fmla="*/ 10763 w 22383"/>
                <a:gd name="connsiteY8" fmla="*/ 16192 h 29241"/>
                <a:gd name="connsiteX9" fmla="*/ 22384 w 22383"/>
                <a:gd name="connsiteY9" fmla="*/ 6001 h 29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83" h="29241">
                  <a:moveTo>
                    <a:pt x="22384" y="6001"/>
                  </a:moveTo>
                  <a:lnTo>
                    <a:pt x="16097" y="0"/>
                  </a:lnTo>
                  <a:lnTo>
                    <a:pt x="13430" y="5048"/>
                  </a:lnTo>
                  <a:lnTo>
                    <a:pt x="7429" y="4286"/>
                  </a:lnTo>
                  <a:lnTo>
                    <a:pt x="6191" y="8858"/>
                  </a:lnTo>
                  <a:lnTo>
                    <a:pt x="0" y="13621"/>
                  </a:lnTo>
                  <a:lnTo>
                    <a:pt x="3619" y="28670"/>
                  </a:lnTo>
                  <a:lnTo>
                    <a:pt x="10763" y="29242"/>
                  </a:lnTo>
                  <a:lnTo>
                    <a:pt x="10763" y="16192"/>
                  </a:lnTo>
                  <a:lnTo>
                    <a:pt x="22384" y="600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7" name="Freeform: Shape 2797">
              <a:extLst>
                <a:ext uri="{FF2B5EF4-FFF2-40B4-BE49-F238E27FC236}">
                  <a16:creationId xmlns:a16="http://schemas.microsoft.com/office/drawing/2014/main" id="{47982883-F00C-E65A-B348-9C79BB56626C}"/>
                </a:ext>
              </a:extLst>
            </p:cNvPr>
            <p:cNvSpPr/>
            <p:nvPr/>
          </p:nvSpPr>
          <p:spPr>
            <a:xfrm>
              <a:off x="1976627" y="4725479"/>
              <a:ext cx="245173" cy="244030"/>
            </a:xfrm>
            <a:custGeom>
              <a:avLst/>
              <a:gdLst>
                <a:gd name="connsiteX0" fmla="*/ 32671 w 245173"/>
                <a:gd name="connsiteY0" fmla="*/ 50197 h 244030"/>
                <a:gd name="connsiteX1" fmla="*/ 32671 w 245173"/>
                <a:gd name="connsiteY1" fmla="*/ 57150 h 244030"/>
                <a:gd name="connsiteX2" fmla="*/ 24765 w 245173"/>
                <a:gd name="connsiteY2" fmla="*/ 64103 h 244030"/>
                <a:gd name="connsiteX3" fmla="*/ 40291 w 245173"/>
                <a:gd name="connsiteY3" fmla="*/ 95536 h 244030"/>
                <a:gd name="connsiteX4" fmla="*/ 40958 w 245173"/>
                <a:gd name="connsiteY4" fmla="*/ 118205 h 244030"/>
                <a:gd name="connsiteX5" fmla="*/ 15526 w 245173"/>
                <a:gd name="connsiteY5" fmla="*/ 151257 h 244030"/>
                <a:gd name="connsiteX6" fmla="*/ 8287 w 245173"/>
                <a:gd name="connsiteY6" fmla="*/ 186309 h 244030"/>
                <a:gd name="connsiteX7" fmla="*/ 0 w 245173"/>
                <a:gd name="connsiteY7" fmla="*/ 199834 h 244030"/>
                <a:gd name="connsiteX8" fmla="*/ 857 w 245173"/>
                <a:gd name="connsiteY8" fmla="*/ 228695 h 244030"/>
                <a:gd name="connsiteX9" fmla="*/ 857 w 245173"/>
                <a:gd name="connsiteY9" fmla="*/ 228600 h 244030"/>
                <a:gd name="connsiteX10" fmla="*/ 6382 w 245173"/>
                <a:gd name="connsiteY10" fmla="*/ 225838 h 244030"/>
                <a:gd name="connsiteX11" fmla="*/ 14954 w 245173"/>
                <a:gd name="connsiteY11" fmla="*/ 228600 h 244030"/>
                <a:gd name="connsiteX12" fmla="*/ 23051 w 245173"/>
                <a:gd name="connsiteY12" fmla="*/ 223075 h 244030"/>
                <a:gd name="connsiteX13" fmla="*/ 32766 w 245173"/>
                <a:gd name="connsiteY13" fmla="*/ 223075 h 244030"/>
                <a:gd name="connsiteX14" fmla="*/ 45910 w 245173"/>
                <a:gd name="connsiteY14" fmla="*/ 232600 h 244030"/>
                <a:gd name="connsiteX15" fmla="*/ 132207 w 245173"/>
                <a:gd name="connsiteY15" fmla="*/ 232600 h 244030"/>
                <a:gd name="connsiteX16" fmla="*/ 139922 w 245173"/>
                <a:gd name="connsiteY16" fmla="*/ 238887 h 244030"/>
                <a:gd name="connsiteX17" fmla="*/ 177832 w 245173"/>
                <a:gd name="connsiteY17" fmla="*/ 243269 h 244030"/>
                <a:gd name="connsiteX18" fmla="*/ 187166 w 245173"/>
                <a:gd name="connsiteY18" fmla="*/ 240506 h 244030"/>
                <a:gd name="connsiteX19" fmla="*/ 192119 w 245173"/>
                <a:gd name="connsiteY19" fmla="*/ 244030 h 244030"/>
                <a:gd name="connsiteX20" fmla="*/ 234887 w 245173"/>
                <a:gd name="connsiteY20" fmla="*/ 234791 h 244030"/>
                <a:gd name="connsiteX21" fmla="*/ 222790 w 245173"/>
                <a:gd name="connsiteY21" fmla="*/ 229076 h 244030"/>
                <a:gd name="connsiteX22" fmla="*/ 202978 w 245173"/>
                <a:gd name="connsiteY22" fmla="*/ 211264 h 244030"/>
                <a:gd name="connsiteX23" fmla="*/ 202978 w 245173"/>
                <a:gd name="connsiteY23" fmla="*/ 142875 h 244030"/>
                <a:gd name="connsiteX24" fmla="*/ 244031 w 245173"/>
                <a:gd name="connsiteY24" fmla="*/ 142875 h 244030"/>
                <a:gd name="connsiteX25" fmla="*/ 240887 w 245173"/>
                <a:gd name="connsiteY25" fmla="*/ 135731 h 244030"/>
                <a:gd name="connsiteX26" fmla="*/ 245174 w 245173"/>
                <a:gd name="connsiteY26" fmla="*/ 129826 h 244030"/>
                <a:gd name="connsiteX27" fmla="*/ 241364 w 245173"/>
                <a:gd name="connsiteY27" fmla="*/ 124301 h 244030"/>
                <a:gd name="connsiteX28" fmla="*/ 244412 w 245173"/>
                <a:gd name="connsiteY28" fmla="*/ 109633 h 244030"/>
                <a:gd name="connsiteX29" fmla="*/ 242507 w 245173"/>
                <a:gd name="connsiteY29" fmla="*/ 99631 h 244030"/>
                <a:gd name="connsiteX30" fmla="*/ 242507 w 245173"/>
                <a:gd name="connsiteY30" fmla="*/ 99631 h 244030"/>
                <a:gd name="connsiteX31" fmla="*/ 231648 w 245173"/>
                <a:gd name="connsiteY31" fmla="*/ 101346 h 244030"/>
                <a:gd name="connsiteX32" fmla="*/ 224981 w 245173"/>
                <a:gd name="connsiteY32" fmla="*/ 105061 h 244030"/>
                <a:gd name="connsiteX33" fmla="*/ 217170 w 245173"/>
                <a:gd name="connsiteY33" fmla="*/ 102394 h 244030"/>
                <a:gd name="connsiteX34" fmla="*/ 207931 w 245173"/>
                <a:gd name="connsiteY34" fmla="*/ 108680 h 244030"/>
                <a:gd name="connsiteX35" fmla="*/ 204311 w 245173"/>
                <a:gd name="connsiteY35" fmla="*/ 99727 h 244030"/>
                <a:gd name="connsiteX36" fmla="*/ 210503 w 245173"/>
                <a:gd name="connsiteY36" fmla="*/ 92392 h 244030"/>
                <a:gd name="connsiteX37" fmla="*/ 206407 w 245173"/>
                <a:gd name="connsiteY37" fmla="*/ 80772 h 244030"/>
                <a:gd name="connsiteX38" fmla="*/ 198596 w 245173"/>
                <a:gd name="connsiteY38" fmla="*/ 71438 h 244030"/>
                <a:gd name="connsiteX39" fmla="*/ 203264 w 245173"/>
                <a:gd name="connsiteY39" fmla="*/ 52864 h 244030"/>
                <a:gd name="connsiteX40" fmla="*/ 197549 w 245173"/>
                <a:gd name="connsiteY40" fmla="*/ 39433 h 244030"/>
                <a:gd name="connsiteX41" fmla="*/ 201740 w 245173"/>
                <a:gd name="connsiteY41" fmla="*/ 28099 h 244030"/>
                <a:gd name="connsiteX42" fmla="*/ 175927 w 245173"/>
                <a:gd name="connsiteY42" fmla="*/ 28099 h 244030"/>
                <a:gd name="connsiteX43" fmla="*/ 175927 w 245173"/>
                <a:gd name="connsiteY43" fmla="*/ 17812 h 244030"/>
                <a:gd name="connsiteX44" fmla="*/ 165068 w 245173"/>
                <a:gd name="connsiteY44" fmla="*/ 24003 h 244030"/>
                <a:gd name="connsiteX45" fmla="*/ 153734 w 245173"/>
                <a:gd name="connsiteY45" fmla="*/ 24003 h 244030"/>
                <a:gd name="connsiteX46" fmla="*/ 151162 w 245173"/>
                <a:gd name="connsiteY46" fmla="*/ 43053 h 244030"/>
                <a:gd name="connsiteX47" fmla="*/ 114491 w 245173"/>
                <a:gd name="connsiteY47" fmla="*/ 44101 h 244030"/>
                <a:gd name="connsiteX48" fmla="*/ 103727 w 245173"/>
                <a:gd name="connsiteY48" fmla="*/ 20860 h 244030"/>
                <a:gd name="connsiteX49" fmla="*/ 97536 w 245173"/>
                <a:gd name="connsiteY49" fmla="*/ 14669 h 244030"/>
                <a:gd name="connsiteX50" fmla="*/ 99060 w 245173"/>
                <a:gd name="connsiteY50" fmla="*/ 6953 h 244030"/>
                <a:gd name="connsiteX51" fmla="*/ 93917 w 245173"/>
                <a:gd name="connsiteY51" fmla="*/ 1238 h 244030"/>
                <a:gd name="connsiteX52" fmla="*/ 24956 w 245173"/>
                <a:gd name="connsiteY52" fmla="*/ 0 h 244030"/>
                <a:gd name="connsiteX53" fmla="*/ 11430 w 245173"/>
                <a:gd name="connsiteY53" fmla="*/ 8096 h 244030"/>
                <a:gd name="connsiteX54" fmla="*/ 32671 w 245173"/>
                <a:gd name="connsiteY54" fmla="*/ 50197 h 24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45173" h="244030">
                  <a:moveTo>
                    <a:pt x="32671" y="50197"/>
                  </a:moveTo>
                  <a:lnTo>
                    <a:pt x="32671" y="57150"/>
                  </a:lnTo>
                  <a:lnTo>
                    <a:pt x="24765" y="64103"/>
                  </a:lnTo>
                  <a:lnTo>
                    <a:pt x="40291" y="95536"/>
                  </a:lnTo>
                  <a:lnTo>
                    <a:pt x="40958" y="118205"/>
                  </a:lnTo>
                  <a:lnTo>
                    <a:pt x="15526" y="151257"/>
                  </a:lnTo>
                  <a:lnTo>
                    <a:pt x="8287" y="186309"/>
                  </a:lnTo>
                  <a:lnTo>
                    <a:pt x="0" y="199834"/>
                  </a:lnTo>
                  <a:lnTo>
                    <a:pt x="857" y="228695"/>
                  </a:lnTo>
                  <a:lnTo>
                    <a:pt x="857" y="228600"/>
                  </a:lnTo>
                  <a:lnTo>
                    <a:pt x="6382" y="225838"/>
                  </a:lnTo>
                  <a:lnTo>
                    <a:pt x="14954" y="228600"/>
                  </a:lnTo>
                  <a:lnTo>
                    <a:pt x="23051" y="223075"/>
                  </a:lnTo>
                  <a:lnTo>
                    <a:pt x="32766" y="223075"/>
                  </a:lnTo>
                  <a:lnTo>
                    <a:pt x="45910" y="232600"/>
                  </a:lnTo>
                  <a:lnTo>
                    <a:pt x="132207" y="232600"/>
                  </a:lnTo>
                  <a:lnTo>
                    <a:pt x="139922" y="238887"/>
                  </a:lnTo>
                  <a:lnTo>
                    <a:pt x="177832" y="243269"/>
                  </a:lnTo>
                  <a:lnTo>
                    <a:pt x="187166" y="240506"/>
                  </a:lnTo>
                  <a:lnTo>
                    <a:pt x="192119" y="244030"/>
                  </a:lnTo>
                  <a:lnTo>
                    <a:pt x="234887" y="234791"/>
                  </a:lnTo>
                  <a:lnTo>
                    <a:pt x="222790" y="229076"/>
                  </a:lnTo>
                  <a:lnTo>
                    <a:pt x="202978" y="211264"/>
                  </a:lnTo>
                  <a:lnTo>
                    <a:pt x="202978" y="142875"/>
                  </a:lnTo>
                  <a:lnTo>
                    <a:pt x="244031" y="142875"/>
                  </a:lnTo>
                  <a:lnTo>
                    <a:pt x="240887" y="135731"/>
                  </a:lnTo>
                  <a:lnTo>
                    <a:pt x="245174" y="129826"/>
                  </a:lnTo>
                  <a:lnTo>
                    <a:pt x="241364" y="124301"/>
                  </a:lnTo>
                  <a:lnTo>
                    <a:pt x="244412" y="109633"/>
                  </a:lnTo>
                  <a:lnTo>
                    <a:pt x="242507" y="99631"/>
                  </a:lnTo>
                  <a:lnTo>
                    <a:pt x="242507" y="99631"/>
                  </a:lnTo>
                  <a:lnTo>
                    <a:pt x="231648" y="101346"/>
                  </a:lnTo>
                  <a:lnTo>
                    <a:pt x="224981" y="105061"/>
                  </a:lnTo>
                  <a:lnTo>
                    <a:pt x="217170" y="102394"/>
                  </a:lnTo>
                  <a:lnTo>
                    <a:pt x="207931" y="108680"/>
                  </a:lnTo>
                  <a:lnTo>
                    <a:pt x="204311" y="99727"/>
                  </a:lnTo>
                  <a:lnTo>
                    <a:pt x="210503" y="92392"/>
                  </a:lnTo>
                  <a:lnTo>
                    <a:pt x="206407" y="80772"/>
                  </a:lnTo>
                  <a:lnTo>
                    <a:pt x="198596" y="71438"/>
                  </a:lnTo>
                  <a:lnTo>
                    <a:pt x="203264" y="52864"/>
                  </a:lnTo>
                  <a:lnTo>
                    <a:pt x="197549" y="39433"/>
                  </a:lnTo>
                  <a:lnTo>
                    <a:pt x="201740" y="28099"/>
                  </a:lnTo>
                  <a:lnTo>
                    <a:pt x="175927" y="28099"/>
                  </a:lnTo>
                  <a:lnTo>
                    <a:pt x="175927" y="17812"/>
                  </a:lnTo>
                  <a:lnTo>
                    <a:pt x="165068" y="24003"/>
                  </a:lnTo>
                  <a:lnTo>
                    <a:pt x="153734" y="24003"/>
                  </a:lnTo>
                  <a:lnTo>
                    <a:pt x="151162" y="43053"/>
                  </a:lnTo>
                  <a:lnTo>
                    <a:pt x="114491" y="44101"/>
                  </a:lnTo>
                  <a:lnTo>
                    <a:pt x="103727" y="20860"/>
                  </a:lnTo>
                  <a:lnTo>
                    <a:pt x="97536" y="14669"/>
                  </a:lnTo>
                  <a:lnTo>
                    <a:pt x="99060" y="6953"/>
                  </a:lnTo>
                  <a:lnTo>
                    <a:pt x="93917" y="1238"/>
                  </a:lnTo>
                  <a:lnTo>
                    <a:pt x="24956" y="0"/>
                  </a:lnTo>
                  <a:lnTo>
                    <a:pt x="11430" y="8096"/>
                  </a:lnTo>
                  <a:lnTo>
                    <a:pt x="32671" y="5019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8" name="Freeform: Shape 2798">
              <a:extLst>
                <a:ext uri="{FF2B5EF4-FFF2-40B4-BE49-F238E27FC236}">
                  <a16:creationId xmlns:a16="http://schemas.microsoft.com/office/drawing/2014/main" id="{AD37BB0F-13EA-A20C-93FE-00E96D4A9C40}"/>
                </a:ext>
              </a:extLst>
            </p:cNvPr>
            <p:cNvSpPr/>
            <p:nvPr/>
          </p:nvSpPr>
          <p:spPr>
            <a:xfrm>
              <a:off x="1572482" y="3839940"/>
              <a:ext cx="408241" cy="389858"/>
            </a:xfrm>
            <a:custGeom>
              <a:avLst/>
              <a:gdLst>
                <a:gd name="connsiteX0" fmla="*/ 401003 w 408241"/>
                <a:gd name="connsiteY0" fmla="*/ 279082 h 389858"/>
                <a:gd name="connsiteX1" fmla="*/ 384239 w 408241"/>
                <a:gd name="connsiteY1" fmla="*/ 272987 h 389858"/>
                <a:gd name="connsiteX2" fmla="*/ 379095 w 408241"/>
                <a:gd name="connsiteY2" fmla="*/ 275463 h 389858"/>
                <a:gd name="connsiteX3" fmla="*/ 374999 w 408241"/>
                <a:gd name="connsiteY3" fmla="*/ 272224 h 389858"/>
                <a:gd name="connsiteX4" fmla="*/ 374999 w 408241"/>
                <a:gd name="connsiteY4" fmla="*/ 267843 h 389858"/>
                <a:gd name="connsiteX5" fmla="*/ 370618 w 408241"/>
                <a:gd name="connsiteY5" fmla="*/ 267271 h 389858"/>
                <a:gd name="connsiteX6" fmla="*/ 369856 w 408241"/>
                <a:gd name="connsiteY6" fmla="*/ 257365 h 389858"/>
                <a:gd name="connsiteX7" fmla="*/ 357473 w 408241"/>
                <a:gd name="connsiteY7" fmla="*/ 240411 h 389858"/>
                <a:gd name="connsiteX8" fmla="*/ 358712 w 408241"/>
                <a:gd name="connsiteY8" fmla="*/ 235744 h 389858"/>
                <a:gd name="connsiteX9" fmla="*/ 366998 w 408241"/>
                <a:gd name="connsiteY9" fmla="*/ 231934 h 389858"/>
                <a:gd name="connsiteX10" fmla="*/ 368237 w 408241"/>
                <a:gd name="connsiteY10" fmla="*/ 224790 h 389858"/>
                <a:gd name="connsiteX11" fmla="*/ 364141 w 408241"/>
                <a:gd name="connsiteY11" fmla="*/ 215551 h 389858"/>
                <a:gd name="connsiteX12" fmla="*/ 369570 w 408241"/>
                <a:gd name="connsiteY12" fmla="*/ 204311 h 389858"/>
                <a:gd name="connsiteX13" fmla="*/ 365665 w 408241"/>
                <a:gd name="connsiteY13" fmla="*/ 196120 h 389858"/>
                <a:gd name="connsiteX14" fmla="*/ 366236 w 408241"/>
                <a:gd name="connsiteY14" fmla="*/ 174212 h 389858"/>
                <a:gd name="connsiteX15" fmla="*/ 355378 w 408241"/>
                <a:gd name="connsiteY15" fmla="*/ 156115 h 389858"/>
                <a:gd name="connsiteX16" fmla="*/ 360426 w 408241"/>
                <a:gd name="connsiteY16" fmla="*/ 154019 h 389858"/>
                <a:gd name="connsiteX17" fmla="*/ 360236 w 408241"/>
                <a:gd name="connsiteY17" fmla="*/ 153924 h 389858"/>
                <a:gd name="connsiteX18" fmla="*/ 351282 w 408241"/>
                <a:gd name="connsiteY18" fmla="*/ 112109 h 389858"/>
                <a:gd name="connsiteX19" fmla="*/ 337090 w 408241"/>
                <a:gd name="connsiteY19" fmla="*/ 101917 h 389858"/>
                <a:gd name="connsiteX20" fmla="*/ 336233 w 408241"/>
                <a:gd name="connsiteY20" fmla="*/ 95536 h 389858"/>
                <a:gd name="connsiteX21" fmla="*/ 331946 w 408241"/>
                <a:gd name="connsiteY21" fmla="*/ 89059 h 389858"/>
                <a:gd name="connsiteX22" fmla="*/ 324422 w 408241"/>
                <a:gd name="connsiteY22" fmla="*/ 86487 h 389858"/>
                <a:gd name="connsiteX23" fmla="*/ 324136 w 408241"/>
                <a:gd name="connsiteY23" fmla="*/ 82105 h 389858"/>
                <a:gd name="connsiteX24" fmla="*/ 319564 w 408241"/>
                <a:gd name="connsiteY24" fmla="*/ 72390 h 389858"/>
                <a:gd name="connsiteX25" fmla="*/ 320516 w 408241"/>
                <a:gd name="connsiteY25" fmla="*/ 66580 h 389858"/>
                <a:gd name="connsiteX26" fmla="*/ 325184 w 408241"/>
                <a:gd name="connsiteY26" fmla="*/ 64294 h 389858"/>
                <a:gd name="connsiteX27" fmla="*/ 326231 w 408241"/>
                <a:gd name="connsiteY27" fmla="*/ 59627 h 389858"/>
                <a:gd name="connsiteX28" fmla="*/ 334709 w 408241"/>
                <a:gd name="connsiteY28" fmla="*/ 55245 h 389858"/>
                <a:gd name="connsiteX29" fmla="*/ 339376 w 408241"/>
                <a:gd name="connsiteY29" fmla="*/ 41148 h 389858"/>
                <a:gd name="connsiteX30" fmla="*/ 334518 w 408241"/>
                <a:gd name="connsiteY30" fmla="*/ 39719 h 389858"/>
                <a:gd name="connsiteX31" fmla="*/ 337090 w 408241"/>
                <a:gd name="connsiteY31" fmla="*/ 33623 h 389858"/>
                <a:gd name="connsiteX32" fmla="*/ 334994 w 408241"/>
                <a:gd name="connsiteY32" fmla="*/ 29242 h 389858"/>
                <a:gd name="connsiteX33" fmla="*/ 338042 w 408241"/>
                <a:gd name="connsiteY33" fmla="*/ 15526 h 389858"/>
                <a:gd name="connsiteX34" fmla="*/ 332899 w 408241"/>
                <a:gd name="connsiteY34" fmla="*/ 12287 h 389858"/>
                <a:gd name="connsiteX35" fmla="*/ 342995 w 408241"/>
                <a:gd name="connsiteY35" fmla="*/ 7620 h 389858"/>
                <a:gd name="connsiteX36" fmla="*/ 342995 w 408241"/>
                <a:gd name="connsiteY36" fmla="*/ 3238 h 389858"/>
                <a:gd name="connsiteX37" fmla="*/ 343091 w 408241"/>
                <a:gd name="connsiteY37" fmla="*/ 3048 h 389858"/>
                <a:gd name="connsiteX38" fmla="*/ 342424 w 408241"/>
                <a:gd name="connsiteY38" fmla="*/ 3334 h 389858"/>
                <a:gd name="connsiteX39" fmla="*/ 299847 w 408241"/>
                <a:gd name="connsiteY39" fmla="*/ 0 h 389858"/>
                <a:gd name="connsiteX40" fmla="*/ 277368 w 408241"/>
                <a:gd name="connsiteY40" fmla="*/ 10001 h 389858"/>
                <a:gd name="connsiteX41" fmla="*/ 266510 w 408241"/>
                <a:gd name="connsiteY41" fmla="*/ 4096 h 389858"/>
                <a:gd name="connsiteX42" fmla="*/ 229838 w 408241"/>
                <a:gd name="connsiteY42" fmla="*/ 6287 h 389858"/>
                <a:gd name="connsiteX43" fmla="*/ 222599 w 408241"/>
                <a:gd name="connsiteY43" fmla="*/ 11144 h 389858"/>
                <a:gd name="connsiteX44" fmla="*/ 190500 w 408241"/>
                <a:gd name="connsiteY44" fmla="*/ 14192 h 389858"/>
                <a:gd name="connsiteX45" fmla="*/ 171736 w 408241"/>
                <a:gd name="connsiteY45" fmla="*/ 28004 h 389858"/>
                <a:gd name="connsiteX46" fmla="*/ 155543 w 408241"/>
                <a:gd name="connsiteY46" fmla="*/ 29528 h 389858"/>
                <a:gd name="connsiteX47" fmla="*/ 136398 w 408241"/>
                <a:gd name="connsiteY47" fmla="*/ 44005 h 389858"/>
                <a:gd name="connsiteX48" fmla="*/ 126587 w 408241"/>
                <a:gd name="connsiteY48" fmla="*/ 43244 h 389858"/>
                <a:gd name="connsiteX49" fmla="*/ 136684 w 408241"/>
                <a:gd name="connsiteY49" fmla="*/ 52197 h 389858"/>
                <a:gd name="connsiteX50" fmla="*/ 134874 w 408241"/>
                <a:gd name="connsiteY50" fmla="*/ 55531 h 389858"/>
                <a:gd name="connsiteX51" fmla="*/ 138494 w 408241"/>
                <a:gd name="connsiteY51" fmla="*/ 58769 h 389858"/>
                <a:gd name="connsiteX52" fmla="*/ 136398 w 408241"/>
                <a:gd name="connsiteY52" fmla="*/ 62770 h 389858"/>
                <a:gd name="connsiteX53" fmla="*/ 139160 w 408241"/>
                <a:gd name="connsiteY53" fmla="*/ 68389 h 389858"/>
                <a:gd name="connsiteX54" fmla="*/ 136589 w 408241"/>
                <a:gd name="connsiteY54" fmla="*/ 76771 h 389858"/>
                <a:gd name="connsiteX55" fmla="*/ 140208 w 408241"/>
                <a:gd name="connsiteY55" fmla="*/ 79724 h 389858"/>
                <a:gd name="connsiteX56" fmla="*/ 138684 w 408241"/>
                <a:gd name="connsiteY56" fmla="*/ 87344 h 389858"/>
                <a:gd name="connsiteX57" fmla="*/ 143542 w 408241"/>
                <a:gd name="connsiteY57" fmla="*/ 97536 h 389858"/>
                <a:gd name="connsiteX58" fmla="*/ 151828 w 408241"/>
                <a:gd name="connsiteY58" fmla="*/ 102775 h 389858"/>
                <a:gd name="connsiteX59" fmla="*/ 146209 w 408241"/>
                <a:gd name="connsiteY59" fmla="*/ 111538 h 389858"/>
                <a:gd name="connsiteX60" fmla="*/ 114967 w 408241"/>
                <a:gd name="connsiteY60" fmla="*/ 111728 h 389858"/>
                <a:gd name="connsiteX61" fmla="*/ 112204 w 408241"/>
                <a:gd name="connsiteY61" fmla="*/ 117824 h 389858"/>
                <a:gd name="connsiteX62" fmla="*/ 102584 w 408241"/>
                <a:gd name="connsiteY62" fmla="*/ 121348 h 389858"/>
                <a:gd name="connsiteX63" fmla="*/ 94869 w 408241"/>
                <a:gd name="connsiteY63" fmla="*/ 120872 h 389858"/>
                <a:gd name="connsiteX64" fmla="*/ 96393 w 408241"/>
                <a:gd name="connsiteY64" fmla="*/ 130492 h 389858"/>
                <a:gd name="connsiteX65" fmla="*/ 101060 w 408241"/>
                <a:gd name="connsiteY65" fmla="*/ 136684 h 389858"/>
                <a:gd name="connsiteX66" fmla="*/ 73533 w 408241"/>
                <a:gd name="connsiteY66" fmla="*/ 147638 h 389858"/>
                <a:gd name="connsiteX67" fmla="*/ 66199 w 408241"/>
                <a:gd name="connsiteY67" fmla="*/ 160211 h 389858"/>
                <a:gd name="connsiteX68" fmla="*/ 44101 w 408241"/>
                <a:gd name="connsiteY68" fmla="*/ 161830 h 389858"/>
                <a:gd name="connsiteX69" fmla="*/ 41053 w 408241"/>
                <a:gd name="connsiteY69" fmla="*/ 168402 h 389858"/>
                <a:gd name="connsiteX70" fmla="*/ 29432 w 408241"/>
                <a:gd name="connsiteY70" fmla="*/ 167164 h 389858"/>
                <a:gd name="connsiteX71" fmla="*/ 0 w 408241"/>
                <a:gd name="connsiteY71" fmla="*/ 185642 h 389858"/>
                <a:gd name="connsiteX72" fmla="*/ 0 w 408241"/>
                <a:gd name="connsiteY72" fmla="*/ 215837 h 389858"/>
                <a:gd name="connsiteX73" fmla="*/ 76772 w 408241"/>
                <a:gd name="connsiteY73" fmla="*/ 264033 h 389858"/>
                <a:gd name="connsiteX74" fmla="*/ 194310 w 408241"/>
                <a:gd name="connsiteY74" fmla="*/ 346234 h 389858"/>
                <a:gd name="connsiteX75" fmla="*/ 194310 w 408241"/>
                <a:gd name="connsiteY75" fmla="*/ 353663 h 389858"/>
                <a:gd name="connsiteX76" fmla="*/ 204692 w 408241"/>
                <a:gd name="connsiteY76" fmla="*/ 358997 h 389858"/>
                <a:gd name="connsiteX77" fmla="*/ 209741 w 408241"/>
                <a:gd name="connsiteY77" fmla="*/ 364522 h 389858"/>
                <a:gd name="connsiteX78" fmla="*/ 215932 w 408241"/>
                <a:gd name="connsiteY78" fmla="*/ 362903 h 389858"/>
                <a:gd name="connsiteX79" fmla="*/ 219456 w 408241"/>
                <a:gd name="connsiteY79" fmla="*/ 368427 h 389858"/>
                <a:gd name="connsiteX80" fmla="*/ 236030 w 408241"/>
                <a:gd name="connsiteY80" fmla="*/ 372808 h 389858"/>
                <a:gd name="connsiteX81" fmla="*/ 236030 w 408241"/>
                <a:gd name="connsiteY81" fmla="*/ 381953 h 389858"/>
                <a:gd name="connsiteX82" fmla="*/ 232982 w 408241"/>
                <a:gd name="connsiteY82" fmla="*/ 386239 h 389858"/>
                <a:gd name="connsiteX83" fmla="*/ 238030 w 408241"/>
                <a:gd name="connsiteY83" fmla="*/ 389858 h 389858"/>
                <a:gd name="connsiteX84" fmla="*/ 255841 w 408241"/>
                <a:gd name="connsiteY84" fmla="*/ 386334 h 389858"/>
                <a:gd name="connsiteX85" fmla="*/ 286703 w 408241"/>
                <a:gd name="connsiteY85" fmla="*/ 380333 h 389858"/>
                <a:gd name="connsiteX86" fmla="*/ 319278 w 408241"/>
                <a:gd name="connsiteY86" fmla="*/ 351187 h 389858"/>
                <a:gd name="connsiteX87" fmla="*/ 408241 w 408241"/>
                <a:gd name="connsiteY87" fmla="*/ 294894 h 389858"/>
                <a:gd name="connsiteX88" fmla="*/ 401003 w 408241"/>
                <a:gd name="connsiteY88" fmla="*/ 279082 h 38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08241" h="389858">
                  <a:moveTo>
                    <a:pt x="401003" y="279082"/>
                  </a:moveTo>
                  <a:lnTo>
                    <a:pt x="384239" y="272987"/>
                  </a:lnTo>
                  <a:lnTo>
                    <a:pt x="379095" y="275463"/>
                  </a:lnTo>
                  <a:lnTo>
                    <a:pt x="374999" y="272224"/>
                  </a:lnTo>
                  <a:lnTo>
                    <a:pt x="374999" y="267843"/>
                  </a:lnTo>
                  <a:lnTo>
                    <a:pt x="370618" y="267271"/>
                  </a:lnTo>
                  <a:lnTo>
                    <a:pt x="369856" y="257365"/>
                  </a:lnTo>
                  <a:lnTo>
                    <a:pt x="357473" y="240411"/>
                  </a:lnTo>
                  <a:lnTo>
                    <a:pt x="358712" y="235744"/>
                  </a:lnTo>
                  <a:lnTo>
                    <a:pt x="366998" y="231934"/>
                  </a:lnTo>
                  <a:lnTo>
                    <a:pt x="368237" y="224790"/>
                  </a:lnTo>
                  <a:lnTo>
                    <a:pt x="364141" y="215551"/>
                  </a:lnTo>
                  <a:lnTo>
                    <a:pt x="369570" y="204311"/>
                  </a:lnTo>
                  <a:lnTo>
                    <a:pt x="365665" y="196120"/>
                  </a:lnTo>
                  <a:lnTo>
                    <a:pt x="366236" y="174212"/>
                  </a:lnTo>
                  <a:lnTo>
                    <a:pt x="355378" y="156115"/>
                  </a:lnTo>
                  <a:lnTo>
                    <a:pt x="360426" y="154019"/>
                  </a:lnTo>
                  <a:lnTo>
                    <a:pt x="360236" y="153924"/>
                  </a:lnTo>
                  <a:lnTo>
                    <a:pt x="351282" y="112109"/>
                  </a:lnTo>
                  <a:lnTo>
                    <a:pt x="337090" y="101917"/>
                  </a:lnTo>
                  <a:lnTo>
                    <a:pt x="336233" y="95536"/>
                  </a:lnTo>
                  <a:lnTo>
                    <a:pt x="331946" y="89059"/>
                  </a:lnTo>
                  <a:lnTo>
                    <a:pt x="324422" y="86487"/>
                  </a:lnTo>
                  <a:lnTo>
                    <a:pt x="324136" y="82105"/>
                  </a:lnTo>
                  <a:lnTo>
                    <a:pt x="319564" y="72390"/>
                  </a:lnTo>
                  <a:lnTo>
                    <a:pt x="320516" y="66580"/>
                  </a:lnTo>
                  <a:lnTo>
                    <a:pt x="325184" y="64294"/>
                  </a:lnTo>
                  <a:lnTo>
                    <a:pt x="326231" y="59627"/>
                  </a:lnTo>
                  <a:lnTo>
                    <a:pt x="334709" y="55245"/>
                  </a:lnTo>
                  <a:lnTo>
                    <a:pt x="339376" y="41148"/>
                  </a:lnTo>
                  <a:lnTo>
                    <a:pt x="334518" y="39719"/>
                  </a:lnTo>
                  <a:lnTo>
                    <a:pt x="337090" y="33623"/>
                  </a:lnTo>
                  <a:lnTo>
                    <a:pt x="334994" y="29242"/>
                  </a:lnTo>
                  <a:lnTo>
                    <a:pt x="338042" y="15526"/>
                  </a:lnTo>
                  <a:lnTo>
                    <a:pt x="332899" y="12287"/>
                  </a:lnTo>
                  <a:lnTo>
                    <a:pt x="342995" y="7620"/>
                  </a:lnTo>
                  <a:lnTo>
                    <a:pt x="342995" y="3238"/>
                  </a:lnTo>
                  <a:lnTo>
                    <a:pt x="343091" y="3048"/>
                  </a:lnTo>
                  <a:lnTo>
                    <a:pt x="342424" y="3334"/>
                  </a:lnTo>
                  <a:lnTo>
                    <a:pt x="299847" y="0"/>
                  </a:lnTo>
                  <a:lnTo>
                    <a:pt x="277368" y="10001"/>
                  </a:lnTo>
                  <a:lnTo>
                    <a:pt x="266510" y="4096"/>
                  </a:lnTo>
                  <a:lnTo>
                    <a:pt x="229838" y="6287"/>
                  </a:lnTo>
                  <a:lnTo>
                    <a:pt x="222599" y="11144"/>
                  </a:lnTo>
                  <a:lnTo>
                    <a:pt x="190500" y="14192"/>
                  </a:lnTo>
                  <a:lnTo>
                    <a:pt x="171736" y="28004"/>
                  </a:lnTo>
                  <a:lnTo>
                    <a:pt x="155543" y="29528"/>
                  </a:lnTo>
                  <a:lnTo>
                    <a:pt x="136398" y="44005"/>
                  </a:lnTo>
                  <a:lnTo>
                    <a:pt x="126587" y="43244"/>
                  </a:lnTo>
                  <a:lnTo>
                    <a:pt x="136684" y="52197"/>
                  </a:lnTo>
                  <a:lnTo>
                    <a:pt x="134874" y="55531"/>
                  </a:lnTo>
                  <a:lnTo>
                    <a:pt x="138494" y="58769"/>
                  </a:lnTo>
                  <a:lnTo>
                    <a:pt x="136398" y="62770"/>
                  </a:lnTo>
                  <a:lnTo>
                    <a:pt x="139160" y="68389"/>
                  </a:lnTo>
                  <a:lnTo>
                    <a:pt x="136589" y="76771"/>
                  </a:lnTo>
                  <a:lnTo>
                    <a:pt x="140208" y="79724"/>
                  </a:lnTo>
                  <a:lnTo>
                    <a:pt x="138684" y="87344"/>
                  </a:lnTo>
                  <a:lnTo>
                    <a:pt x="143542" y="97536"/>
                  </a:lnTo>
                  <a:lnTo>
                    <a:pt x="151828" y="102775"/>
                  </a:lnTo>
                  <a:lnTo>
                    <a:pt x="146209" y="111538"/>
                  </a:lnTo>
                  <a:lnTo>
                    <a:pt x="114967" y="111728"/>
                  </a:lnTo>
                  <a:lnTo>
                    <a:pt x="112204" y="117824"/>
                  </a:lnTo>
                  <a:lnTo>
                    <a:pt x="102584" y="121348"/>
                  </a:lnTo>
                  <a:lnTo>
                    <a:pt x="94869" y="120872"/>
                  </a:lnTo>
                  <a:lnTo>
                    <a:pt x="96393" y="130492"/>
                  </a:lnTo>
                  <a:lnTo>
                    <a:pt x="101060" y="136684"/>
                  </a:lnTo>
                  <a:lnTo>
                    <a:pt x="73533" y="147638"/>
                  </a:lnTo>
                  <a:lnTo>
                    <a:pt x="66199" y="160211"/>
                  </a:lnTo>
                  <a:lnTo>
                    <a:pt x="44101" y="161830"/>
                  </a:lnTo>
                  <a:lnTo>
                    <a:pt x="41053" y="168402"/>
                  </a:lnTo>
                  <a:lnTo>
                    <a:pt x="29432" y="167164"/>
                  </a:lnTo>
                  <a:lnTo>
                    <a:pt x="0" y="185642"/>
                  </a:lnTo>
                  <a:lnTo>
                    <a:pt x="0" y="215837"/>
                  </a:lnTo>
                  <a:lnTo>
                    <a:pt x="76772" y="264033"/>
                  </a:lnTo>
                  <a:lnTo>
                    <a:pt x="194310" y="346234"/>
                  </a:lnTo>
                  <a:lnTo>
                    <a:pt x="194310" y="353663"/>
                  </a:lnTo>
                  <a:lnTo>
                    <a:pt x="204692" y="358997"/>
                  </a:lnTo>
                  <a:lnTo>
                    <a:pt x="209741" y="364522"/>
                  </a:lnTo>
                  <a:lnTo>
                    <a:pt x="215932" y="362903"/>
                  </a:lnTo>
                  <a:lnTo>
                    <a:pt x="219456" y="368427"/>
                  </a:lnTo>
                  <a:lnTo>
                    <a:pt x="236030" y="372808"/>
                  </a:lnTo>
                  <a:lnTo>
                    <a:pt x="236030" y="381953"/>
                  </a:lnTo>
                  <a:lnTo>
                    <a:pt x="232982" y="386239"/>
                  </a:lnTo>
                  <a:lnTo>
                    <a:pt x="238030" y="389858"/>
                  </a:lnTo>
                  <a:lnTo>
                    <a:pt x="255841" y="386334"/>
                  </a:lnTo>
                  <a:lnTo>
                    <a:pt x="286703" y="380333"/>
                  </a:lnTo>
                  <a:lnTo>
                    <a:pt x="319278" y="351187"/>
                  </a:lnTo>
                  <a:lnTo>
                    <a:pt x="408241" y="294894"/>
                  </a:lnTo>
                  <a:lnTo>
                    <a:pt x="401003" y="27908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09" name="Freeform: Shape 2799">
              <a:extLst>
                <a:ext uri="{FF2B5EF4-FFF2-40B4-BE49-F238E27FC236}">
                  <a16:creationId xmlns:a16="http://schemas.microsoft.com/office/drawing/2014/main" id="{5657F63D-C050-4B84-F864-7B13EB33C8E1}"/>
                </a:ext>
              </a:extLst>
            </p:cNvPr>
            <p:cNvSpPr/>
            <p:nvPr/>
          </p:nvSpPr>
          <p:spPr>
            <a:xfrm>
              <a:off x="1618202" y="3292252"/>
              <a:ext cx="163639" cy="233648"/>
            </a:xfrm>
            <a:custGeom>
              <a:avLst/>
              <a:gdLst>
                <a:gd name="connsiteX0" fmla="*/ 151448 w 163639"/>
                <a:gd name="connsiteY0" fmla="*/ 186785 h 233648"/>
                <a:gd name="connsiteX1" fmla="*/ 163640 w 163639"/>
                <a:gd name="connsiteY1" fmla="*/ 163735 h 233648"/>
                <a:gd name="connsiteX2" fmla="*/ 152019 w 163639"/>
                <a:gd name="connsiteY2" fmla="*/ 155162 h 233648"/>
                <a:gd name="connsiteX3" fmla="*/ 136874 w 163639"/>
                <a:gd name="connsiteY3" fmla="*/ 156019 h 233648"/>
                <a:gd name="connsiteX4" fmla="*/ 126016 w 163639"/>
                <a:gd name="connsiteY4" fmla="*/ 158305 h 233648"/>
                <a:gd name="connsiteX5" fmla="*/ 135350 w 163639"/>
                <a:gd name="connsiteY5" fmla="*/ 146494 h 233648"/>
                <a:gd name="connsiteX6" fmla="*/ 126016 w 163639"/>
                <a:gd name="connsiteY6" fmla="*/ 140398 h 233648"/>
                <a:gd name="connsiteX7" fmla="*/ 128397 w 163639"/>
                <a:gd name="connsiteY7" fmla="*/ 135731 h 233648"/>
                <a:gd name="connsiteX8" fmla="*/ 116396 w 163639"/>
                <a:gd name="connsiteY8" fmla="*/ 113157 h 233648"/>
                <a:gd name="connsiteX9" fmla="*/ 102584 w 163639"/>
                <a:gd name="connsiteY9" fmla="*/ 111061 h 233648"/>
                <a:gd name="connsiteX10" fmla="*/ 93631 w 163639"/>
                <a:gd name="connsiteY10" fmla="*/ 83915 h 233648"/>
                <a:gd name="connsiteX11" fmla="*/ 78486 w 163639"/>
                <a:gd name="connsiteY11" fmla="*/ 71723 h 233648"/>
                <a:gd name="connsiteX12" fmla="*/ 53054 w 163639"/>
                <a:gd name="connsiteY12" fmla="*/ 72009 h 233648"/>
                <a:gd name="connsiteX13" fmla="*/ 75819 w 163639"/>
                <a:gd name="connsiteY13" fmla="*/ 56864 h 233648"/>
                <a:gd name="connsiteX14" fmla="*/ 90011 w 163639"/>
                <a:gd name="connsiteY14" fmla="*/ 28384 h 233648"/>
                <a:gd name="connsiteX15" fmla="*/ 61436 w 163639"/>
                <a:gd name="connsiteY15" fmla="*/ 25527 h 233648"/>
                <a:gd name="connsiteX16" fmla="*/ 43339 w 163639"/>
                <a:gd name="connsiteY16" fmla="*/ 32004 h 233648"/>
                <a:gd name="connsiteX17" fmla="*/ 66199 w 163639"/>
                <a:gd name="connsiteY17" fmla="*/ 0 h 233648"/>
                <a:gd name="connsiteX18" fmla="*/ 37148 w 163639"/>
                <a:gd name="connsiteY18" fmla="*/ 4953 h 233648"/>
                <a:gd name="connsiteX19" fmla="*/ 34862 w 163639"/>
                <a:gd name="connsiteY19" fmla="*/ 1333 h 233648"/>
                <a:gd name="connsiteX20" fmla="*/ 31528 w 163639"/>
                <a:gd name="connsiteY20" fmla="*/ 4953 h 233648"/>
                <a:gd name="connsiteX21" fmla="*/ 26956 w 163639"/>
                <a:gd name="connsiteY21" fmla="*/ 0 h 233648"/>
                <a:gd name="connsiteX22" fmla="*/ 13526 w 163639"/>
                <a:gd name="connsiteY22" fmla="*/ 30861 h 233648"/>
                <a:gd name="connsiteX23" fmla="*/ 18383 w 163639"/>
                <a:gd name="connsiteY23" fmla="*/ 42196 h 233648"/>
                <a:gd name="connsiteX24" fmla="*/ 2477 w 163639"/>
                <a:gd name="connsiteY24" fmla="*/ 52768 h 233648"/>
                <a:gd name="connsiteX25" fmla="*/ 8858 w 163639"/>
                <a:gd name="connsiteY25" fmla="*/ 59912 h 233648"/>
                <a:gd name="connsiteX26" fmla="*/ 25622 w 163639"/>
                <a:gd name="connsiteY26" fmla="*/ 53150 h 233648"/>
                <a:gd name="connsiteX27" fmla="*/ 0 w 163639"/>
                <a:gd name="connsiteY27" fmla="*/ 75819 h 233648"/>
                <a:gd name="connsiteX28" fmla="*/ 6763 w 163639"/>
                <a:gd name="connsiteY28" fmla="*/ 80867 h 233648"/>
                <a:gd name="connsiteX29" fmla="*/ 17812 w 163639"/>
                <a:gd name="connsiteY29" fmla="*/ 66675 h 233648"/>
                <a:gd name="connsiteX30" fmla="*/ 12764 w 163639"/>
                <a:gd name="connsiteY30" fmla="*/ 87058 h 233648"/>
                <a:gd name="connsiteX31" fmla="*/ 19907 w 163639"/>
                <a:gd name="connsiteY31" fmla="*/ 87916 h 233648"/>
                <a:gd name="connsiteX32" fmla="*/ 20669 w 163639"/>
                <a:gd name="connsiteY32" fmla="*/ 70675 h 233648"/>
                <a:gd name="connsiteX33" fmla="*/ 27432 w 163639"/>
                <a:gd name="connsiteY33" fmla="*/ 77152 h 233648"/>
                <a:gd name="connsiteX34" fmla="*/ 29908 w 163639"/>
                <a:gd name="connsiteY34" fmla="*/ 69913 h 233648"/>
                <a:gd name="connsiteX35" fmla="*/ 35528 w 163639"/>
                <a:gd name="connsiteY35" fmla="*/ 83629 h 233648"/>
                <a:gd name="connsiteX36" fmla="*/ 24289 w 163639"/>
                <a:gd name="connsiteY36" fmla="*/ 104108 h 233648"/>
                <a:gd name="connsiteX37" fmla="*/ 32099 w 163639"/>
                <a:gd name="connsiteY37" fmla="*/ 98965 h 233648"/>
                <a:gd name="connsiteX38" fmla="*/ 38672 w 163639"/>
                <a:gd name="connsiteY38" fmla="*/ 106204 h 233648"/>
                <a:gd name="connsiteX39" fmla="*/ 40386 w 163639"/>
                <a:gd name="connsiteY39" fmla="*/ 99441 h 233648"/>
                <a:gd name="connsiteX40" fmla="*/ 51245 w 163639"/>
                <a:gd name="connsiteY40" fmla="*/ 102394 h 233648"/>
                <a:gd name="connsiteX41" fmla="*/ 60674 w 163639"/>
                <a:gd name="connsiteY41" fmla="*/ 93821 h 233648"/>
                <a:gd name="connsiteX42" fmla="*/ 56483 w 163639"/>
                <a:gd name="connsiteY42" fmla="*/ 113157 h 233648"/>
                <a:gd name="connsiteX43" fmla="*/ 64199 w 163639"/>
                <a:gd name="connsiteY43" fmla="*/ 121253 h 233648"/>
                <a:gd name="connsiteX44" fmla="*/ 73057 w 163639"/>
                <a:gd name="connsiteY44" fmla="*/ 118015 h 233648"/>
                <a:gd name="connsiteX45" fmla="*/ 64579 w 163639"/>
                <a:gd name="connsiteY45" fmla="*/ 139922 h 233648"/>
                <a:gd name="connsiteX46" fmla="*/ 71819 w 163639"/>
                <a:gd name="connsiteY46" fmla="*/ 145923 h 233648"/>
                <a:gd name="connsiteX47" fmla="*/ 49435 w 163639"/>
                <a:gd name="connsiteY47" fmla="*/ 145923 h 233648"/>
                <a:gd name="connsiteX48" fmla="*/ 39433 w 163639"/>
                <a:gd name="connsiteY48" fmla="*/ 140589 h 233648"/>
                <a:gd name="connsiteX49" fmla="*/ 35528 w 163639"/>
                <a:gd name="connsiteY49" fmla="*/ 144494 h 233648"/>
                <a:gd name="connsiteX50" fmla="*/ 42672 w 163639"/>
                <a:gd name="connsiteY50" fmla="*/ 151162 h 233648"/>
                <a:gd name="connsiteX51" fmla="*/ 32576 w 163639"/>
                <a:gd name="connsiteY51" fmla="*/ 159163 h 233648"/>
                <a:gd name="connsiteX52" fmla="*/ 44863 w 163639"/>
                <a:gd name="connsiteY52" fmla="*/ 158877 h 233648"/>
                <a:gd name="connsiteX53" fmla="*/ 46768 w 163639"/>
                <a:gd name="connsiteY53" fmla="*/ 171259 h 233648"/>
                <a:gd name="connsiteX54" fmla="*/ 27051 w 163639"/>
                <a:gd name="connsiteY54" fmla="*/ 183642 h 233648"/>
                <a:gd name="connsiteX55" fmla="*/ 61246 w 163639"/>
                <a:gd name="connsiteY55" fmla="*/ 199644 h 233648"/>
                <a:gd name="connsiteX56" fmla="*/ 78772 w 163639"/>
                <a:gd name="connsiteY56" fmla="*/ 189547 h 233648"/>
                <a:gd name="connsiteX57" fmla="*/ 66580 w 163639"/>
                <a:gd name="connsiteY57" fmla="*/ 204216 h 233648"/>
                <a:gd name="connsiteX58" fmla="*/ 42767 w 163639"/>
                <a:gd name="connsiteY58" fmla="*/ 205168 h 233648"/>
                <a:gd name="connsiteX59" fmla="*/ 16574 w 163639"/>
                <a:gd name="connsiteY59" fmla="*/ 233648 h 233648"/>
                <a:gd name="connsiteX60" fmla="*/ 40196 w 163639"/>
                <a:gd name="connsiteY60" fmla="*/ 221837 h 233648"/>
                <a:gd name="connsiteX61" fmla="*/ 54483 w 163639"/>
                <a:gd name="connsiteY61" fmla="*/ 227171 h 233648"/>
                <a:gd name="connsiteX62" fmla="*/ 57341 w 163639"/>
                <a:gd name="connsiteY62" fmla="*/ 219361 h 233648"/>
                <a:gd name="connsiteX63" fmla="*/ 77438 w 163639"/>
                <a:gd name="connsiteY63" fmla="*/ 223933 h 233648"/>
                <a:gd name="connsiteX64" fmla="*/ 96965 w 163639"/>
                <a:gd name="connsiteY64" fmla="*/ 212503 h 233648"/>
                <a:gd name="connsiteX65" fmla="*/ 130397 w 163639"/>
                <a:gd name="connsiteY65" fmla="*/ 221266 h 233648"/>
                <a:gd name="connsiteX66" fmla="*/ 154591 w 163639"/>
                <a:gd name="connsiteY66" fmla="*/ 201168 h 233648"/>
                <a:gd name="connsiteX67" fmla="*/ 133541 w 163639"/>
                <a:gd name="connsiteY67" fmla="*/ 197739 h 233648"/>
                <a:gd name="connsiteX68" fmla="*/ 151448 w 163639"/>
                <a:gd name="connsiteY68" fmla="*/ 186785 h 23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63639" h="233648">
                  <a:moveTo>
                    <a:pt x="151448" y="186785"/>
                  </a:moveTo>
                  <a:lnTo>
                    <a:pt x="163640" y="163735"/>
                  </a:lnTo>
                  <a:lnTo>
                    <a:pt x="152019" y="155162"/>
                  </a:lnTo>
                  <a:lnTo>
                    <a:pt x="136874" y="156019"/>
                  </a:lnTo>
                  <a:lnTo>
                    <a:pt x="126016" y="158305"/>
                  </a:lnTo>
                  <a:lnTo>
                    <a:pt x="135350" y="146494"/>
                  </a:lnTo>
                  <a:lnTo>
                    <a:pt x="126016" y="140398"/>
                  </a:lnTo>
                  <a:lnTo>
                    <a:pt x="128397" y="135731"/>
                  </a:lnTo>
                  <a:lnTo>
                    <a:pt x="116396" y="113157"/>
                  </a:lnTo>
                  <a:lnTo>
                    <a:pt x="102584" y="111061"/>
                  </a:lnTo>
                  <a:lnTo>
                    <a:pt x="93631" y="83915"/>
                  </a:lnTo>
                  <a:lnTo>
                    <a:pt x="78486" y="71723"/>
                  </a:lnTo>
                  <a:lnTo>
                    <a:pt x="53054" y="72009"/>
                  </a:lnTo>
                  <a:lnTo>
                    <a:pt x="75819" y="56864"/>
                  </a:lnTo>
                  <a:lnTo>
                    <a:pt x="90011" y="28384"/>
                  </a:lnTo>
                  <a:lnTo>
                    <a:pt x="61436" y="25527"/>
                  </a:lnTo>
                  <a:lnTo>
                    <a:pt x="43339" y="32004"/>
                  </a:lnTo>
                  <a:lnTo>
                    <a:pt x="66199" y="0"/>
                  </a:lnTo>
                  <a:lnTo>
                    <a:pt x="37148" y="4953"/>
                  </a:lnTo>
                  <a:lnTo>
                    <a:pt x="34862" y="1333"/>
                  </a:lnTo>
                  <a:lnTo>
                    <a:pt x="31528" y="4953"/>
                  </a:lnTo>
                  <a:lnTo>
                    <a:pt x="26956" y="0"/>
                  </a:lnTo>
                  <a:lnTo>
                    <a:pt x="13526" y="30861"/>
                  </a:lnTo>
                  <a:lnTo>
                    <a:pt x="18383" y="42196"/>
                  </a:lnTo>
                  <a:lnTo>
                    <a:pt x="2477" y="52768"/>
                  </a:lnTo>
                  <a:lnTo>
                    <a:pt x="8858" y="59912"/>
                  </a:lnTo>
                  <a:lnTo>
                    <a:pt x="25622" y="53150"/>
                  </a:lnTo>
                  <a:lnTo>
                    <a:pt x="0" y="75819"/>
                  </a:lnTo>
                  <a:lnTo>
                    <a:pt x="6763" y="80867"/>
                  </a:lnTo>
                  <a:lnTo>
                    <a:pt x="17812" y="66675"/>
                  </a:lnTo>
                  <a:lnTo>
                    <a:pt x="12764" y="87058"/>
                  </a:lnTo>
                  <a:lnTo>
                    <a:pt x="19907" y="87916"/>
                  </a:lnTo>
                  <a:lnTo>
                    <a:pt x="20669" y="70675"/>
                  </a:lnTo>
                  <a:lnTo>
                    <a:pt x="27432" y="77152"/>
                  </a:lnTo>
                  <a:lnTo>
                    <a:pt x="29908" y="69913"/>
                  </a:lnTo>
                  <a:lnTo>
                    <a:pt x="35528" y="83629"/>
                  </a:lnTo>
                  <a:lnTo>
                    <a:pt x="24289" y="104108"/>
                  </a:lnTo>
                  <a:lnTo>
                    <a:pt x="32099" y="98965"/>
                  </a:lnTo>
                  <a:lnTo>
                    <a:pt x="38672" y="106204"/>
                  </a:lnTo>
                  <a:lnTo>
                    <a:pt x="40386" y="99441"/>
                  </a:lnTo>
                  <a:lnTo>
                    <a:pt x="51245" y="102394"/>
                  </a:lnTo>
                  <a:lnTo>
                    <a:pt x="60674" y="93821"/>
                  </a:lnTo>
                  <a:lnTo>
                    <a:pt x="56483" y="113157"/>
                  </a:lnTo>
                  <a:lnTo>
                    <a:pt x="64199" y="121253"/>
                  </a:lnTo>
                  <a:lnTo>
                    <a:pt x="73057" y="118015"/>
                  </a:lnTo>
                  <a:lnTo>
                    <a:pt x="64579" y="139922"/>
                  </a:lnTo>
                  <a:lnTo>
                    <a:pt x="71819" y="145923"/>
                  </a:lnTo>
                  <a:lnTo>
                    <a:pt x="49435" y="145923"/>
                  </a:lnTo>
                  <a:lnTo>
                    <a:pt x="39433" y="140589"/>
                  </a:lnTo>
                  <a:lnTo>
                    <a:pt x="35528" y="144494"/>
                  </a:lnTo>
                  <a:lnTo>
                    <a:pt x="42672" y="151162"/>
                  </a:lnTo>
                  <a:lnTo>
                    <a:pt x="32576" y="159163"/>
                  </a:lnTo>
                  <a:lnTo>
                    <a:pt x="44863" y="158877"/>
                  </a:lnTo>
                  <a:lnTo>
                    <a:pt x="46768" y="171259"/>
                  </a:lnTo>
                  <a:lnTo>
                    <a:pt x="27051" y="183642"/>
                  </a:lnTo>
                  <a:lnTo>
                    <a:pt x="61246" y="199644"/>
                  </a:lnTo>
                  <a:lnTo>
                    <a:pt x="78772" y="189547"/>
                  </a:lnTo>
                  <a:lnTo>
                    <a:pt x="66580" y="204216"/>
                  </a:lnTo>
                  <a:lnTo>
                    <a:pt x="42767" y="205168"/>
                  </a:lnTo>
                  <a:lnTo>
                    <a:pt x="16574" y="233648"/>
                  </a:lnTo>
                  <a:lnTo>
                    <a:pt x="40196" y="221837"/>
                  </a:lnTo>
                  <a:lnTo>
                    <a:pt x="54483" y="227171"/>
                  </a:lnTo>
                  <a:lnTo>
                    <a:pt x="57341" y="219361"/>
                  </a:lnTo>
                  <a:lnTo>
                    <a:pt x="77438" y="223933"/>
                  </a:lnTo>
                  <a:lnTo>
                    <a:pt x="96965" y="212503"/>
                  </a:lnTo>
                  <a:lnTo>
                    <a:pt x="130397" y="221266"/>
                  </a:lnTo>
                  <a:lnTo>
                    <a:pt x="154591" y="201168"/>
                  </a:lnTo>
                  <a:lnTo>
                    <a:pt x="133541" y="197739"/>
                  </a:lnTo>
                  <a:lnTo>
                    <a:pt x="151448" y="18678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0" name="Freeform: Shape 2800">
              <a:extLst>
                <a:ext uri="{FF2B5EF4-FFF2-40B4-BE49-F238E27FC236}">
                  <a16:creationId xmlns:a16="http://schemas.microsoft.com/office/drawing/2014/main" id="{FCC68A01-EB76-BBAD-A449-A3F9452BF93B}"/>
                </a:ext>
              </a:extLst>
            </p:cNvPr>
            <p:cNvSpPr/>
            <p:nvPr/>
          </p:nvSpPr>
          <p:spPr>
            <a:xfrm>
              <a:off x="1605153" y="3294634"/>
              <a:ext cx="17811" cy="19907"/>
            </a:xfrm>
            <a:custGeom>
              <a:avLst/>
              <a:gdLst>
                <a:gd name="connsiteX0" fmla="*/ 0 w 17811"/>
                <a:gd name="connsiteY0" fmla="*/ 7810 h 19907"/>
                <a:gd name="connsiteX1" fmla="*/ 2572 w 17811"/>
                <a:gd name="connsiteY1" fmla="*/ 19907 h 19907"/>
                <a:gd name="connsiteX2" fmla="*/ 17812 w 17811"/>
                <a:gd name="connsiteY2" fmla="*/ 4572 h 19907"/>
                <a:gd name="connsiteX3" fmla="*/ 15145 w 17811"/>
                <a:gd name="connsiteY3" fmla="*/ 0 h 19907"/>
                <a:gd name="connsiteX4" fmla="*/ 0 w 17811"/>
                <a:gd name="connsiteY4" fmla="*/ 7810 h 19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1" h="19907">
                  <a:moveTo>
                    <a:pt x="0" y="7810"/>
                  </a:moveTo>
                  <a:lnTo>
                    <a:pt x="2572" y="19907"/>
                  </a:lnTo>
                  <a:lnTo>
                    <a:pt x="17812" y="4572"/>
                  </a:lnTo>
                  <a:lnTo>
                    <a:pt x="15145" y="0"/>
                  </a:lnTo>
                  <a:lnTo>
                    <a:pt x="0" y="781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1" name="Freeform: Shape 2801">
              <a:extLst>
                <a:ext uri="{FF2B5EF4-FFF2-40B4-BE49-F238E27FC236}">
                  <a16:creationId xmlns:a16="http://schemas.microsoft.com/office/drawing/2014/main" id="{024E5C6D-9E4A-9B81-B943-69C8009EC5F5}"/>
                </a:ext>
              </a:extLst>
            </p:cNvPr>
            <p:cNvSpPr/>
            <p:nvPr/>
          </p:nvSpPr>
          <p:spPr>
            <a:xfrm>
              <a:off x="1612772" y="3315112"/>
              <a:ext cx="16859" cy="18287"/>
            </a:xfrm>
            <a:custGeom>
              <a:avLst/>
              <a:gdLst>
                <a:gd name="connsiteX0" fmla="*/ 7525 w 16859"/>
                <a:gd name="connsiteY0" fmla="*/ 0 h 18287"/>
                <a:gd name="connsiteX1" fmla="*/ 0 w 16859"/>
                <a:gd name="connsiteY1" fmla="*/ 8287 h 18287"/>
                <a:gd name="connsiteX2" fmla="*/ 5810 w 16859"/>
                <a:gd name="connsiteY2" fmla="*/ 9620 h 18287"/>
                <a:gd name="connsiteX3" fmla="*/ 15240 w 16859"/>
                <a:gd name="connsiteY3" fmla="*/ 18288 h 18287"/>
                <a:gd name="connsiteX4" fmla="*/ 16859 w 16859"/>
                <a:gd name="connsiteY4" fmla="*/ 16097 h 18287"/>
                <a:gd name="connsiteX5" fmla="*/ 11144 w 16859"/>
                <a:gd name="connsiteY5" fmla="*/ 1333 h 18287"/>
                <a:gd name="connsiteX6" fmla="*/ 7525 w 16859"/>
                <a:gd name="connsiteY6" fmla="*/ 0 h 1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9" h="18287">
                  <a:moveTo>
                    <a:pt x="7525" y="0"/>
                  </a:moveTo>
                  <a:lnTo>
                    <a:pt x="0" y="8287"/>
                  </a:lnTo>
                  <a:lnTo>
                    <a:pt x="5810" y="9620"/>
                  </a:lnTo>
                  <a:lnTo>
                    <a:pt x="15240" y="18288"/>
                  </a:lnTo>
                  <a:lnTo>
                    <a:pt x="16859" y="16097"/>
                  </a:lnTo>
                  <a:lnTo>
                    <a:pt x="11144" y="1333"/>
                  </a:lnTo>
                  <a:lnTo>
                    <a:pt x="752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2" name="Freeform: Shape 2802">
              <a:extLst>
                <a:ext uri="{FF2B5EF4-FFF2-40B4-BE49-F238E27FC236}">
                  <a16:creationId xmlns:a16="http://schemas.microsoft.com/office/drawing/2014/main" id="{ADD60C0E-521A-5009-7C69-E7F8648DE7F2}"/>
                </a:ext>
              </a:extLst>
            </p:cNvPr>
            <p:cNvSpPr/>
            <p:nvPr/>
          </p:nvSpPr>
          <p:spPr>
            <a:xfrm>
              <a:off x="1586007" y="3382835"/>
              <a:ext cx="51911" cy="36099"/>
            </a:xfrm>
            <a:custGeom>
              <a:avLst/>
              <a:gdLst>
                <a:gd name="connsiteX0" fmla="*/ 9811 w 51911"/>
                <a:gd name="connsiteY0" fmla="*/ 16478 h 36099"/>
                <a:gd name="connsiteX1" fmla="*/ 2572 w 51911"/>
                <a:gd name="connsiteY1" fmla="*/ 17431 h 36099"/>
                <a:gd name="connsiteX2" fmla="*/ 6382 w 51911"/>
                <a:gd name="connsiteY2" fmla="*/ 22384 h 36099"/>
                <a:gd name="connsiteX3" fmla="*/ 0 w 51911"/>
                <a:gd name="connsiteY3" fmla="*/ 27242 h 36099"/>
                <a:gd name="connsiteX4" fmla="*/ 11621 w 51911"/>
                <a:gd name="connsiteY4" fmla="*/ 33814 h 36099"/>
                <a:gd name="connsiteX5" fmla="*/ 16193 w 51911"/>
                <a:gd name="connsiteY5" fmla="*/ 31528 h 36099"/>
                <a:gd name="connsiteX6" fmla="*/ 15621 w 51911"/>
                <a:gd name="connsiteY6" fmla="*/ 25622 h 36099"/>
                <a:gd name="connsiteX7" fmla="*/ 21336 w 51911"/>
                <a:gd name="connsiteY7" fmla="*/ 25622 h 36099"/>
                <a:gd name="connsiteX8" fmla="*/ 24098 w 51911"/>
                <a:gd name="connsiteY8" fmla="*/ 31051 h 36099"/>
                <a:gd name="connsiteX9" fmla="*/ 27337 w 51911"/>
                <a:gd name="connsiteY9" fmla="*/ 31718 h 36099"/>
                <a:gd name="connsiteX10" fmla="*/ 27718 w 51911"/>
                <a:gd name="connsiteY10" fmla="*/ 36100 h 36099"/>
                <a:gd name="connsiteX11" fmla="*/ 34385 w 51911"/>
                <a:gd name="connsiteY11" fmla="*/ 34671 h 36099"/>
                <a:gd name="connsiteX12" fmla="*/ 51911 w 51911"/>
                <a:gd name="connsiteY12" fmla="*/ 21526 h 36099"/>
                <a:gd name="connsiteX13" fmla="*/ 34481 w 51911"/>
                <a:gd name="connsiteY13" fmla="*/ 0 h 36099"/>
                <a:gd name="connsiteX14" fmla="*/ 20288 w 51911"/>
                <a:gd name="connsiteY14" fmla="*/ 6001 h 36099"/>
                <a:gd name="connsiteX15" fmla="*/ 11144 w 51911"/>
                <a:gd name="connsiteY15" fmla="*/ 11906 h 36099"/>
                <a:gd name="connsiteX16" fmla="*/ 9811 w 51911"/>
                <a:gd name="connsiteY16" fmla="*/ 16478 h 3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911" h="36099">
                  <a:moveTo>
                    <a:pt x="9811" y="16478"/>
                  </a:moveTo>
                  <a:lnTo>
                    <a:pt x="2572" y="17431"/>
                  </a:lnTo>
                  <a:lnTo>
                    <a:pt x="6382" y="22384"/>
                  </a:lnTo>
                  <a:lnTo>
                    <a:pt x="0" y="27242"/>
                  </a:lnTo>
                  <a:lnTo>
                    <a:pt x="11621" y="33814"/>
                  </a:lnTo>
                  <a:lnTo>
                    <a:pt x="16193" y="31528"/>
                  </a:lnTo>
                  <a:lnTo>
                    <a:pt x="15621" y="25622"/>
                  </a:lnTo>
                  <a:lnTo>
                    <a:pt x="21336" y="25622"/>
                  </a:lnTo>
                  <a:lnTo>
                    <a:pt x="24098" y="31051"/>
                  </a:lnTo>
                  <a:lnTo>
                    <a:pt x="27337" y="31718"/>
                  </a:lnTo>
                  <a:lnTo>
                    <a:pt x="27718" y="36100"/>
                  </a:lnTo>
                  <a:lnTo>
                    <a:pt x="34385" y="34671"/>
                  </a:lnTo>
                  <a:lnTo>
                    <a:pt x="51911" y="21526"/>
                  </a:lnTo>
                  <a:lnTo>
                    <a:pt x="34481" y="0"/>
                  </a:lnTo>
                  <a:lnTo>
                    <a:pt x="20288" y="6001"/>
                  </a:lnTo>
                  <a:lnTo>
                    <a:pt x="11144" y="11906"/>
                  </a:lnTo>
                  <a:lnTo>
                    <a:pt x="9811" y="1647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3" name="Freeform: Shape 2803">
              <a:extLst>
                <a:ext uri="{FF2B5EF4-FFF2-40B4-BE49-F238E27FC236}">
                  <a16:creationId xmlns:a16="http://schemas.microsoft.com/office/drawing/2014/main" id="{AF22336B-165D-F7EB-9A30-655A142A936D}"/>
                </a:ext>
              </a:extLst>
            </p:cNvPr>
            <p:cNvSpPr/>
            <p:nvPr/>
          </p:nvSpPr>
          <p:spPr>
            <a:xfrm>
              <a:off x="2182368" y="3463035"/>
              <a:ext cx="357092" cy="203073"/>
            </a:xfrm>
            <a:custGeom>
              <a:avLst/>
              <a:gdLst>
                <a:gd name="connsiteX0" fmla="*/ 357092 w 357092"/>
                <a:gd name="connsiteY0" fmla="*/ 75248 h 203073"/>
                <a:gd name="connsiteX1" fmla="*/ 349948 w 357092"/>
                <a:gd name="connsiteY1" fmla="*/ 77533 h 203073"/>
                <a:gd name="connsiteX2" fmla="*/ 345757 w 357092"/>
                <a:gd name="connsiteY2" fmla="*/ 73724 h 203073"/>
                <a:gd name="connsiteX3" fmla="*/ 340614 w 357092"/>
                <a:gd name="connsiteY3" fmla="*/ 73342 h 203073"/>
                <a:gd name="connsiteX4" fmla="*/ 338042 w 357092"/>
                <a:gd name="connsiteY4" fmla="*/ 69247 h 203073"/>
                <a:gd name="connsiteX5" fmla="*/ 333661 w 357092"/>
                <a:gd name="connsiteY5" fmla="*/ 72390 h 203073"/>
                <a:gd name="connsiteX6" fmla="*/ 328803 w 357092"/>
                <a:gd name="connsiteY6" fmla="*/ 66008 h 203073"/>
                <a:gd name="connsiteX7" fmla="*/ 324136 w 357092"/>
                <a:gd name="connsiteY7" fmla="*/ 67913 h 203073"/>
                <a:gd name="connsiteX8" fmla="*/ 318421 w 357092"/>
                <a:gd name="connsiteY8" fmla="*/ 64770 h 203073"/>
                <a:gd name="connsiteX9" fmla="*/ 315087 w 357092"/>
                <a:gd name="connsiteY9" fmla="*/ 69247 h 203073"/>
                <a:gd name="connsiteX10" fmla="*/ 306038 w 357092"/>
                <a:gd name="connsiteY10" fmla="*/ 62865 h 203073"/>
                <a:gd name="connsiteX11" fmla="*/ 307086 w 357092"/>
                <a:gd name="connsiteY11" fmla="*/ 58007 h 203073"/>
                <a:gd name="connsiteX12" fmla="*/ 302419 w 357092"/>
                <a:gd name="connsiteY12" fmla="*/ 54483 h 203073"/>
                <a:gd name="connsiteX13" fmla="*/ 288798 w 357092"/>
                <a:gd name="connsiteY13" fmla="*/ 60960 h 203073"/>
                <a:gd name="connsiteX14" fmla="*/ 283845 w 357092"/>
                <a:gd name="connsiteY14" fmla="*/ 57341 h 203073"/>
                <a:gd name="connsiteX15" fmla="*/ 280035 w 357092"/>
                <a:gd name="connsiteY15" fmla="*/ 59150 h 203073"/>
                <a:gd name="connsiteX16" fmla="*/ 273844 w 357092"/>
                <a:gd name="connsiteY16" fmla="*/ 54769 h 203073"/>
                <a:gd name="connsiteX17" fmla="*/ 267843 w 357092"/>
                <a:gd name="connsiteY17" fmla="*/ 57721 h 203073"/>
                <a:gd name="connsiteX18" fmla="*/ 263271 w 357092"/>
                <a:gd name="connsiteY18" fmla="*/ 51245 h 203073"/>
                <a:gd name="connsiteX19" fmla="*/ 265843 w 357092"/>
                <a:gd name="connsiteY19" fmla="*/ 47339 h 203073"/>
                <a:gd name="connsiteX20" fmla="*/ 262985 w 357092"/>
                <a:gd name="connsiteY20" fmla="*/ 38291 h 203073"/>
                <a:gd name="connsiteX21" fmla="*/ 259080 w 357092"/>
                <a:gd name="connsiteY21" fmla="*/ 37624 h 203073"/>
                <a:gd name="connsiteX22" fmla="*/ 256508 w 357092"/>
                <a:gd name="connsiteY22" fmla="*/ 32957 h 203073"/>
                <a:gd name="connsiteX23" fmla="*/ 248793 w 357092"/>
                <a:gd name="connsiteY23" fmla="*/ 34004 h 203073"/>
                <a:gd name="connsiteX24" fmla="*/ 243649 w 357092"/>
                <a:gd name="connsiteY24" fmla="*/ 30766 h 203073"/>
                <a:gd name="connsiteX25" fmla="*/ 240506 w 357092"/>
                <a:gd name="connsiteY25" fmla="*/ 32195 h 203073"/>
                <a:gd name="connsiteX26" fmla="*/ 237649 w 357092"/>
                <a:gd name="connsiteY26" fmla="*/ 21431 h 203073"/>
                <a:gd name="connsiteX27" fmla="*/ 244411 w 357092"/>
                <a:gd name="connsiteY27" fmla="*/ 18193 h 203073"/>
                <a:gd name="connsiteX28" fmla="*/ 236411 w 357092"/>
                <a:gd name="connsiteY28" fmla="*/ 12478 h 203073"/>
                <a:gd name="connsiteX29" fmla="*/ 237649 w 357092"/>
                <a:gd name="connsiteY29" fmla="*/ 7811 h 203073"/>
                <a:gd name="connsiteX30" fmla="*/ 232505 w 357092"/>
                <a:gd name="connsiteY30" fmla="*/ 0 h 203073"/>
                <a:gd name="connsiteX31" fmla="*/ 226314 w 357092"/>
                <a:gd name="connsiteY31" fmla="*/ 3905 h 203073"/>
                <a:gd name="connsiteX32" fmla="*/ 220123 w 357092"/>
                <a:gd name="connsiteY32" fmla="*/ 667 h 203073"/>
                <a:gd name="connsiteX33" fmla="*/ 213741 w 357092"/>
                <a:gd name="connsiteY33" fmla="*/ 4572 h 203073"/>
                <a:gd name="connsiteX34" fmla="*/ 202597 w 357092"/>
                <a:gd name="connsiteY34" fmla="*/ 2858 h 203073"/>
                <a:gd name="connsiteX35" fmla="*/ 200787 w 357092"/>
                <a:gd name="connsiteY35" fmla="*/ 9620 h 203073"/>
                <a:gd name="connsiteX36" fmla="*/ 193548 w 357092"/>
                <a:gd name="connsiteY36" fmla="*/ 10668 h 203073"/>
                <a:gd name="connsiteX37" fmla="*/ 184785 w 357092"/>
                <a:gd name="connsiteY37" fmla="*/ 7811 h 203073"/>
                <a:gd name="connsiteX38" fmla="*/ 181165 w 357092"/>
                <a:gd name="connsiteY38" fmla="*/ 11430 h 203073"/>
                <a:gd name="connsiteX39" fmla="*/ 175546 w 357092"/>
                <a:gd name="connsiteY39" fmla="*/ 9239 h 203073"/>
                <a:gd name="connsiteX40" fmla="*/ 167259 w 357092"/>
                <a:gd name="connsiteY40" fmla="*/ 21812 h 203073"/>
                <a:gd name="connsiteX41" fmla="*/ 169545 w 357092"/>
                <a:gd name="connsiteY41" fmla="*/ 29718 h 203073"/>
                <a:gd name="connsiteX42" fmla="*/ 165449 w 357092"/>
                <a:gd name="connsiteY42" fmla="*/ 33338 h 203073"/>
                <a:gd name="connsiteX43" fmla="*/ 160782 w 357092"/>
                <a:gd name="connsiteY43" fmla="*/ 26099 h 203073"/>
                <a:gd name="connsiteX44" fmla="*/ 150209 w 357092"/>
                <a:gd name="connsiteY44" fmla="*/ 25051 h 203073"/>
                <a:gd name="connsiteX45" fmla="*/ 146113 w 357092"/>
                <a:gd name="connsiteY45" fmla="*/ 28670 h 203073"/>
                <a:gd name="connsiteX46" fmla="*/ 142208 w 357092"/>
                <a:gd name="connsiteY46" fmla="*/ 28956 h 203073"/>
                <a:gd name="connsiteX47" fmla="*/ 140684 w 357092"/>
                <a:gd name="connsiteY47" fmla="*/ 21812 h 203073"/>
                <a:gd name="connsiteX48" fmla="*/ 134493 w 357092"/>
                <a:gd name="connsiteY48" fmla="*/ 22860 h 203073"/>
                <a:gd name="connsiteX49" fmla="*/ 131636 w 357092"/>
                <a:gd name="connsiteY49" fmla="*/ 28956 h 203073"/>
                <a:gd name="connsiteX50" fmla="*/ 128016 w 357092"/>
                <a:gd name="connsiteY50" fmla="*/ 22860 h 203073"/>
                <a:gd name="connsiteX51" fmla="*/ 123444 w 357092"/>
                <a:gd name="connsiteY51" fmla="*/ 24670 h 203073"/>
                <a:gd name="connsiteX52" fmla="*/ 121634 w 357092"/>
                <a:gd name="connsiteY52" fmla="*/ 20383 h 203073"/>
                <a:gd name="connsiteX53" fmla="*/ 115443 w 357092"/>
                <a:gd name="connsiteY53" fmla="*/ 23241 h 203073"/>
                <a:gd name="connsiteX54" fmla="*/ 111538 w 357092"/>
                <a:gd name="connsiteY54" fmla="*/ 27527 h 203073"/>
                <a:gd name="connsiteX55" fmla="*/ 108966 w 357092"/>
                <a:gd name="connsiteY55" fmla="*/ 21812 h 203073"/>
                <a:gd name="connsiteX56" fmla="*/ 102775 w 357092"/>
                <a:gd name="connsiteY56" fmla="*/ 22860 h 203073"/>
                <a:gd name="connsiteX57" fmla="*/ 100203 w 357092"/>
                <a:gd name="connsiteY57" fmla="*/ 18193 h 203073"/>
                <a:gd name="connsiteX58" fmla="*/ 81344 w 357092"/>
                <a:gd name="connsiteY58" fmla="*/ 15716 h 203073"/>
                <a:gd name="connsiteX59" fmla="*/ 78486 w 357092"/>
                <a:gd name="connsiteY59" fmla="*/ 13621 h 203073"/>
                <a:gd name="connsiteX60" fmla="*/ 61246 w 357092"/>
                <a:gd name="connsiteY60" fmla="*/ 12478 h 203073"/>
                <a:gd name="connsiteX61" fmla="*/ 53530 w 357092"/>
                <a:gd name="connsiteY61" fmla="*/ 15335 h 203073"/>
                <a:gd name="connsiteX62" fmla="*/ 43910 w 357092"/>
                <a:gd name="connsiteY62" fmla="*/ 15050 h 203073"/>
                <a:gd name="connsiteX63" fmla="*/ 41910 w 357092"/>
                <a:gd name="connsiteY63" fmla="*/ 19717 h 203073"/>
                <a:gd name="connsiteX64" fmla="*/ 36004 w 357092"/>
                <a:gd name="connsiteY64" fmla="*/ 23241 h 203073"/>
                <a:gd name="connsiteX65" fmla="*/ 27242 w 357092"/>
                <a:gd name="connsiteY65" fmla="*/ 21717 h 203073"/>
                <a:gd name="connsiteX66" fmla="*/ 31147 w 357092"/>
                <a:gd name="connsiteY66" fmla="*/ 26861 h 203073"/>
                <a:gd name="connsiteX67" fmla="*/ 30194 w 357092"/>
                <a:gd name="connsiteY67" fmla="*/ 32004 h 203073"/>
                <a:gd name="connsiteX68" fmla="*/ 40005 w 357092"/>
                <a:gd name="connsiteY68" fmla="*/ 43244 h 203073"/>
                <a:gd name="connsiteX69" fmla="*/ 35147 w 357092"/>
                <a:gd name="connsiteY69" fmla="*/ 44863 h 203073"/>
                <a:gd name="connsiteX70" fmla="*/ 39815 w 357092"/>
                <a:gd name="connsiteY70" fmla="*/ 52102 h 203073"/>
                <a:gd name="connsiteX71" fmla="*/ 37719 w 357092"/>
                <a:gd name="connsiteY71" fmla="*/ 56959 h 203073"/>
                <a:gd name="connsiteX72" fmla="*/ 30766 w 357092"/>
                <a:gd name="connsiteY72" fmla="*/ 56198 h 203073"/>
                <a:gd name="connsiteX73" fmla="*/ 10763 w 357092"/>
                <a:gd name="connsiteY73" fmla="*/ 78391 h 203073"/>
                <a:gd name="connsiteX74" fmla="*/ 14859 w 357092"/>
                <a:gd name="connsiteY74" fmla="*/ 90773 h 203073"/>
                <a:gd name="connsiteX75" fmla="*/ 8192 w 357092"/>
                <a:gd name="connsiteY75" fmla="*/ 89249 h 203073"/>
                <a:gd name="connsiteX76" fmla="*/ 8287 w 357092"/>
                <a:gd name="connsiteY76" fmla="*/ 89345 h 203073"/>
                <a:gd name="connsiteX77" fmla="*/ 4858 w 357092"/>
                <a:gd name="connsiteY77" fmla="*/ 97917 h 203073"/>
                <a:gd name="connsiteX78" fmla="*/ 190 w 357092"/>
                <a:gd name="connsiteY78" fmla="*/ 101060 h 203073"/>
                <a:gd name="connsiteX79" fmla="*/ 0 w 357092"/>
                <a:gd name="connsiteY79" fmla="*/ 106299 h 203073"/>
                <a:gd name="connsiteX80" fmla="*/ 0 w 357092"/>
                <a:gd name="connsiteY80" fmla="*/ 106299 h 203073"/>
                <a:gd name="connsiteX81" fmla="*/ 0 w 357092"/>
                <a:gd name="connsiteY81" fmla="*/ 106299 h 203073"/>
                <a:gd name="connsiteX82" fmla="*/ 2667 w 357092"/>
                <a:gd name="connsiteY82" fmla="*/ 105823 h 203073"/>
                <a:gd name="connsiteX83" fmla="*/ 4858 w 357092"/>
                <a:gd name="connsiteY83" fmla="*/ 109919 h 203073"/>
                <a:gd name="connsiteX84" fmla="*/ 9049 w 357092"/>
                <a:gd name="connsiteY84" fmla="*/ 109919 h 203073"/>
                <a:gd name="connsiteX85" fmla="*/ 10763 w 357092"/>
                <a:gd name="connsiteY85" fmla="*/ 113062 h 203073"/>
                <a:gd name="connsiteX86" fmla="*/ 13906 w 357092"/>
                <a:gd name="connsiteY86" fmla="*/ 113062 h 203073"/>
                <a:gd name="connsiteX87" fmla="*/ 15430 w 357092"/>
                <a:gd name="connsiteY87" fmla="*/ 116586 h 203073"/>
                <a:gd name="connsiteX88" fmla="*/ 15621 w 357092"/>
                <a:gd name="connsiteY88" fmla="*/ 117253 h 203073"/>
                <a:gd name="connsiteX89" fmla="*/ 20098 w 357092"/>
                <a:gd name="connsiteY89" fmla="*/ 112490 h 203073"/>
                <a:gd name="connsiteX90" fmla="*/ 27051 w 357092"/>
                <a:gd name="connsiteY90" fmla="*/ 116777 h 203073"/>
                <a:gd name="connsiteX91" fmla="*/ 37147 w 357092"/>
                <a:gd name="connsiteY91" fmla="*/ 115443 h 203073"/>
                <a:gd name="connsiteX92" fmla="*/ 41719 w 357092"/>
                <a:gd name="connsiteY92" fmla="*/ 118777 h 203073"/>
                <a:gd name="connsiteX93" fmla="*/ 48292 w 357092"/>
                <a:gd name="connsiteY93" fmla="*/ 116396 h 203073"/>
                <a:gd name="connsiteX94" fmla="*/ 56864 w 357092"/>
                <a:gd name="connsiteY94" fmla="*/ 122587 h 203073"/>
                <a:gd name="connsiteX95" fmla="*/ 61913 w 357092"/>
                <a:gd name="connsiteY95" fmla="*/ 117348 h 203073"/>
                <a:gd name="connsiteX96" fmla="*/ 80105 w 357092"/>
                <a:gd name="connsiteY96" fmla="*/ 115824 h 203073"/>
                <a:gd name="connsiteX97" fmla="*/ 83534 w 357092"/>
                <a:gd name="connsiteY97" fmla="*/ 110585 h 203073"/>
                <a:gd name="connsiteX98" fmla="*/ 88201 w 357092"/>
                <a:gd name="connsiteY98" fmla="*/ 110966 h 203073"/>
                <a:gd name="connsiteX99" fmla="*/ 88201 w 357092"/>
                <a:gd name="connsiteY99" fmla="*/ 110585 h 203073"/>
                <a:gd name="connsiteX100" fmla="*/ 92107 w 357092"/>
                <a:gd name="connsiteY100" fmla="*/ 105346 h 203073"/>
                <a:gd name="connsiteX101" fmla="*/ 111061 w 357092"/>
                <a:gd name="connsiteY101" fmla="*/ 103918 h 203073"/>
                <a:gd name="connsiteX102" fmla="*/ 122682 w 357092"/>
                <a:gd name="connsiteY102" fmla="*/ 112490 h 203073"/>
                <a:gd name="connsiteX103" fmla="*/ 130016 w 357092"/>
                <a:gd name="connsiteY103" fmla="*/ 109633 h 203073"/>
                <a:gd name="connsiteX104" fmla="*/ 134588 w 357092"/>
                <a:gd name="connsiteY104" fmla="*/ 116777 h 203073"/>
                <a:gd name="connsiteX105" fmla="*/ 140017 w 357092"/>
                <a:gd name="connsiteY105" fmla="*/ 113062 h 203073"/>
                <a:gd name="connsiteX106" fmla="*/ 142018 w 357092"/>
                <a:gd name="connsiteY106" fmla="*/ 120205 h 203073"/>
                <a:gd name="connsiteX107" fmla="*/ 138874 w 357092"/>
                <a:gd name="connsiteY107" fmla="*/ 128302 h 203073"/>
                <a:gd name="connsiteX108" fmla="*/ 143542 w 357092"/>
                <a:gd name="connsiteY108" fmla="*/ 132112 h 203073"/>
                <a:gd name="connsiteX109" fmla="*/ 148971 w 357092"/>
                <a:gd name="connsiteY109" fmla="*/ 130207 h 203073"/>
                <a:gd name="connsiteX110" fmla="*/ 149352 w 357092"/>
                <a:gd name="connsiteY110" fmla="*/ 140684 h 203073"/>
                <a:gd name="connsiteX111" fmla="*/ 155924 w 357092"/>
                <a:gd name="connsiteY111" fmla="*/ 143542 h 203073"/>
                <a:gd name="connsiteX112" fmla="*/ 155924 w 357092"/>
                <a:gd name="connsiteY112" fmla="*/ 150304 h 203073"/>
                <a:gd name="connsiteX113" fmla="*/ 158972 w 357092"/>
                <a:gd name="connsiteY113" fmla="*/ 154591 h 203073"/>
                <a:gd name="connsiteX114" fmla="*/ 152019 w 357092"/>
                <a:gd name="connsiteY114" fmla="*/ 157448 h 203073"/>
                <a:gd name="connsiteX115" fmla="*/ 147066 w 357092"/>
                <a:gd name="connsiteY115" fmla="*/ 152209 h 203073"/>
                <a:gd name="connsiteX116" fmla="*/ 142018 w 357092"/>
                <a:gd name="connsiteY116" fmla="*/ 156496 h 203073"/>
                <a:gd name="connsiteX117" fmla="*/ 139255 w 357092"/>
                <a:gd name="connsiteY117" fmla="*/ 151257 h 203073"/>
                <a:gd name="connsiteX118" fmla="*/ 133445 w 357092"/>
                <a:gd name="connsiteY118" fmla="*/ 153638 h 203073"/>
                <a:gd name="connsiteX119" fmla="*/ 136207 w 357092"/>
                <a:gd name="connsiteY119" fmla="*/ 161258 h 203073"/>
                <a:gd name="connsiteX120" fmla="*/ 132683 w 357092"/>
                <a:gd name="connsiteY120" fmla="*/ 165068 h 203073"/>
                <a:gd name="connsiteX121" fmla="*/ 131540 w 357092"/>
                <a:gd name="connsiteY121" fmla="*/ 168878 h 203073"/>
                <a:gd name="connsiteX122" fmla="*/ 126492 w 357092"/>
                <a:gd name="connsiteY122" fmla="*/ 172212 h 203073"/>
                <a:gd name="connsiteX123" fmla="*/ 122968 w 357092"/>
                <a:gd name="connsiteY123" fmla="*/ 179451 h 203073"/>
                <a:gd name="connsiteX124" fmla="*/ 131540 w 357092"/>
                <a:gd name="connsiteY124" fmla="*/ 185166 h 203073"/>
                <a:gd name="connsiteX125" fmla="*/ 133445 w 357092"/>
                <a:gd name="connsiteY125" fmla="*/ 178975 h 203073"/>
                <a:gd name="connsiteX126" fmla="*/ 146971 w 357092"/>
                <a:gd name="connsiteY126" fmla="*/ 180975 h 203073"/>
                <a:gd name="connsiteX127" fmla="*/ 171736 w 357092"/>
                <a:gd name="connsiteY127" fmla="*/ 151257 h 203073"/>
                <a:gd name="connsiteX128" fmla="*/ 184880 w 357092"/>
                <a:gd name="connsiteY128" fmla="*/ 145161 h 203073"/>
                <a:gd name="connsiteX129" fmla="*/ 198882 w 357092"/>
                <a:gd name="connsiteY129" fmla="*/ 146971 h 203073"/>
                <a:gd name="connsiteX130" fmla="*/ 191834 w 357092"/>
                <a:gd name="connsiteY130" fmla="*/ 157829 h 203073"/>
                <a:gd name="connsiteX131" fmla="*/ 220218 w 357092"/>
                <a:gd name="connsiteY131" fmla="*/ 159448 h 203073"/>
                <a:gd name="connsiteX132" fmla="*/ 224219 w 357092"/>
                <a:gd name="connsiteY132" fmla="*/ 163544 h 203073"/>
                <a:gd name="connsiteX133" fmla="*/ 227457 w 357092"/>
                <a:gd name="connsiteY133" fmla="*/ 161068 h 203073"/>
                <a:gd name="connsiteX134" fmla="*/ 230791 w 357092"/>
                <a:gd name="connsiteY134" fmla="*/ 166402 h 203073"/>
                <a:gd name="connsiteX135" fmla="*/ 205359 w 357092"/>
                <a:gd name="connsiteY135" fmla="*/ 179451 h 203073"/>
                <a:gd name="connsiteX136" fmla="*/ 228124 w 357092"/>
                <a:gd name="connsiteY136" fmla="*/ 203073 h 203073"/>
                <a:gd name="connsiteX137" fmla="*/ 256889 w 357092"/>
                <a:gd name="connsiteY137" fmla="*/ 195167 h 203073"/>
                <a:gd name="connsiteX138" fmla="*/ 265462 w 357092"/>
                <a:gd name="connsiteY138" fmla="*/ 186976 h 203073"/>
                <a:gd name="connsiteX139" fmla="*/ 279749 w 357092"/>
                <a:gd name="connsiteY139" fmla="*/ 185833 h 203073"/>
                <a:gd name="connsiteX140" fmla="*/ 258318 w 357092"/>
                <a:gd name="connsiteY140" fmla="*/ 175927 h 203073"/>
                <a:gd name="connsiteX141" fmla="*/ 251555 w 357092"/>
                <a:gd name="connsiteY141" fmla="*/ 160306 h 203073"/>
                <a:gd name="connsiteX142" fmla="*/ 271462 w 357092"/>
                <a:gd name="connsiteY142" fmla="*/ 149638 h 203073"/>
                <a:gd name="connsiteX143" fmla="*/ 290227 w 357092"/>
                <a:gd name="connsiteY143" fmla="*/ 149257 h 203073"/>
                <a:gd name="connsiteX144" fmla="*/ 295561 w 357092"/>
                <a:gd name="connsiteY144" fmla="*/ 143542 h 203073"/>
                <a:gd name="connsiteX145" fmla="*/ 319564 w 357092"/>
                <a:gd name="connsiteY145" fmla="*/ 137446 h 203073"/>
                <a:gd name="connsiteX146" fmla="*/ 320707 w 357092"/>
                <a:gd name="connsiteY146" fmla="*/ 132874 h 203073"/>
                <a:gd name="connsiteX147" fmla="*/ 319945 w 357092"/>
                <a:gd name="connsiteY147" fmla="*/ 127159 h 203073"/>
                <a:gd name="connsiteX148" fmla="*/ 329279 w 357092"/>
                <a:gd name="connsiteY148" fmla="*/ 124968 h 203073"/>
                <a:gd name="connsiteX149" fmla="*/ 331375 w 357092"/>
                <a:gd name="connsiteY149" fmla="*/ 119825 h 203073"/>
                <a:gd name="connsiteX150" fmla="*/ 350425 w 357092"/>
                <a:gd name="connsiteY150" fmla="*/ 119825 h 203073"/>
                <a:gd name="connsiteX151" fmla="*/ 354520 w 357092"/>
                <a:gd name="connsiteY151" fmla="*/ 109347 h 203073"/>
                <a:gd name="connsiteX152" fmla="*/ 351949 w 357092"/>
                <a:gd name="connsiteY152" fmla="*/ 103251 h 203073"/>
                <a:gd name="connsiteX153" fmla="*/ 347091 w 357092"/>
                <a:gd name="connsiteY153" fmla="*/ 101060 h 203073"/>
                <a:gd name="connsiteX154" fmla="*/ 348901 w 357092"/>
                <a:gd name="connsiteY154" fmla="*/ 96965 h 203073"/>
                <a:gd name="connsiteX155" fmla="*/ 354330 w 357092"/>
                <a:gd name="connsiteY155" fmla="*/ 97250 h 203073"/>
                <a:gd name="connsiteX156" fmla="*/ 356330 w 357092"/>
                <a:gd name="connsiteY156" fmla="*/ 93440 h 203073"/>
                <a:gd name="connsiteX157" fmla="*/ 348615 w 357092"/>
                <a:gd name="connsiteY157" fmla="*/ 88963 h 203073"/>
                <a:gd name="connsiteX158" fmla="*/ 357092 w 357092"/>
                <a:gd name="connsiteY158" fmla="*/ 84868 h 203073"/>
                <a:gd name="connsiteX159" fmla="*/ 357092 w 357092"/>
                <a:gd name="connsiteY159" fmla="*/ 75248 h 20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357092" h="203073">
                  <a:moveTo>
                    <a:pt x="357092" y="75248"/>
                  </a:moveTo>
                  <a:lnTo>
                    <a:pt x="349948" y="77533"/>
                  </a:lnTo>
                  <a:lnTo>
                    <a:pt x="345757" y="73724"/>
                  </a:lnTo>
                  <a:lnTo>
                    <a:pt x="340614" y="73342"/>
                  </a:lnTo>
                  <a:lnTo>
                    <a:pt x="338042" y="69247"/>
                  </a:lnTo>
                  <a:lnTo>
                    <a:pt x="333661" y="72390"/>
                  </a:lnTo>
                  <a:lnTo>
                    <a:pt x="328803" y="66008"/>
                  </a:lnTo>
                  <a:lnTo>
                    <a:pt x="324136" y="67913"/>
                  </a:lnTo>
                  <a:lnTo>
                    <a:pt x="318421" y="64770"/>
                  </a:lnTo>
                  <a:lnTo>
                    <a:pt x="315087" y="69247"/>
                  </a:lnTo>
                  <a:lnTo>
                    <a:pt x="306038" y="62865"/>
                  </a:lnTo>
                  <a:lnTo>
                    <a:pt x="307086" y="58007"/>
                  </a:lnTo>
                  <a:lnTo>
                    <a:pt x="302419" y="54483"/>
                  </a:lnTo>
                  <a:lnTo>
                    <a:pt x="288798" y="60960"/>
                  </a:lnTo>
                  <a:lnTo>
                    <a:pt x="283845" y="57341"/>
                  </a:lnTo>
                  <a:lnTo>
                    <a:pt x="280035" y="59150"/>
                  </a:lnTo>
                  <a:lnTo>
                    <a:pt x="273844" y="54769"/>
                  </a:lnTo>
                  <a:lnTo>
                    <a:pt x="267843" y="57721"/>
                  </a:lnTo>
                  <a:lnTo>
                    <a:pt x="263271" y="51245"/>
                  </a:lnTo>
                  <a:lnTo>
                    <a:pt x="265843" y="47339"/>
                  </a:lnTo>
                  <a:lnTo>
                    <a:pt x="262985" y="38291"/>
                  </a:lnTo>
                  <a:lnTo>
                    <a:pt x="259080" y="37624"/>
                  </a:lnTo>
                  <a:lnTo>
                    <a:pt x="256508" y="32957"/>
                  </a:lnTo>
                  <a:lnTo>
                    <a:pt x="248793" y="34004"/>
                  </a:lnTo>
                  <a:lnTo>
                    <a:pt x="243649" y="30766"/>
                  </a:lnTo>
                  <a:lnTo>
                    <a:pt x="240506" y="32195"/>
                  </a:lnTo>
                  <a:lnTo>
                    <a:pt x="237649" y="21431"/>
                  </a:lnTo>
                  <a:lnTo>
                    <a:pt x="244411" y="18193"/>
                  </a:lnTo>
                  <a:lnTo>
                    <a:pt x="236411" y="12478"/>
                  </a:lnTo>
                  <a:lnTo>
                    <a:pt x="237649" y="7811"/>
                  </a:lnTo>
                  <a:lnTo>
                    <a:pt x="232505" y="0"/>
                  </a:lnTo>
                  <a:lnTo>
                    <a:pt x="226314" y="3905"/>
                  </a:lnTo>
                  <a:lnTo>
                    <a:pt x="220123" y="667"/>
                  </a:lnTo>
                  <a:lnTo>
                    <a:pt x="213741" y="4572"/>
                  </a:lnTo>
                  <a:lnTo>
                    <a:pt x="202597" y="2858"/>
                  </a:lnTo>
                  <a:lnTo>
                    <a:pt x="200787" y="9620"/>
                  </a:lnTo>
                  <a:lnTo>
                    <a:pt x="193548" y="10668"/>
                  </a:lnTo>
                  <a:lnTo>
                    <a:pt x="184785" y="7811"/>
                  </a:lnTo>
                  <a:lnTo>
                    <a:pt x="181165" y="11430"/>
                  </a:lnTo>
                  <a:lnTo>
                    <a:pt x="175546" y="9239"/>
                  </a:lnTo>
                  <a:lnTo>
                    <a:pt x="167259" y="21812"/>
                  </a:lnTo>
                  <a:lnTo>
                    <a:pt x="169545" y="29718"/>
                  </a:lnTo>
                  <a:lnTo>
                    <a:pt x="165449" y="33338"/>
                  </a:lnTo>
                  <a:lnTo>
                    <a:pt x="160782" y="26099"/>
                  </a:lnTo>
                  <a:lnTo>
                    <a:pt x="150209" y="25051"/>
                  </a:lnTo>
                  <a:lnTo>
                    <a:pt x="146113" y="28670"/>
                  </a:lnTo>
                  <a:lnTo>
                    <a:pt x="142208" y="28956"/>
                  </a:lnTo>
                  <a:lnTo>
                    <a:pt x="140684" y="21812"/>
                  </a:lnTo>
                  <a:lnTo>
                    <a:pt x="134493" y="22860"/>
                  </a:lnTo>
                  <a:lnTo>
                    <a:pt x="131636" y="28956"/>
                  </a:lnTo>
                  <a:lnTo>
                    <a:pt x="128016" y="22860"/>
                  </a:lnTo>
                  <a:lnTo>
                    <a:pt x="123444" y="24670"/>
                  </a:lnTo>
                  <a:lnTo>
                    <a:pt x="121634" y="20383"/>
                  </a:lnTo>
                  <a:lnTo>
                    <a:pt x="115443" y="23241"/>
                  </a:lnTo>
                  <a:lnTo>
                    <a:pt x="111538" y="27527"/>
                  </a:lnTo>
                  <a:lnTo>
                    <a:pt x="108966" y="21812"/>
                  </a:lnTo>
                  <a:lnTo>
                    <a:pt x="102775" y="22860"/>
                  </a:lnTo>
                  <a:lnTo>
                    <a:pt x="100203" y="18193"/>
                  </a:lnTo>
                  <a:lnTo>
                    <a:pt x="81344" y="15716"/>
                  </a:lnTo>
                  <a:lnTo>
                    <a:pt x="78486" y="13621"/>
                  </a:lnTo>
                  <a:lnTo>
                    <a:pt x="61246" y="12478"/>
                  </a:lnTo>
                  <a:lnTo>
                    <a:pt x="53530" y="15335"/>
                  </a:lnTo>
                  <a:lnTo>
                    <a:pt x="43910" y="15050"/>
                  </a:lnTo>
                  <a:lnTo>
                    <a:pt x="41910" y="19717"/>
                  </a:lnTo>
                  <a:lnTo>
                    <a:pt x="36004" y="23241"/>
                  </a:lnTo>
                  <a:lnTo>
                    <a:pt x="27242" y="21717"/>
                  </a:lnTo>
                  <a:lnTo>
                    <a:pt x="31147" y="26861"/>
                  </a:lnTo>
                  <a:lnTo>
                    <a:pt x="30194" y="32004"/>
                  </a:lnTo>
                  <a:lnTo>
                    <a:pt x="40005" y="43244"/>
                  </a:lnTo>
                  <a:lnTo>
                    <a:pt x="35147" y="44863"/>
                  </a:lnTo>
                  <a:lnTo>
                    <a:pt x="39815" y="52102"/>
                  </a:lnTo>
                  <a:lnTo>
                    <a:pt x="37719" y="56959"/>
                  </a:lnTo>
                  <a:lnTo>
                    <a:pt x="30766" y="56198"/>
                  </a:lnTo>
                  <a:lnTo>
                    <a:pt x="10763" y="78391"/>
                  </a:lnTo>
                  <a:lnTo>
                    <a:pt x="14859" y="90773"/>
                  </a:lnTo>
                  <a:lnTo>
                    <a:pt x="8192" y="89249"/>
                  </a:lnTo>
                  <a:lnTo>
                    <a:pt x="8287" y="89345"/>
                  </a:lnTo>
                  <a:lnTo>
                    <a:pt x="4858" y="97917"/>
                  </a:lnTo>
                  <a:lnTo>
                    <a:pt x="190" y="101060"/>
                  </a:lnTo>
                  <a:lnTo>
                    <a:pt x="0" y="106299"/>
                  </a:lnTo>
                  <a:lnTo>
                    <a:pt x="0" y="106299"/>
                  </a:lnTo>
                  <a:lnTo>
                    <a:pt x="0" y="106299"/>
                  </a:lnTo>
                  <a:lnTo>
                    <a:pt x="2667" y="105823"/>
                  </a:lnTo>
                  <a:lnTo>
                    <a:pt x="4858" y="109919"/>
                  </a:lnTo>
                  <a:lnTo>
                    <a:pt x="9049" y="109919"/>
                  </a:lnTo>
                  <a:lnTo>
                    <a:pt x="10763" y="113062"/>
                  </a:lnTo>
                  <a:lnTo>
                    <a:pt x="13906" y="113062"/>
                  </a:lnTo>
                  <a:lnTo>
                    <a:pt x="15430" y="116586"/>
                  </a:lnTo>
                  <a:lnTo>
                    <a:pt x="15621" y="117253"/>
                  </a:lnTo>
                  <a:lnTo>
                    <a:pt x="20098" y="112490"/>
                  </a:lnTo>
                  <a:lnTo>
                    <a:pt x="27051" y="116777"/>
                  </a:lnTo>
                  <a:lnTo>
                    <a:pt x="37147" y="115443"/>
                  </a:lnTo>
                  <a:lnTo>
                    <a:pt x="41719" y="118777"/>
                  </a:lnTo>
                  <a:lnTo>
                    <a:pt x="48292" y="116396"/>
                  </a:lnTo>
                  <a:lnTo>
                    <a:pt x="56864" y="122587"/>
                  </a:lnTo>
                  <a:lnTo>
                    <a:pt x="61913" y="117348"/>
                  </a:lnTo>
                  <a:lnTo>
                    <a:pt x="80105" y="115824"/>
                  </a:lnTo>
                  <a:lnTo>
                    <a:pt x="83534" y="110585"/>
                  </a:lnTo>
                  <a:lnTo>
                    <a:pt x="88201" y="110966"/>
                  </a:lnTo>
                  <a:lnTo>
                    <a:pt x="88201" y="110585"/>
                  </a:lnTo>
                  <a:lnTo>
                    <a:pt x="92107" y="105346"/>
                  </a:lnTo>
                  <a:lnTo>
                    <a:pt x="111061" y="103918"/>
                  </a:lnTo>
                  <a:lnTo>
                    <a:pt x="122682" y="112490"/>
                  </a:lnTo>
                  <a:lnTo>
                    <a:pt x="130016" y="109633"/>
                  </a:lnTo>
                  <a:lnTo>
                    <a:pt x="134588" y="116777"/>
                  </a:lnTo>
                  <a:lnTo>
                    <a:pt x="140017" y="113062"/>
                  </a:lnTo>
                  <a:lnTo>
                    <a:pt x="142018" y="120205"/>
                  </a:lnTo>
                  <a:lnTo>
                    <a:pt x="138874" y="128302"/>
                  </a:lnTo>
                  <a:lnTo>
                    <a:pt x="143542" y="132112"/>
                  </a:lnTo>
                  <a:lnTo>
                    <a:pt x="148971" y="130207"/>
                  </a:lnTo>
                  <a:lnTo>
                    <a:pt x="149352" y="140684"/>
                  </a:lnTo>
                  <a:lnTo>
                    <a:pt x="155924" y="143542"/>
                  </a:lnTo>
                  <a:lnTo>
                    <a:pt x="155924" y="150304"/>
                  </a:lnTo>
                  <a:lnTo>
                    <a:pt x="158972" y="154591"/>
                  </a:lnTo>
                  <a:lnTo>
                    <a:pt x="152019" y="157448"/>
                  </a:lnTo>
                  <a:lnTo>
                    <a:pt x="147066" y="152209"/>
                  </a:lnTo>
                  <a:lnTo>
                    <a:pt x="142018" y="156496"/>
                  </a:lnTo>
                  <a:lnTo>
                    <a:pt x="139255" y="151257"/>
                  </a:lnTo>
                  <a:lnTo>
                    <a:pt x="133445" y="153638"/>
                  </a:lnTo>
                  <a:lnTo>
                    <a:pt x="136207" y="161258"/>
                  </a:lnTo>
                  <a:lnTo>
                    <a:pt x="132683" y="165068"/>
                  </a:lnTo>
                  <a:lnTo>
                    <a:pt x="131540" y="168878"/>
                  </a:lnTo>
                  <a:lnTo>
                    <a:pt x="126492" y="172212"/>
                  </a:lnTo>
                  <a:lnTo>
                    <a:pt x="122968" y="179451"/>
                  </a:lnTo>
                  <a:lnTo>
                    <a:pt x="131540" y="185166"/>
                  </a:lnTo>
                  <a:lnTo>
                    <a:pt x="133445" y="178975"/>
                  </a:lnTo>
                  <a:lnTo>
                    <a:pt x="146971" y="180975"/>
                  </a:lnTo>
                  <a:lnTo>
                    <a:pt x="171736" y="151257"/>
                  </a:lnTo>
                  <a:lnTo>
                    <a:pt x="184880" y="145161"/>
                  </a:lnTo>
                  <a:lnTo>
                    <a:pt x="198882" y="146971"/>
                  </a:lnTo>
                  <a:lnTo>
                    <a:pt x="191834" y="157829"/>
                  </a:lnTo>
                  <a:lnTo>
                    <a:pt x="220218" y="159448"/>
                  </a:lnTo>
                  <a:lnTo>
                    <a:pt x="224219" y="163544"/>
                  </a:lnTo>
                  <a:lnTo>
                    <a:pt x="227457" y="161068"/>
                  </a:lnTo>
                  <a:lnTo>
                    <a:pt x="230791" y="166402"/>
                  </a:lnTo>
                  <a:lnTo>
                    <a:pt x="205359" y="179451"/>
                  </a:lnTo>
                  <a:lnTo>
                    <a:pt x="228124" y="203073"/>
                  </a:lnTo>
                  <a:lnTo>
                    <a:pt x="256889" y="195167"/>
                  </a:lnTo>
                  <a:lnTo>
                    <a:pt x="265462" y="186976"/>
                  </a:lnTo>
                  <a:lnTo>
                    <a:pt x="279749" y="185833"/>
                  </a:lnTo>
                  <a:lnTo>
                    <a:pt x="258318" y="175927"/>
                  </a:lnTo>
                  <a:lnTo>
                    <a:pt x="251555" y="160306"/>
                  </a:lnTo>
                  <a:lnTo>
                    <a:pt x="271462" y="149638"/>
                  </a:lnTo>
                  <a:lnTo>
                    <a:pt x="290227" y="149257"/>
                  </a:lnTo>
                  <a:lnTo>
                    <a:pt x="295561" y="143542"/>
                  </a:lnTo>
                  <a:lnTo>
                    <a:pt x="319564" y="137446"/>
                  </a:lnTo>
                  <a:lnTo>
                    <a:pt x="320707" y="132874"/>
                  </a:lnTo>
                  <a:lnTo>
                    <a:pt x="319945" y="127159"/>
                  </a:lnTo>
                  <a:lnTo>
                    <a:pt x="329279" y="124968"/>
                  </a:lnTo>
                  <a:lnTo>
                    <a:pt x="331375" y="119825"/>
                  </a:lnTo>
                  <a:lnTo>
                    <a:pt x="350425" y="119825"/>
                  </a:lnTo>
                  <a:lnTo>
                    <a:pt x="354520" y="109347"/>
                  </a:lnTo>
                  <a:lnTo>
                    <a:pt x="351949" y="103251"/>
                  </a:lnTo>
                  <a:lnTo>
                    <a:pt x="347091" y="101060"/>
                  </a:lnTo>
                  <a:lnTo>
                    <a:pt x="348901" y="96965"/>
                  </a:lnTo>
                  <a:lnTo>
                    <a:pt x="354330" y="97250"/>
                  </a:lnTo>
                  <a:lnTo>
                    <a:pt x="356330" y="93440"/>
                  </a:lnTo>
                  <a:lnTo>
                    <a:pt x="348615" y="88963"/>
                  </a:lnTo>
                  <a:lnTo>
                    <a:pt x="357092" y="84868"/>
                  </a:lnTo>
                  <a:lnTo>
                    <a:pt x="357092" y="7524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4" name="Freeform: Shape 2804">
              <a:extLst>
                <a:ext uri="{FF2B5EF4-FFF2-40B4-BE49-F238E27FC236}">
                  <a16:creationId xmlns:a16="http://schemas.microsoft.com/office/drawing/2014/main" id="{97A1616D-2F9F-F9F0-FA70-821B580CB959}"/>
                </a:ext>
              </a:extLst>
            </p:cNvPr>
            <p:cNvSpPr/>
            <p:nvPr/>
          </p:nvSpPr>
          <p:spPr>
            <a:xfrm>
              <a:off x="2260091" y="3722973"/>
              <a:ext cx="58102" cy="42671"/>
            </a:xfrm>
            <a:custGeom>
              <a:avLst/>
              <a:gdLst>
                <a:gd name="connsiteX0" fmla="*/ 4381 w 58102"/>
                <a:gd name="connsiteY0" fmla="*/ 42672 h 42671"/>
                <a:gd name="connsiteX1" fmla="*/ 28956 w 58102"/>
                <a:gd name="connsiteY1" fmla="*/ 27527 h 42671"/>
                <a:gd name="connsiteX2" fmla="*/ 58102 w 58102"/>
                <a:gd name="connsiteY2" fmla="*/ 22288 h 42671"/>
                <a:gd name="connsiteX3" fmla="*/ 41243 w 58102"/>
                <a:gd name="connsiteY3" fmla="*/ 2381 h 42671"/>
                <a:gd name="connsiteX4" fmla="*/ 41053 w 58102"/>
                <a:gd name="connsiteY4" fmla="*/ 2286 h 42671"/>
                <a:gd name="connsiteX5" fmla="*/ 29908 w 58102"/>
                <a:gd name="connsiteY5" fmla="*/ 4477 h 42671"/>
                <a:gd name="connsiteX6" fmla="*/ 20955 w 58102"/>
                <a:gd name="connsiteY6" fmla="*/ 0 h 42671"/>
                <a:gd name="connsiteX7" fmla="*/ 16288 w 58102"/>
                <a:gd name="connsiteY7" fmla="*/ 4191 h 42671"/>
                <a:gd name="connsiteX8" fmla="*/ 11335 w 58102"/>
                <a:gd name="connsiteY8" fmla="*/ 3524 h 42671"/>
                <a:gd name="connsiteX9" fmla="*/ 5429 w 58102"/>
                <a:gd name="connsiteY9" fmla="*/ 9239 h 42671"/>
                <a:gd name="connsiteX10" fmla="*/ 7525 w 58102"/>
                <a:gd name="connsiteY10" fmla="*/ 9239 h 42671"/>
                <a:gd name="connsiteX11" fmla="*/ 11621 w 58102"/>
                <a:gd name="connsiteY11" fmla="*/ 13430 h 42671"/>
                <a:gd name="connsiteX12" fmla="*/ 12383 w 58102"/>
                <a:gd name="connsiteY12" fmla="*/ 19812 h 42671"/>
                <a:gd name="connsiteX13" fmla="*/ 6953 w 58102"/>
                <a:gd name="connsiteY13" fmla="*/ 22955 h 42671"/>
                <a:gd name="connsiteX14" fmla="*/ 7239 w 58102"/>
                <a:gd name="connsiteY14" fmla="*/ 28384 h 42671"/>
                <a:gd name="connsiteX15" fmla="*/ 0 w 58102"/>
                <a:gd name="connsiteY15" fmla="*/ 33814 h 42671"/>
                <a:gd name="connsiteX16" fmla="*/ 4381 w 58102"/>
                <a:gd name="connsiteY16" fmla="*/ 42672 h 4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102" h="42671">
                  <a:moveTo>
                    <a:pt x="4381" y="42672"/>
                  </a:moveTo>
                  <a:lnTo>
                    <a:pt x="28956" y="27527"/>
                  </a:lnTo>
                  <a:lnTo>
                    <a:pt x="58102" y="22288"/>
                  </a:lnTo>
                  <a:lnTo>
                    <a:pt x="41243" y="2381"/>
                  </a:lnTo>
                  <a:lnTo>
                    <a:pt x="41053" y="2286"/>
                  </a:lnTo>
                  <a:lnTo>
                    <a:pt x="29908" y="4477"/>
                  </a:lnTo>
                  <a:lnTo>
                    <a:pt x="20955" y="0"/>
                  </a:lnTo>
                  <a:lnTo>
                    <a:pt x="16288" y="4191"/>
                  </a:lnTo>
                  <a:lnTo>
                    <a:pt x="11335" y="3524"/>
                  </a:lnTo>
                  <a:lnTo>
                    <a:pt x="5429" y="9239"/>
                  </a:lnTo>
                  <a:lnTo>
                    <a:pt x="7525" y="9239"/>
                  </a:lnTo>
                  <a:lnTo>
                    <a:pt x="11621" y="13430"/>
                  </a:lnTo>
                  <a:lnTo>
                    <a:pt x="12383" y="19812"/>
                  </a:lnTo>
                  <a:lnTo>
                    <a:pt x="6953" y="22955"/>
                  </a:lnTo>
                  <a:lnTo>
                    <a:pt x="7239" y="28384"/>
                  </a:lnTo>
                  <a:lnTo>
                    <a:pt x="0" y="33814"/>
                  </a:lnTo>
                  <a:lnTo>
                    <a:pt x="4381" y="4267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5" name="Freeform: Shape 2805">
              <a:extLst>
                <a:ext uri="{FF2B5EF4-FFF2-40B4-BE49-F238E27FC236}">
                  <a16:creationId xmlns:a16="http://schemas.microsoft.com/office/drawing/2014/main" id="{D3D1F6C2-D5A3-DCE5-DA51-6F272F180911}"/>
                </a:ext>
              </a:extLst>
            </p:cNvPr>
            <p:cNvSpPr/>
            <p:nvPr/>
          </p:nvSpPr>
          <p:spPr>
            <a:xfrm>
              <a:off x="1861185" y="3582289"/>
              <a:ext cx="91344" cy="49625"/>
            </a:xfrm>
            <a:custGeom>
              <a:avLst/>
              <a:gdLst>
                <a:gd name="connsiteX0" fmla="*/ 90678 w 91344"/>
                <a:gd name="connsiteY0" fmla="*/ 32480 h 49625"/>
                <a:gd name="connsiteX1" fmla="*/ 89725 w 91344"/>
                <a:gd name="connsiteY1" fmla="*/ 27242 h 49625"/>
                <a:gd name="connsiteX2" fmla="*/ 91345 w 91344"/>
                <a:gd name="connsiteY2" fmla="*/ 22670 h 49625"/>
                <a:gd name="connsiteX3" fmla="*/ 88011 w 91344"/>
                <a:gd name="connsiteY3" fmla="*/ 20288 h 49625"/>
                <a:gd name="connsiteX4" fmla="*/ 83153 w 91344"/>
                <a:gd name="connsiteY4" fmla="*/ 24575 h 49625"/>
                <a:gd name="connsiteX5" fmla="*/ 79153 w 91344"/>
                <a:gd name="connsiteY5" fmla="*/ 20479 h 49625"/>
                <a:gd name="connsiteX6" fmla="*/ 71533 w 91344"/>
                <a:gd name="connsiteY6" fmla="*/ 20002 h 49625"/>
                <a:gd name="connsiteX7" fmla="*/ 70199 w 91344"/>
                <a:gd name="connsiteY7" fmla="*/ 16002 h 49625"/>
                <a:gd name="connsiteX8" fmla="*/ 74867 w 91344"/>
                <a:gd name="connsiteY8" fmla="*/ 10763 h 49625"/>
                <a:gd name="connsiteX9" fmla="*/ 67532 w 91344"/>
                <a:gd name="connsiteY9" fmla="*/ 4477 h 49625"/>
                <a:gd name="connsiteX10" fmla="*/ 59912 w 91344"/>
                <a:gd name="connsiteY10" fmla="*/ 4953 h 49625"/>
                <a:gd name="connsiteX11" fmla="*/ 53626 w 91344"/>
                <a:gd name="connsiteY11" fmla="*/ 0 h 49625"/>
                <a:gd name="connsiteX12" fmla="*/ 49340 w 91344"/>
                <a:gd name="connsiteY12" fmla="*/ 2858 h 49625"/>
                <a:gd name="connsiteX13" fmla="*/ 53340 w 91344"/>
                <a:gd name="connsiteY13" fmla="*/ 7144 h 49625"/>
                <a:gd name="connsiteX14" fmla="*/ 45244 w 91344"/>
                <a:gd name="connsiteY14" fmla="*/ 5715 h 49625"/>
                <a:gd name="connsiteX15" fmla="*/ 40957 w 91344"/>
                <a:gd name="connsiteY15" fmla="*/ 7334 h 49625"/>
                <a:gd name="connsiteX16" fmla="*/ 33909 w 91344"/>
                <a:gd name="connsiteY16" fmla="*/ 7334 h 49625"/>
                <a:gd name="connsiteX17" fmla="*/ 27051 w 91344"/>
                <a:gd name="connsiteY17" fmla="*/ 10287 h 49625"/>
                <a:gd name="connsiteX18" fmla="*/ 25717 w 91344"/>
                <a:gd name="connsiteY18" fmla="*/ 7620 h 49625"/>
                <a:gd name="connsiteX19" fmla="*/ 20288 w 91344"/>
                <a:gd name="connsiteY19" fmla="*/ 7620 h 49625"/>
                <a:gd name="connsiteX20" fmla="*/ 18764 w 91344"/>
                <a:gd name="connsiteY20" fmla="*/ 11906 h 49625"/>
                <a:gd name="connsiteX21" fmla="*/ 22003 w 91344"/>
                <a:gd name="connsiteY21" fmla="*/ 14573 h 49625"/>
                <a:gd name="connsiteX22" fmla="*/ 16573 w 91344"/>
                <a:gd name="connsiteY22" fmla="*/ 18574 h 49625"/>
                <a:gd name="connsiteX23" fmla="*/ 10477 w 91344"/>
                <a:gd name="connsiteY23" fmla="*/ 21431 h 49625"/>
                <a:gd name="connsiteX24" fmla="*/ 10192 w 91344"/>
                <a:gd name="connsiteY24" fmla="*/ 26003 h 49625"/>
                <a:gd name="connsiteX25" fmla="*/ 4096 w 91344"/>
                <a:gd name="connsiteY25" fmla="*/ 31242 h 49625"/>
                <a:gd name="connsiteX26" fmla="*/ 3619 w 91344"/>
                <a:gd name="connsiteY26" fmla="*/ 37433 h 49625"/>
                <a:gd name="connsiteX27" fmla="*/ 0 w 91344"/>
                <a:gd name="connsiteY27" fmla="*/ 37909 h 49625"/>
                <a:gd name="connsiteX28" fmla="*/ 1143 w 91344"/>
                <a:gd name="connsiteY28" fmla="*/ 44672 h 49625"/>
                <a:gd name="connsiteX29" fmla="*/ 9430 w 91344"/>
                <a:gd name="connsiteY29" fmla="*/ 40767 h 49625"/>
                <a:gd name="connsiteX30" fmla="*/ 8668 w 91344"/>
                <a:gd name="connsiteY30" fmla="*/ 36957 h 49625"/>
                <a:gd name="connsiteX31" fmla="*/ 13716 w 91344"/>
                <a:gd name="connsiteY31" fmla="*/ 33623 h 49625"/>
                <a:gd name="connsiteX32" fmla="*/ 18193 w 91344"/>
                <a:gd name="connsiteY32" fmla="*/ 35052 h 49625"/>
                <a:gd name="connsiteX33" fmla="*/ 16573 w 91344"/>
                <a:gd name="connsiteY33" fmla="*/ 40767 h 49625"/>
                <a:gd name="connsiteX34" fmla="*/ 20288 w 91344"/>
                <a:gd name="connsiteY34" fmla="*/ 44101 h 49625"/>
                <a:gd name="connsiteX35" fmla="*/ 23431 w 91344"/>
                <a:gd name="connsiteY35" fmla="*/ 48673 h 49625"/>
                <a:gd name="connsiteX36" fmla="*/ 29623 w 91344"/>
                <a:gd name="connsiteY36" fmla="*/ 47720 h 49625"/>
                <a:gd name="connsiteX37" fmla="*/ 33433 w 91344"/>
                <a:gd name="connsiteY37" fmla="*/ 45053 h 49625"/>
                <a:gd name="connsiteX38" fmla="*/ 39243 w 91344"/>
                <a:gd name="connsiteY38" fmla="*/ 48006 h 49625"/>
                <a:gd name="connsiteX39" fmla="*/ 44482 w 91344"/>
                <a:gd name="connsiteY39" fmla="*/ 41243 h 49625"/>
                <a:gd name="connsiteX40" fmla="*/ 42767 w 91344"/>
                <a:gd name="connsiteY40" fmla="*/ 38195 h 49625"/>
                <a:gd name="connsiteX41" fmla="*/ 50482 w 91344"/>
                <a:gd name="connsiteY41" fmla="*/ 33623 h 49625"/>
                <a:gd name="connsiteX42" fmla="*/ 50863 w 91344"/>
                <a:gd name="connsiteY42" fmla="*/ 39338 h 49625"/>
                <a:gd name="connsiteX43" fmla="*/ 57055 w 91344"/>
                <a:gd name="connsiteY43" fmla="*/ 42005 h 49625"/>
                <a:gd name="connsiteX44" fmla="*/ 56293 w 91344"/>
                <a:gd name="connsiteY44" fmla="*/ 46577 h 49625"/>
                <a:gd name="connsiteX45" fmla="*/ 62103 w 91344"/>
                <a:gd name="connsiteY45" fmla="*/ 49625 h 49625"/>
                <a:gd name="connsiteX46" fmla="*/ 62865 w 91344"/>
                <a:gd name="connsiteY46" fmla="*/ 42672 h 49625"/>
                <a:gd name="connsiteX47" fmla="*/ 66961 w 91344"/>
                <a:gd name="connsiteY47" fmla="*/ 38672 h 49625"/>
                <a:gd name="connsiteX48" fmla="*/ 66389 w 91344"/>
                <a:gd name="connsiteY48" fmla="*/ 33623 h 49625"/>
                <a:gd name="connsiteX49" fmla="*/ 70390 w 91344"/>
                <a:gd name="connsiteY49" fmla="*/ 32195 h 49625"/>
                <a:gd name="connsiteX50" fmla="*/ 72771 w 91344"/>
                <a:gd name="connsiteY50" fmla="*/ 38195 h 49625"/>
                <a:gd name="connsiteX51" fmla="*/ 79724 w 91344"/>
                <a:gd name="connsiteY51" fmla="*/ 36290 h 49625"/>
                <a:gd name="connsiteX52" fmla="*/ 82010 w 91344"/>
                <a:gd name="connsiteY52" fmla="*/ 41243 h 49625"/>
                <a:gd name="connsiteX53" fmla="*/ 85915 w 91344"/>
                <a:gd name="connsiteY53" fmla="*/ 37719 h 49625"/>
                <a:gd name="connsiteX54" fmla="*/ 82582 w 91344"/>
                <a:gd name="connsiteY54" fmla="*/ 32004 h 49625"/>
                <a:gd name="connsiteX55" fmla="*/ 84773 w 91344"/>
                <a:gd name="connsiteY55" fmla="*/ 30289 h 49625"/>
                <a:gd name="connsiteX56" fmla="*/ 90678 w 91344"/>
                <a:gd name="connsiteY56" fmla="*/ 32480 h 4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91344" h="49625">
                  <a:moveTo>
                    <a:pt x="90678" y="32480"/>
                  </a:moveTo>
                  <a:lnTo>
                    <a:pt x="89725" y="27242"/>
                  </a:lnTo>
                  <a:lnTo>
                    <a:pt x="91345" y="22670"/>
                  </a:lnTo>
                  <a:lnTo>
                    <a:pt x="88011" y="20288"/>
                  </a:lnTo>
                  <a:lnTo>
                    <a:pt x="83153" y="24575"/>
                  </a:lnTo>
                  <a:lnTo>
                    <a:pt x="79153" y="20479"/>
                  </a:lnTo>
                  <a:lnTo>
                    <a:pt x="71533" y="20002"/>
                  </a:lnTo>
                  <a:lnTo>
                    <a:pt x="70199" y="16002"/>
                  </a:lnTo>
                  <a:lnTo>
                    <a:pt x="74867" y="10763"/>
                  </a:lnTo>
                  <a:lnTo>
                    <a:pt x="67532" y="4477"/>
                  </a:lnTo>
                  <a:lnTo>
                    <a:pt x="59912" y="4953"/>
                  </a:lnTo>
                  <a:lnTo>
                    <a:pt x="53626" y="0"/>
                  </a:lnTo>
                  <a:lnTo>
                    <a:pt x="49340" y="2858"/>
                  </a:lnTo>
                  <a:lnTo>
                    <a:pt x="53340" y="7144"/>
                  </a:lnTo>
                  <a:lnTo>
                    <a:pt x="45244" y="5715"/>
                  </a:lnTo>
                  <a:lnTo>
                    <a:pt x="40957" y="7334"/>
                  </a:lnTo>
                  <a:lnTo>
                    <a:pt x="33909" y="7334"/>
                  </a:lnTo>
                  <a:lnTo>
                    <a:pt x="27051" y="10287"/>
                  </a:lnTo>
                  <a:lnTo>
                    <a:pt x="25717" y="7620"/>
                  </a:lnTo>
                  <a:lnTo>
                    <a:pt x="20288" y="7620"/>
                  </a:lnTo>
                  <a:lnTo>
                    <a:pt x="18764" y="11906"/>
                  </a:lnTo>
                  <a:lnTo>
                    <a:pt x="22003" y="14573"/>
                  </a:lnTo>
                  <a:lnTo>
                    <a:pt x="16573" y="18574"/>
                  </a:lnTo>
                  <a:lnTo>
                    <a:pt x="10477" y="21431"/>
                  </a:lnTo>
                  <a:lnTo>
                    <a:pt x="10192" y="26003"/>
                  </a:lnTo>
                  <a:lnTo>
                    <a:pt x="4096" y="31242"/>
                  </a:lnTo>
                  <a:lnTo>
                    <a:pt x="3619" y="37433"/>
                  </a:lnTo>
                  <a:lnTo>
                    <a:pt x="0" y="37909"/>
                  </a:lnTo>
                  <a:lnTo>
                    <a:pt x="1143" y="44672"/>
                  </a:lnTo>
                  <a:lnTo>
                    <a:pt x="9430" y="40767"/>
                  </a:lnTo>
                  <a:lnTo>
                    <a:pt x="8668" y="36957"/>
                  </a:lnTo>
                  <a:lnTo>
                    <a:pt x="13716" y="33623"/>
                  </a:lnTo>
                  <a:lnTo>
                    <a:pt x="18193" y="35052"/>
                  </a:lnTo>
                  <a:lnTo>
                    <a:pt x="16573" y="40767"/>
                  </a:lnTo>
                  <a:lnTo>
                    <a:pt x="20288" y="44101"/>
                  </a:lnTo>
                  <a:lnTo>
                    <a:pt x="23431" y="48673"/>
                  </a:lnTo>
                  <a:lnTo>
                    <a:pt x="29623" y="47720"/>
                  </a:lnTo>
                  <a:lnTo>
                    <a:pt x="33433" y="45053"/>
                  </a:lnTo>
                  <a:lnTo>
                    <a:pt x="39243" y="48006"/>
                  </a:lnTo>
                  <a:lnTo>
                    <a:pt x="44482" y="41243"/>
                  </a:lnTo>
                  <a:lnTo>
                    <a:pt x="42767" y="38195"/>
                  </a:lnTo>
                  <a:lnTo>
                    <a:pt x="50482" y="33623"/>
                  </a:lnTo>
                  <a:lnTo>
                    <a:pt x="50863" y="39338"/>
                  </a:lnTo>
                  <a:lnTo>
                    <a:pt x="57055" y="42005"/>
                  </a:lnTo>
                  <a:lnTo>
                    <a:pt x="56293" y="46577"/>
                  </a:lnTo>
                  <a:lnTo>
                    <a:pt x="62103" y="49625"/>
                  </a:lnTo>
                  <a:lnTo>
                    <a:pt x="62865" y="42672"/>
                  </a:lnTo>
                  <a:lnTo>
                    <a:pt x="66961" y="38672"/>
                  </a:lnTo>
                  <a:lnTo>
                    <a:pt x="66389" y="33623"/>
                  </a:lnTo>
                  <a:lnTo>
                    <a:pt x="70390" y="32195"/>
                  </a:lnTo>
                  <a:lnTo>
                    <a:pt x="72771" y="38195"/>
                  </a:lnTo>
                  <a:lnTo>
                    <a:pt x="79724" y="36290"/>
                  </a:lnTo>
                  <a:lnTo>
                    <a:pt x="82010" y="41243"/>
                  </a:lnTo>
                  <a:lnTo>
                    <a:pt x="85915" y="37719"/>
                  </a:lnTo>
                  <a:lnTo>
                    <a:pt x="82582" y="32004"/>
                  </a:lnTo>
                  <a:lnTo>
                    <a:pt x="84773" y="30289"/>
                  </a:lnTo>
                  <a:lnTo>
                    <a:pt x="90678" y="3248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6" name="Freeform: Shape 2806">
              <a:extLst>
                <a:ext uri="{FF2B5EF4-FFF2-40B4-BE49-F238E27FC236}">
                  <a16:creationId xmlns:a16="http://schemas.microsoft.com/office/drawing/2014/main" id="{C9ED3F21-692F-DA11-9CD1-A3530AD62744}"/>
                </a:ext>
              </a:extLst>
            </p:cNvPr>
            <p:cNvSpPr/>
            <p:nvPr/>
          </p:nvSpPr>
          <p:spPr>
            <a:xfrm>
              <a:off x="1970627" y="2963068"/>
              <a:ext cx="251650" cy="418623"/>
            </a:xfrm>
            <a:custGeom>
              <a:avLst/>
              <a:gdLst>
                <a:gd name="connsiteX0" fmla="*/ 243078 w 251650"/>
                <a:gd name="connsiteY0" fmla="*/ 90488 h 418623"/>
                <a:gd name="connsiteX1" fmla="*/ 242316 w 251650"/>
                <a:gd name="connsiteY1" fmla="*/ 83725 h 418623"/>
                <a:gd name="connsiteX2" fmla="*/ 246888 w 251650"/>
                <a:gd name="connsiteY2" fmla="*/ 80391 h 418623"/>
                <a:gd name="connsiteX3" fmla="*/ 248984 w 251650"/>
                <a:gd name="connsiteY3" fmla="*/ 72866 h 418623"/>
                <a:gd name="connsiteX4" fmla="*/ 239459 w 251650"/>
                <a:gd name="connsiteY4" fmla="*/ 59817 h 418623"/>
                <a:gd name="connsiteX5" fmla="*/ 244888 w 251650"/>
                <a:gd name="connsiteY5" fmla="*/ 53911 h 418623"/>
                <a:gd name="connsiteX6" fmla="*/ 237458 w 251650"/>
                <a:gd name="connsiteY6" fmla="*/ 48482 h 418623"/>
                <a:gd name="connsiteX7" fmla="*/ 237458 w 251650"/>
                <a:gd name="connsiteY7" fmla="*/ 40481 h 418623"/>
                <a:gd name="connsiteX8" fmla="*/ 241364 w 251650"/>
                <a:gd name="connsiteY8" fmla="*/ 35909 h 418623"/>
                <a:gd name="connsiteX9" fmla="*/ 222314 w 251650"/>
                <a:gd name="connsiteY9" fmla="*/ 22098 h 418623"/>
                <a:gd name="connsiteX10" fmla="*/ 208407 w 251650"/>
                <a:gd name="connsiteY10" fmla="*/ 20383 h 418623"/>
                <a:gd name="connsiteX11" fmla="*/ 196120 w 251650"/>
                <a:gd name="connsiteY11" fmla="*/ 8858 h 418623"/>
                <a:gd name="connsiteX12" fmla="*/ 184975 w 251650"/>
                <a:gd name="connsiteY12" fmla="*/ 8858 h 418623"/>
                <a:gd name="connsiteX13" fmla="*/ 182975 w 251650"/>
                <a:gd name="connsiteY13" fmla="*/ 0 h 418623"/>
                <a:gd name="connsiteX14" fmla="*/ 175736 w 251650"/>
                <a:gd name="connsiteY14" fmla="*/ 0 h 418623"/>
                <a:gd name="connsiteX15" fmla="*/ 177260 w 251650"/>
                <a:gd name="connsiteY15" fmla="*/ 8763 h 418623"/>
                <a:gd name="connsiteX16" fmla="*/ 171450 w 251650"/>
                <a:gd name="connsiteY16" fmla="*/ 10668 h 418623"/>
                <a:gd name="connsiteX17" fmla="*/ 175736 w 251650"/>
                <a:gd name="connsiteY17" fmla="*/ 18859 h 418623"/>
                <a:gd name="connsiteX18" fmla="*/ 168783 w 251650"/>
                <a:gd name="connsiteY18" fmla="*/ 22669 h 418623"/>
                <a:gd name="connsiteX19" fmla="*/ 132017 w 251650"/>
                <a:gd name="connsiteY19" fmla="*/ 16954 h 418623"/>
                <a:gd name="connsiteX20" fmla="*/ 133160 w 251650"/>
                <a:gd name="connsiteY20" fmla="*/ 28289 h 418623"/>
                <a:gd name="connsiteX21" fmla="*/ 128111 w 251650"/>
                <a:gd name="connsiteY21" fmla="*/ 34671 h 418623"/>
                <a:gd name="connsiteX22" fmla="*/ 115348 w 251650"/>
                <a:gd name="connsiteY22" fmla="*/ 32290 h 418623"/>
                <a:gd name="connsiteX23" fmla="*/ 94869 w 251650"/>
                <a:gd name="connsiteY23" fmla="*/ 51340 h 418623"/>
                <a:gd name="connsiteX24" fmla="*/ 99155 w 251650"/>
                <a:gd name="connsiteY24" fmla="*/ 58864 h 418623"/>
                <a:gd name="connsiteX25" fmla="*/ 96774 w 251650"/>
                <a:gd name="connsiteY25" fmla="*/ 67056 h 418623"/>
                <a:gd name="connsiteX26" fmla="*/ 77724 w 251650"/>
                <a:gd name="connsiteY26" fmla="*/ 81534 h 418623"/>
                <a:gd name="connsiteX27" fmla="*/ 78867 w 251650"/>
                <a:gd name="connsiteY27" fmla="*/ 91059 h 418623"/>
                <a:gd name="connsiteX28" fmla="*/ 59817 w 251650"/>
                <a:gd name="connsiteY28" fmla="*/ 92964 h 418623"/>
                <a:gd name="connsiteX29" fmla="*/ 62579 w 251650"/>
                <a:gd name="connsiteY29" fmla="*/ 105537 h 418623"/>
                <a:gd name="connsiteX30" fmla="*/ 60198 w 251650"/>
                <a:gd name="connsiteY30" fmla="*/ 120682 h 418623"/>
                <a:gd name="connsiteX31" fmla="*/ 46101 w 251650"/>
                <a:gd name="connsiteY31" fmla="*/ 142208 h 418623"/>
                <a:gd name="connsiteX32" fmla="*/ 53435 w 251650"/>
                <a:gd name="connsiteY32" fmla="*/ 146685 h 418623"/>
                <a:gd name="connsiteX33" fmla="*/ 54197 w 251650"/>
                <a:gd name="connsiteY33" fmla="*/ 156686 h 418623"/>
                <a:gd name="connsiteX34" fmla="*/ 50768 w 251650"/>
                <a:gd name="connsiteY34" fmla="*/ 161163 h 418623"/>
                <a:gd name="connsiteX35" fmla="*/ 34862 w 251650"/>
                <a:gd name="connsiteY35" fmla="*/ 158020 h 418623"/>
                <a:gd name="connsiteX36" fmla="*/ 24003 w 251650"/>
                <a:gd name="connsiteY36" fmla="*/ 163639 h 418623"/>
                <a:gd name="connsiteX37" fmla="*/ 10573 w 251650"/>
                <a:gd name="connsiteY37" fmla="*/ 184690 h 418623"/>
                <a:gd name="connsiteX38" fmla="*/ 14097 w 251650"/>
                <a:gd name="connsiteY38" fmla="*/ 196024 h 418623"/>
                <a:gd name="connsiteX39" fmla="*/ 12097 w 251650"/>
                <a:gd name="connsiteY39" fmla="*/ 206788 h 418623"/>
                <a:gd name="connsiteX40" fmla="*/ 17145 w 251650"/>
                <a:gd name="connsiteY40" fmla="*/ 219361 h 418623"/>
                <a:gd name="connsiteX41" fmla="*/ 14478 w 251650"/>
                <a:gd name="connsiteY41" fmla="*/ 235077 h 418623"/>
                <a:gd name="connsiteX42" fmla="*/ 27623 w 251650"/>
                <a:gd name="connsiteY42" fmla="*/ 248317 h 418623"/>
                <a:gd name="connsiteX43" fmla="*/ 24098 w 251650"/>
                <a:gd name="connsiteY43" fmla="*/ 257175 h 418623"/>
                <a:gd name="connsiteX44" fmla="*/ 16002 w 251650"/>
                <a:gd name="connsiteY44" fmla="*/ 258985 h 418623"/>
                <a:gd name="connsiteX45" fmla="*/ 22574 w 251650"/>
                <a:gd name="connsiteY45" fmla="*/ 276034 h 418623"/>
                <a:gd name="connsiteX46" fmla="*/ 20098 w 251650"/>
                <a:gd name="connsiteY46" fmla="*/ 289655 h 418623"/>
                <a:gd name="connsiteX47" fmla="*/ 6572 w 251650"/>
                <a:gd name="connsiteY47" fmla="*/ 296609 h 418623"/>
                <a:gd name="connsiteX48" fmla="*/ 6572 w 251650"/>
                <a:gd name="connsiteY48" fmla="*/ 316516 h 418623"/>
                <a:gd name="connsiteX49" fmla="*/ 0 w 251650"/>
                <a:gd name="connsiteY49" fmla="*/ 322326 h 418623"/>
                <a:gd name="connsiteX50" fmla="*/ 4858 w 251650"/>
                <a:gd name="connsiteY50" fmla="*/ 354806 h 418623"/>
                <a:gd name="connsiteX51" fmla="*/ 17812 w 251650"/>
                <a:gd name="connsiteY51" fmla="*/ 376428 h 418623"/>
                <a:gd name="connsiteX52" fmla="*/ 28289 w 251650"/>
                <a:gd name="connsiteY52" fmla="*/ 384238 h 418623"/>
                <a:gd name="connsiteX53" fmla="*/ 27051 w 251650"/>
                <a:gd name="connsiteY53" fmla="*/ 395192 h 418623"/>
                <a:gd name="connsiteX54" fmla="*/ 19717 w 251650"/>
                <a:gd name="connsiteY54" fmla="*/ 393382 h 418623"/>
                <a:gd name="connsiteX55" fmla="*/ 32004 w 251650"/>
                <a:gd name="connsiteY55" fmla="*/ 410813 h 418623"/>
                <a:gd name="connsiteX56" fmla="*/ 27337 w 251650"/>
                <a:gd name="connsiteY56" fmla="*/ 418624 h 418623"/>
                <a:gd name="connsiteX57" fmla="*/ 54388 w 251650"/>
                <a:gd name="connsiteY57" fmla="*/ 418624 h 418623"/>
                <a:gd name="connsiteX58" fmla="*/ 63913 w 251650"/>
                <a:gd name="connsiteY58" fmla="*/ 397097 h 418623"/>
                <a:gd name="connsiteX59" fmla="*/ 86677 w 251650"/>
                <a:gd name="connsiteY59" fmla="*/ 399383 h 418623"/>
                <a:gd name="connsiteX60" fmla="*/ 98965 w 251650"/>
                <a:gd name="connsiteY60" fmla="*/ 366331 h 418623"/>
                <a:gd name="connsiteX61" fmla="*/ 103537 w 251650"/>
                <a:gd name="connsiteY61" fmla="*/ 361283 h 418623"/>
                <a:gd name="connsiteX62" fmla="*/ 97917 w 251650"/>
                <a:gd name="connsiteY62" fmla="*/ 349377 h 418623"/>
                <a:gd name="connsiteX63" fmla="*/ 104870 w 251650"/>
                <a:gd name="connsiteY63" fmla="*/ 349377 h 418623"/>
                <a:gd name="connsiteX64" fmla="*/ 105442 w 251650"/>
                <a:gd name="connsiteY64" fmla="*/ 341090 h 418623"/>
                <a:gd name="connsiteX65" fmla="*/ 98012 w 251650"/>
                <a:gd name="connsiteY65" fmla="*/ 336042 h 418623"/>
                <a:gd name="connsiteX66" fmla="*/ 108204 w 251650"/>
                <a:gd name="connsiteY66" fmla="*/ 332899 h 418623"/>
                <a:gd name="connsiteX67" fmla="*/ 96298 w 251650"/>
                <a:gd name="connsiteY67" fmla="*/ 325279 h 418623"/>
                <a:gd name="connsiteX68" fmla="*/ 117443 w 251650"/>
                <a:gd name="connsiteY68" fmla="*/ 325945 h 418623"/>
                <a:gd name="connsiteX69" fmla="*/ 123349 w 251650"/>
                <a:gd name="connsiteY69" fmla="*/ 314420 h 418623"/>
                <a:gd name="connsiteX70" fmla="*/ 128016 w 251650"/>
                <a:gd name="connsiteY70" fmla="*/ 322707 h 418623"/>
                <a:gd name="connsiteX71" fmla="*/ 138208 w 251650"/>
                <a:gd name="connsiteY71" fmla="*/ 315373 h 418623"/>
                <a:gd name="connsiteX72" fmla="*/ 107537 w 251650"/>
                <a:gd name="connsiteY72" fmla="*/ 308515 h 418623"/>
                <a:gd name="connsiteX73" fmla="*/ 121920 w 251650"/>
                <a:gd name="connsiteY73" fmla="*/ 303371 h 418623"/>
                <a:gd name="connsiteX74" fmla="*/ 124206 w 251650"/>
                <a:gd name="connsiteY74" fmla="*/ 293846 h 418623"/>
                <a:gd name="connsiteX75" fmla="*/ 128492 w 251650"/>
                <a:gd name="connsiteY75" fmla="*/ 305752 h 418623"/>
                <a:gd name="connsiteX76" fmla="*/ 151448 w 251650"/>
                <a:gd name="connsiteY76" fmla="*/ 298609 h 418623"/>
                <a:gd name="connsiteX77" fmla="*/ 129350 w 251650"/>
                <a:gd name="connsiteY77" fmla="*/ 271939 h 418623"/>
                <a:gd name="connsiteX78" fmla="*/ 113824 w 251650"/>
                <a:gd name="connsiteY78" fmla="*/ 268700 h 418623"/>
                <a:gd name="connsiteX79" fmla="*/ 111157 w 251650"/>
                <a:gd name="connsiteY79" fmla="*/ 240125 h 418623"/>
                <a:gd name="connsiteX80" fmla="*/ 120110 w 251650"/>
                <a:gd name="connsiteY80" fmla="*/ 238506 h 418623"/>
                <a:gd name="connsiteX81" fmla="*/ 116777 w 251650"/>
                <a:gd name="connsiteY81" fmla="*/ 211074 h 418623"/>
                <a:gd name="connsiteX82" fmla="*/ 135255 w 251650"/>
                <a:gd name="connsiteY82" fmla="*/ 200406 h 418623"/>
                <a:gd name="connsiteX83" fmla="*/ 158687 w 251650"/>
                <a:gd name="connsiteY83" fmla="*/ 176213 h 418623"/>
                <a:gd name="connsiteX84" fmla="*/ 183166 w 251650"/>
                <a:gd name="connsiteY84" fmla="*/ 168688 h 418623"/>
                <a:gd name="connsiteX85" fmla="*/ 201263 w 251650"/>
                <a:gd name="connsiteY85" fmla="*/ 147733 h 418623"/>
                <a:gd name="connsiteX86" fmla="*/ 190119 w 251650"/>
                <a:gd name="connsiteY86" fmla="*/ 135350 h 418623"/>
                <a:gd name="connsiteX87" fmla="*/ 201644 w 251650"/>
                <a:gd name="connsiteY87" fmla="*/ 125158 h 418623"/>
                <a:gd name="connsiteX88" fmla="*/ 194691 w 251650"/>
                <a:gd name="connsiteY88" fmla="*/ 119253 h 418623"/>
                <a:gd name="connsiteX89" fmla="*/ 213169 w 251650"/>
                <a:gd name="connsiteY89" fmla="*/ 112204 h 418623"/>
                <a:gd name="connsiteX90" fmla="*/ 204597 w 251650"/>
                <a:gd name="connsiteY90" fmla="*/ 106870 h 418623"/>
                <a:gd name="connsiteX91" fmla="*/ 216503 w 251650"/>
                <a:gd name="connsiteY91" fmla="*/ 102013 h 418623"/>
                <a:gd name="connsiteX92" fmla="*/ 251650 w 251650"/>
                <a:gd name="connsiteY92" fmla="*/ 103632 h 418623"/>
                <a:gd name="connsiteX93" fmla="*/ 249365 w 251650"/>
                <a:gd name="connsiteY93" fmla="*/ 95250 h 41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1650" h="418623">
                  <a:moveTo>
                    <a:pt x="243078" y="90488"/>
                  </a:moveTo>
                  <a:lnTo>
                    <a:pt x="242316" y="83725"/>
                  </a:lnTo>
                  <a:lnTo>
                    <a:pt x="246888" y="80391"/>
                  </a:lnTo>
                  <a:lnTo>
                    <a:pt x="248984" y="72866"/>
                  </a:lnTo>
                  <a:lnTo>
                    <a:pt x="239459" y="59817"/>
                  </a:lnTo>
                  <a:lnTo>
                    <a:pt x="244888" y="53911"/>
                  </a:lnTo>
                  <a:lnTo>
                    <a:pt x="237458" y="48482"/>
                  </a:lnTo>
                  <a:lnTo>
                    <a:pt x="237458" y="40481"/>
                  </a:lnTo>
                  <a:lnTo>
                    <a:pt x="241364" y="35909"/>
                  </a:lnTo>
                  <a:lnTo>
                    <a:pt x="222314" y="22098"/>
                  </a:lnTo>
                  <a:lnTo>
                    <a:pt x="208407" y="20383"/>
                  </a:lnTo>
                  <a:lnTo>
                    <a:pt x="196120" y="8858"/>
                  </a:lnTo>
                  <a:lnTo>
                    <a:pt x="184975" y="8858"/>
                  </a:lnTo>
                  <a:lnTo>
                    <a:pt x="182975" y="0"/>
                  </a:lnTo>
                  <a:lnTo>
                    <a:pt x="175736" y="0"/>
                  </a:lnTo>
                  <a:lnTo>
                    <a:pt x="177260" y="8763"/>
                  </a:lnTo>
                  <a:lnTo>
                    <a:pt x="171450" y="10668"/>
                  </a:lnTo>
                  <a:lnTo>
                    <a:pt x="175736" y="18859"/>
                  </a:lnTo>
                  <a:lnTo>
                    <a:pt x="168783" y="22669"/>
                  </a:lnTo>
                  <a:lnTo>
                    <a:pt x="132017" y="16954"/>
                  </a:lnTo>
                  <a:lnTo>
                    <a:pt x="133160" y="28289"/>
                  </a:lnTo>
                  <a:lnTo>
                    <a:pt x="128111" y="34671"/>
                  </a:lnTo>
                  <a:lnTo>
                    <a:pt x="115348" y="32290"/>
                  </a:lnTo>
                  <a:lnTo>
                    <a:pt x="94869" y="51340"/>
                  </a:lnTo>
                  <a:lnTo>
                    <a:pt x="99155" y="58864"/>
                  </a:lnTo>
                  <a:lnTo>
                    <a:pt x="96774" y="67056"/>
                  </a:lnTo>
                  <a:lnTo>
                    <a:pt x="77724" y="81534"/>
                  </a:lnTo>
                  <a:lnTo>
                    <a:pt x="78867" y="91059"/>
                  </a:lnTo>
                  <a:lnTo>
                    <a:pt x="59817" y="92964"/>
                  </a:lnTo>
                  <a:lnTo>
                    <a:pt x="62579" y="105537"/>
                  </a:lnTo>
                  <a:lnTo>
                    <a:pt x="60198" y="120682"/>
                  </a:lnTo>
                  <a:lnTo>
                    <a:pt x="46101" y="142208"/>
                  </a:lnTo>
                  <a:lnTo>
                    <a:pt x="53435" y="146685"/>
                  </a:lnTo>
                  <a:lnTo>
                    <a:pt x="54197" y="156686"/>
                  </a:lnTo>
                  <a:lnTo>
                    <a:pt x="50768" y="161163"/>
                  </a:lnTo>
                  <a:lnTo>
                    <a:pt x="34862" y="158020"/>
                  </a:lnTo>
                  <a:lnTo>
                    <a:pt x="24003" y="163639"/>
                  </a:lnTo>
                  <a:lnTo>
                    <a:pt x="10573" y="184690"/>
                  </a:lnTo>
                  <a:lnTo>
                    <a:pt x="14097" y="196024"/>
                  </a:lnTo>
                  <a:lnTo>
                    <a:pt x="12097" y="206788"/>
                  </a:lnTo>
                  <a:lnTo>
                    <a:pt x="17145" y="219361"/>
                  </a:lnTo>
                  <a:lnTo>
                    <a:pt x="14478" y="235077"/>
                  </a:lnTo>
                  <a:lnTo>
                    <a:pt x="27623" y="248317"/>
                  </a:lnTo>
                  <a:lnTo>
                    <a:pt x="24098" y="257175"/>
                  </a:lnTo>
                  <a:lnTo>
                    <a:pt x="16002" y="258985"/>
                  </a:lnTo>
                  <a:lnTo>
                    <a:pt x="22574" y="276034"/>
                  </a:lnTo>
                  <a:lnTo>
                    <a:pt x="20098" y="289655"/>
                  </a:lnTo>
                  <a:lnTo>
                    <a:pt x="6572" y="296609"/>
                  </a:lnTo>
                  <a:lnTo>
                    <a:pt x="6572" y="316516"/>
                  </a:lnTo>
                  <a:lnTo>
                    <a:pt x="0" y="322326"/>
                  </a:lnTo>
                  <a:lnTo>
                    <a:pt x="4858" y="354806"/>
                  </a:lnTo>
                  <a:lnTo>
                    <a:pt x="17812" y="376428"/>
                  </a:lnTo>
                  <a:lnTo>
                    <a:pt x="28289" y="384238"/>
                  </a:lnTo>
                  <a:lnTo>
                    <a:pt x="27051" y="395192"/>
                  </a:lnTo>
                  <a:lnTo>
                    <a:pt x="19717" y="393382"/>
                  </a:lnTo>
                  <a:lnTo>
                    <a:pt x="32004" y="410813"/>
                  </a:lnTo>
                  <a:lnTo>
                    <a:pt x="27337" y="418624"/>
                  </a:lnTo>
                  <a:lnTo>
                    <a:pt x="54388" y="418624"/>
                  </a:lnTo>
                  <a:lnTo>
                    <a:pt x="63913" y="397097"/>
                  </a:lnTo>
                  <a:lnTo>
                    <a:pt x="86677" y="399383"/>
                  </a:lnTo>
                  <a:lnTo>
                    <a:pt x="98965" y="366331"/>
                  </a:lnTo>
                  <a:lnTo>
                    <a:pt x="103537" y="361283"/>
                  </a:lnTo>
                  <a:lnTo>
                    <a:pt x="97917" y="349377"/>
                  </a:lnTo>
                  <a:lnTo>
                    <a:pt x="104870" y="349377"/>
                  </a:lnTo>
                  <a:lnTo>
                    <a:pt x="105442" y="341090"/>
                  </a:lnTo>
                  <a:lnTo>
                    <a:pt x="98012" y="336042"/>
                  </a:lnTo>
                  <a:lnTo>
                    <a:pt x="108204" y="332899"/>
                  </a:lnTo>
                  <a:lnTo>
                    <a:pt x="96298" y="325279"/>
                  </a:lnTo>
                  <a:lnTo>
                    <a:pt x="117443" y="325945"/>
                  </a:lnTo>
                  <a:lnTo>
                    <a:pt x="123349" y="314420"/>
                  </a:lnTo>
                  <a:lnTo>
                    <a:pt x="128016" y="322707"/>
                  </a:lnTo>
                  <a:lnTo>
                    <a:pt x="138208" y="315373"/>
                  </a:lnTo>
                  <a:lnTo>
                    <a:pt x="107537" y="308515"/>
                  </a:lnTo>
                  <a:lnTo>
                    <a:pt x="121920" y="303371"/>
                  </a:lnTo>
                  <a:lnTo>
                    <a:pt x="124206" y="293846"/>
                  </a:lnTo>
                  <a:lnTo>
                    <a:pt x="128492" y="305752"/>
                  </a:lnTo>
                  <a:lnTo>
                    <a:pt x="151448" y="298609"/>
                  </a:lnTo>
                  <a:lnTo>
                    <a:pt x="129350" y="271939"/>
                  </a:lnTo>
                  <a:lnTo>
                    <a:pt x="113824" y="268700"/>
                  </a:lnTo>
                  <a:lnTo>
                    <a:pt x="111157" y="240125"/>
                  </a:lnTo>
                  <a:lnTo>
                    <a:pt x="120110" y="238506"/>
                  </a:lnTo>
                  <a:lnTo>
                    <a:pt x="116777" y="211074"/>
                  </a:lnTo>
                  <a:lnTo>
                    <a:pt x="135255" y="200406"/>
                  </a:lnTo>
                  <a:lnTo>
                    <a:pt x="158687" y="176213"/>
                  </a:lnTo>
                  <a:lnTo>
                    <a:pt x="183166" y="168688"/>
                  </a:lnTo>
                  <a:lnTo>
                    <a:pt x="201263" y="147733"/>
                  </a:lnTo>
                  <a:lnTo>
                    <a:pt x="190119" y="135350"/>
                  </a:lnTo>
                  <a:lnTo>
                    <a:pt x="201644" y="125158"/>
                  </a:lnTo>
                  <a:lnTo>
                    <a:pt x="194691" y="119253"/>
                  </a:lnTo>
                  <a:lnTo>
                    <a:pt x="213169" y="112204"/>
                  </a:lnTo>
                  <a:lnTo>
                    <a:pt x="204597" y="106870"/>
                  </a:lnTo>
                  <a:lnTo>
                    <a:pt x="216503" y="102013"/>
                  </a:lnTo>
                  <a:lnTo>
                    <a:pt x="251650" y="103632"/>
                  </a:lnTo>
                  <a:lnTo>
                    <a:pt x="249365" y="9525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7" name="Freeform: Shape 2807">
              <a:extLst>
                <a:ext uri="{FF2B5EF4-FFF2-40B4-BE49-F238E27FC236}">
                  <a16:creationId xmlns:a16="http://schemas.microsoft.com/office/drawing/2014/main" id="{6FDE77EA-BDD1-1799-7AA5-F3621F692392}"/>
                </a:ext>
              </a:extLst>
            </p:cNvPr>
            <p:cNvSpPr/>
            <p:nvPr/>
          </p:nvSpPr>
          <p:spPr>
            <a:xfrm>
              <a:off x="1560290" y="3682015"/>
              <a:ext cx="249459" cy="178784"/>
            </a:xfrm>
            <a:custGeom>
              <a:avLst/>
              <a:gdLst>
                <a:gd name="connsiteX0" fmla="*/ 112871 w 249459"/>
                <a:gd name="connsiteY0" fmla="*/ 6096 h 178784"/>
                <a:gd name="connsiteX1" fmla="*/ 95059 w 249459"/>
                <a:gd name="connsiteY1" fmla="*/ 9335 h 178784"/>
                <a:gd name="connsiteX2" fmla="*/ 68008 w 249459"/>
                <a:gd name="connsiteY2" fmla="*/ 2381 h 178784"/>
                <a:gd name="connsiteX3" fmla="*/ 44196 w 249459"/>
                <a:gd name="connsiteY3" fmla="*/ 6858 h 178784"/>
                <a:gd name="connsiteX4" fmla="*/ 27432 w 249459"/>
                <a:gd name="connsiteY4" fmla="*/ 0 h 178784"/>
                <a:gd name="connsiteX5" fmla="*/ 1333 w 249459"/>
                <a:gd name="connsiteY5" fmla="*/ 16288 h 178784"/>
                <a:gd name="connsiteX6" fmla="*/ 0 w 249459"/>
                <a:gd name="connsiteY6" fmla="*/ 17526 h 178784"/>
                <a:gd name="connsiteX7" fmla="*/ 10573 w 249459"/>
                <a:gd name="connsiteY7" fmla="*/ 44387 h 178784"/>
                <a:gd name="connsiteX8" fmla="*/ 20574 w 249459"/>
                <a:gd name="connsiteY8" fmla="*/ 38100 h 178784"/>
                <a:gd name="connsiteX9" fmla="*/ 23146 w 249459"/>
                <a:gd name="connsiteY9" fmla="*/ 41339 h 178784"/>
                <a:gd name="connsiteX10" fmla="*/ 21336 w 249459"/>
                <a:gd name="connsiteY10" fmla="*/ 47339 h 178784"/>
                <a:gd name="connsiteX11" fmla="*/ 28575 w 249459"/>
                <a:gd name="connsiteY11" fmla="*/ 45149 h 178784"/>
                <a:gd name="connsiteX12" fmla="*/ 36385 w 249459"/>
                <a:gd name="connsiteY12" fmla="*/ 47339 h 178784"/>
                <a:gd name="connsiteX13" fmla="*/ 41529 w 249459"/>
                <a:gd name="connsiteY13" fmla="*/ 43244 h 178784"/>
                <a:gd name="connsiteX14" fmla="*/ 54102 w 249459"/>
                <a:gd name="connsiteY14" fmla="*/ 43815 h 178784"/>
                <a:gd name="connsiteX15" fmla="*/ 54102 w 249459"/>
                <a:gd name="connsiteY15" fmla="*/ 51149 h 178784"/>
                <a:gd name="connsiteX16" fmla="*/ 60103 w 249459"/>
                <a:gd name="connsiteY16" fmla="*/ 49530 h 178784"/>
                <a:gd name="connsiteX17" fmla="*/ 61913 w 249459"/>
                <a:gd name="connsiteY17" fmla="*/ 54674 h 178784"/>
                <a:gd name="connsiteX18" fmla="*/ 51530 w 249459"/>
                <a:gd name="connsiteY18" fmla="*/ 64199 h 178784"/>
                <a:gd name="connsiteX19" fmla="*/ 46672 w 249459"/>
                <a:gd name="connsiteY19" fmla="*/ 65818 h 178784"/>
                <a:gd name="connsiteX20" fmla="*/ 48958 w 249459"/>
                <a:gd name="connsiteY20" fmla="*/ 71914 h 178784"/>
                <a:gd name="connsiteX21" fmla="*/ 49244 w 249459"/>
                <a:gd name="connsiteY21" fmla="*/ 84011 h 178784"/>
                <a:gd name="connsiteX22" fmla="*/ 43815 w 249459"/>
                <a:gd name="connsiteY22" fmla="*/ 87821 h 178784"/>
                <a:gd name="connsiteX23" fmla="*/ 48196 w 249459"/>
                <a:gd name="connsiteY23" fmla="*/ 92583 h 178784"/>
                <a:gd name="connsiteX24" fmla="*/ 45910 w 249459"/>
                <a:gd name="connsiteY24" fmla="*/ 99536 h 178784"/>
                <a:gd name="connsiteX25" fmla="*/ 34004 w 249459"/>
                <a:gd name="connsiteY25" fmla="*/ 99822 h 178784"/>
                <a:gd name="connsiteX26" fmla="*/ 38957 w 249459"/>
                <a:gd name="connsiteY26" fmla="*/ 105061 h 178784"/>
                <a:gd name="connsiteX27" fmla="*/ 40481 w 249459"/>
                <a:gd name="connsiteY27" fmla="*/ 110966 h 178784"/>
                <a:gd name="connsiteX28" fmla="*/ 45625 w 249459"/>
                <a:gd name="connsiteY28" fmla="*/ 112681 h 178784"/>
                <a:gd name="connsiteX29" fmla="*/ 43529 w 249459"/>
                <a:gd name="connsiteY29" fmla="*/ 118777 h 178784"/>
                <a:gd name="connsiteX30" fmla="*/ 39433 w 249459"/>
                <a:gd name="connsiteY30" fmla="*/ 121444 h 178784"/>
                <a:gd name="connsiteX31" fmla="*/ 37624 w 249459"/>
                <a:gd name="connsiteY31" fmla="*/ 127540 h 178784"/>
                <a:gd name="connsiteX32" fmla="*/ 41719 w 249459"/>
                <a:gd name="connsiteY32" fmla="*/ 130778 h 178784"/>
                <a:gd name="connsiteX33" fmla="*/ 46387 w 249459"/>
                <a:gd name="connsiteY33" fmla="*/ 131636 h 178784"/>
                <a:gd name="connsiteX34" fmla="*/ 44101 w 249459"/>
                <a:gd name="connsiteY34" fmla="*/ 137827 h 178784"/>
                <a:gd name="connsiteX35" fmla="*/ 39148 w 249459"/>
                <a:gd name="connsiteY35" fmla="*/ 138684 h 178784"/>
                <a:gd name="connsiteX36" fmla="*/ 34766 w 249459"/>
                <a:gd name="connsiteY36" fmla="*/ 147447 h 178784"/>
                <a:gd name="connsiteX37" fmla="*/ 36957 w 249459"/>
                <a:gd name="connsiteY37" fmla="*/ 155639 h 178784"/>
                <a:gd name="connsiteX38" fmla="*/ 45529 w 249459"/>
                <a:gd name="connsiteY38" fmla="*/ 151352 h 178784"/>
                <a:gd name="connsiteX39" fmla="*/ 58293 w 249459"/>
                <a:gd name="connsiteY39" fmla="*/ 162783 h 178784"/>
                <a:gd name="connsiteX40" fmla="*/ 64008 w 249459"/>
                <a:gd name="connsiteY40" fmla="*/ 178118 h 178784"/>
                <a:gd name="connsiteX41" fmla="*/ 77248 w 249459"/>
                <a:gd name="connsiteY41" fmla="*/ 178784 h 178784"/>
                <a:gd name="connsiteX42" fmla="*/ 77533 w 249459"/>
                <a:gd name="connsiteY42" fmla="*/ 178784 h 178784"/>
                <a:gd name="connsiteX43" fmla="*/ 96393 w 249459"/>
                <a:gd name="connsiteY43" fmla="*/ 166116 h 178784"/>
                <a:gd name="connsiteX44" fmla="*/ 136779 w 249459"/>
                <a:gd name="connsiteY44" fmla="*/ 160973 h 178784"/>
                <a:gd name="connsiteX45" fmla="*/ 141637 w 249459"/>
                <a:gd name="connsiteY45" fmla="*/ 165735 h 178784"/>
                <a:gd name="connsiteX46" fmla="*/ 155353 w 249459"/>
                <a:gd name="connsiteY46" fmla="*/ 146114 h 178784"/>
                <a:gd name="connsiteX47" fmla="*/ 169736 w 249459"/>
                <a:gd name="connsiteY47" fmla="*/ 145923 h 178784"/>
                <a:gd name="connsiteX48" fmla="*/ 170688 w 249459"/>
                <a:gd name="connsiteY48" fmla="*/ 134017 h 178784"/>
                <a:gd name="connsiteX49" fmla="*/ 187452 w 249459"/>
                <a:gd name="connsiteY49" fmla="*/ 118110 h 178784"/>
                <a:gd name="connsiteX50" fmla="*/ 178213 w 249459"/>
                <a:gd name="connsiteY50" fmla="*/ 108490 h 178784"/>
                <a:gd name="connsiteX51" fmla="*/ 180880 w 249459"/>
                <a:gd name="connsiteY51" fmla="*/ 96203 h 178784"/>
                <a:gd name="connsiteX52" fmla="*/ 203359 w 249459"/>
                <a:gd name="connsiteY52" fmla="*/ 67246 h 178784"/>
                <a:gd name="connsiteX53" fmla="*/ 224885 w 249459"/>
                <a:gd name="connsiteY53" fmla="*/ 61532 h 178784"/>
                <a:gd name="connsiteX54" fmla="*/ 247650 w 249459"/>
                <a:gd name="connsiteY54" fmla="*/ 46482 h 178784"/>
                <a:gd name="connsiteX55" fmla="*/ 249460 w 249459"/>
                <a:gd name="connsiteY55" fmla="*/ 33052 h 178784"/>
                <a:gd name="connsiteX56" fmla="*/ 249364 w 249459"/>
                <a:gd name="connsiteY56" fmla="*/ 32957 h 178784"/>
                <a:gd name="connsiteX57" fmla="*/ 249174 w 249459"/>
                <a:gd name="connsiteY57" fmla="*/ 33052 h 178784"/>
                <a:gd name="connsiteX58" fmla="*/ 238982 w 249459"/>
                <a:gd name="connsiteY58" fmla="*/ 31814 h 178784"/>
                <a:gd name="connsiteX59" fmla="*/ 236791 w 249459"/>
                <a:gd name="connsiteY59" fmla="*/ 36386 h 178784"/>
                <a:gd name="connsiteX60" fmla="*/ 229838 w 249459"/>
                <a:gd name="connsiteY60" fmla="*/ 32099 h 178784"/>
                <a:gd name="connsiteX61" fmla="*/ 224504 w 249459"/>
                <a:gd name="connsiteY61" fmla="*/ 34957 h 178784"/>
                <a:gd name="connsiteX62" fmla="*/ 220980 w 249459"/>
                <a:gd name="connsiteY62" fmla="*/ 30194 h 178784"/>
                <a:gd name="connsiteX63" fmla="*/ 219456 w 249459"/>
                <a:gd name="connsiteY63" fmla="*/ 33528 h 178784"/>
                <a:gd name="connsiteX64" fmla="*/ 214598 w 249459"/>
                <a:gd name="connsiteY64" fmla="*/ 34481 h 178784"/>
                <a:gd name="connsiteX65" fmla="*/ 210693 w 249459"/>
                <a:gd name="connsiteY65" fmla="*/ 29909 h 178784"/>
                <a:gd name="connsiteX66" fmla="*/ 213074 w 249459"/>
                <a:gd name="connsiteY66" fmla="*/ 26289 h 178784"/>
                <a:gd name="connsiteX67" fmla="*/ 207264 w 249459"/>
                <a:gd name="connsiteY67" fmla="*/ 25337 h 178784"/>
                <a:gd name="connsiteX68" fmla="*/ 198311 w 249459"/>
                <a:gd name="connsiteY68" fmla="*/ 20574 h 178784"/>
                <a:gd name="connsiteX69" fmla="*/ 197739 w 249459"/>
                <a:gd name="connsiteY69" fmla="*/ 26289 h 178784"/>
                <a:gd name="connsiteX70" fmla="*/ 187738 w 249459"/>
                <a:gd name="connsiteY70" fmla="*/ 24860 h 178784"/>
                <a:gd name="connsiteX71" fmla="*/ 184594 w 249459"/>
                <a:gd name="connsiteY71" fmla="*/ 27051 h 178784"/>
                <a:gd name="connsiteX72" fmla="*/ 180499 w 249459"/>
                <a:gd name="connsiteY72" fmla="*/ 22765 h 178784"/>
                <a:gd name="connsiteX73" fmla="*/ 172784 w 249459"/>
                <a:gd name="connsiteY73" fmla="*/ 24194 h 178784"/>
                <a:gd name="connsiteX74" fmla="*/ 169926 w 249459"/>
                <a:gd name="connsiteY74" fmla="*/ 19621 h 178784"/>
                <a:gd name="connsiteX75" fmla="*/ 161353 w 249459"/>
                <a:gd name="connsiteY75" fmla="*/ 16574 h 178784"/>
                <a:gd name="connsiteX76" fmla="*/ 155734 w 249459"/>
                <a:gd name="connsiteY76" fmla="*/ 17240 h 178784"/>
                <a:gd name="connsiteX77" fmla="*/ 156019 w 249459"/>
                <a:gd name="connsiteY77" fmla="*/ 12002 h 178784"/>
                <a:gd name="connsiteX78" fmla="*/ 148876 w 249459"/>
                <a:gd name="connsiteY78" fmla="*/ 9335 h 178784"/>
                <a:gd name="connsiteX79" fmla="*/ 124111 w 249459"/>
                <a:gd name="connsiteY79" fmla="*/ 10954 h 178784"/>
                <a:gd name="connsiteX80" fmla="*/ 112871 w 249459"/>
                <a:gd name="connsiteY80" fmla="*/ 6096 h 17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49459" h="178784">
                  <a:moveTo>
                    <a:pt x="112871" y="6096"/>
                  </a:moveTo>
                  <a:lnTo>
                    <a:pt x="95059" y="9335"/>
                  </a:lnTo>
                  <a:lnTo>
                    <a:pt x="68008" y="2381"/>
                  </a:lnTo>
                  <a:lnTo>
                    <a:pt x="44196" y="6858"/>
                  </a:lnTo>
                  <a:lnTo>
                    <a:pt x="27432" y="0"/>
                  </a:lnTo>
                  <a:lnTo>
                    <a:pt x="1333" y="16288"/>
                  </a:lnTo>
                  <a:lnTo>
                    <a:pt x="0" y="17526"/>
                  </a:lnTo>
                  <a:lnTo>
                    <a:pt x="10573" y="44387"/>
                  </a:lnTo>
                  <a:lnTo>
                    <a:pt x="20574" y="38100"/>
                  </a:lnTo>
                  <a:lnTo>
                    <a:pt x="23146" y="41339"/>
                  </a:lnTo>
                  <a:lnTo>
                    <a:pt x="21336" y="47339"/>
                  </a:lnTo>
                  <a:lnTo>
                    <a:pt x="28575" y="45149"/>
                  </a:lnTo>
                  <a:lnTo>
                    <a:pt x="36385" y="47339"/>
                  </a:lnTo>
                  <a:lnTo>
                    <a:pt x="41529" y="43244"/>
                  </a:lnTo>
                  <a:lnTo>
                    <a:pt x="54102" y="43815"/>
                  </a:lnTo>
                  <a:lnTo>
                    <a:pt x="54102" y="51149"/>
                  </a:lnTo>
                  <a:lnTo>
                    <a:pt x="60103" y="49530"/>
                  </a:lnTo>
                  <a:lnTo>
                    <a:pt x="61913" y="54674"/>
                  </a:lnTo>
                  <a:lnTo>
                    <a:pt x="51530" y="64199"/>
                  </a:lnTo>
                  <a:lnTo>
                    <a:pt x="46672" y="65818"/>
                  </a:lnTo>
                  <a:lnTo>
                    <a:pt x="48958" y="71914"/>
                  </a:lnTo>
                  <a:lnTo>
                    <a:pt x="49244" y="84011"/>
                  </a:lnTo>
                  <a:lnTo>
                    <a:pt x="43815" y="87821"/>
                  </a:lnTo>
                  <a:lnTo>
                    <a:pt x="48196" y="92583"/>
                  </a:lnTo>
                  <a:lnTo>
                    <a:pt x="45910" y="99536"/>
                  </a:lnTo>
                  <a:lnTo>
                    <a:pt x="34004" y="99822"/>
                  </a:lnTo>
                  <a:lnTo>
                    <a:pt x="38957" y="105061"/>
                  </a:lnTo>
                  <a:lnTo>
                    <a:pt x="40481" y="110966"/>
                  </a:lnTo>
                  <a:lnTo>
                    <a:pt x="45625" y="112681"/>
                  </a:lnTo>
                  <a:lnTo>
                    <a:pt x="43529" y="118777"/>
                  </a:lnTo>
                  <a:lnTo>
                    <a:pt x="39433" y="121444"/>
                  </a:lnTo>
                  <a:lnTo>
                    <a:pt x="37624" y="127540"/>
                  </a:lnTo>
                  <a:lnTo>
                    <a:pt x="41719" y="130778"/>
                  </a:lnTo>
                  <a:lnTo>
                    <a:pt x="46387" y="131636"/>
                  </a:lnTo>
                  <a:lnTo>
                    <a:pt x="44101" y="137827"/>
                  </a:lnTo>
                  <a:lnTo>
                    <a:pt x="39148" y="138684"/>
                  </a:lnTo>
                  <a:lnTo>
                    <a:pt x="34766" y="147447"/>
                  </a:lnTo>
                  <a:lnTo>
                    <a:pt x="36957" y="155639"/>
                  </a:lnTo>
                  <a:lnTo>
                    <a:pt x="45529" y="151352"/>
                  </a:lnTo>
                  <a:lnTo>
                    <a:pt x="58293" y="162783"/>
                  </a:lnTo>
                  <a:lnTo>
                    <a:pt x="64008" y="178118"/>
                  </a:lnTo>
                  <a:lnTo>
                    <a:pt x="77248" y="178784"/>
                  </a:lnTo>
                  <a:lnTo>
                    <a:pt x="77533" y="178784"/>
                  </a:lnTo>
                  <a:lnTo>
                    <a:pt x="96393" y="166116"/>
                  </a:lnTo>
                  <a:lnTo>
                    <a:pt x="136779" y="160973"/>
                  </a:lnTo>
                  <a:lnTo>
                    <a:pt x="141637" y="165735"/>
                  </a:lnTo>
                  <a:lnTo>
                    <a:pt x="155353" y="146114"/>
                  </a:lnTo>
                  <a:lnTo>
                    <a:pt x="169736" y="145923"/>
                  </a:lnTo>
                  <a:lnTo>
                    <a:pt x="170688" y="134017"/>
                  </a:lnTo>
                  <a:lnTo>
                    <a:pt x="187452" y="118110"/>
                  </a:lnTo>
                  <a:lnTo>
                    <a:pt x="178213" y="108490"/>
                  </a:lnTo>
                  <a:lnTo>
                    <a:pt x="180880" y="96203"/>
                  </a:lnTo>
                  <a:lnTo>
                    <a:pt x="203359" y="67246"/>
                  </a:lnTo>
                  <a:lnTo>
                    <a:pt x="224885" y="61532"/>
                  </a:lnTo>
                  <a:lnTo>
                    <a:pt x="247650" y="46482"/>
                  </a:lnTo>
                  <a:lnTo>
                    <a:pt x="249460" y="33052"/>
                  </a:lnTo>
                  <a:lnTo>
                    <a:pt x="249364" y="32957"/>
                  </a:lnTo>
                  <a:lnTo>
                    <a:pt x="249174" y="33052"/>
                  </a:lnTo>
                  <a:lnTo>
                    <a:pt x="238982" y="31814"/>
                  </a:lnTo>
                  <a:lnTo>
                    <a:pt x="236791" y="36386"/>
                  </a:lnTo>
                  <a:lnTo>
                    <a:pt x="229838" y="32099"/>
                  </a:lnTo>
                  <a:lnTo>
                    <a:pt x="224504" y="34957"/>
                  </a:lnTo>
                  <a:lnTo>
                    <a:pt x="220980" y="30194"/>
                  </a:lnTo>
                  <a:lnTo>
                    <a:pt x="219456" y="33528"/>
                  </a:lnTo>
                  <a:lnTo>
                    <a:pt x="214598" y="34481"/>
                  </a:lnTo>
                  <a:lnTo>
                    <a:pt x="210693" y="29909"/>
                  </a:lnTo>
                  <a:lnTo>
                    <a:pt x="213074" y="26289"/>
                  </a:lnTo>
                  <a:lnTo>
                    <a:pt x="207264" y="25337"/>
                  </a:lnTo>
                  <a:lnTo>
                    <a:pt x="198311" y="20574"/>
                  </a:lnTo>
                  <a:lnTo>
                    <a:pt x="197739" y="26289"/>
                  </a:lnTo>
                  <a:lnTo>
                    <a:pt x="187738" y="24860"/>
                  </a:lnTo>
                  <a:lnTo>
                    <a:pt x="184594" y="27051"/>
                  </a:lnTo>
                  <a:lnTo>
                    <a:pt x="180499" y="22765"/>
                  </a:lnTo>
                  <a:lnTo>
                    <a:pt x="172784" y="24194"/>
                  </a:lnTo>
                  <a:lnTo>
                    <a:pt x="169926" y="19621"/>
                  </a:lnTo>
                  <a:lnTo>
                    <a:pt x="161353" y="16574"/>
                  </a:lnTo>
                  <a:lnTo>
                    <a:pt x="155734" y="17240"/>
                  </a:lnTo>
                  <a:lnTo>
                    <a:pt x="156019" y="12002"/>
                  </a:lnTo>
                  <a:lnTo>
                    <a:pt x="148876" y="9335"/>
                  </a:lnTo>
                  <a:lnTo>
                    <a:pt x="124111" y="10954"/>
                  </a:lnTo>
                  <a:lnTo>
                    <a:pt x="112871" y="60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8" name="Freeform: Shape 2808">
              <a:extLst>
                <a:ext uri="{FF2B5EF4-FFF2-40B4-BE49-F238E27FC236}">
                  <a16:creationId xmlns:a16="http://schemas.microsoft.com/office/drawing/2014/main" id="{A15169EE-64BA-7930-3073-E58B8ED61382}"/>
                </a:ext>
              </a:extLst>
            </p:cNvPr>
            <p:cNvSpPr/>
            <p:nvPr/>
          </p:nvSpPr>
          <p:spPr>
            <a:xfrm>
              <a:off x="2009393" y="3606482"/>
              <a:ext cx="62960" cy="47625"/>
            </a:xfrm>
            <a:custGeom>
              <a:avLst/>
              <a:gdLst>
                <a:gd name="connsiteX0" fmla="*/ 16573 w 62960"/>
                <a:gd name="connsiteY0" fmla="*/ 34480 h 47625"/>
                <a:gd name="connsiteX1" fmla="*/ 12192 w 62960"/>
                <a:gd name="connsiteY1" fmla="*/ 47625 h 47625"/>
                <a:gd name="connsiteX2" fmla="*/ 5620 w 62960"/>
                <a:gd name="connsiteY2" fmla="*/ 39814 h 47625"/>
                <a:gd name="connsiteX3" fmla="*/ 6477 w 62960"/>
                <a:gd name="connsiteY3" fmla="*/ 30956 h 47625"/>
                <a:gd name="connsiteX4" fmla="*/ 11430 w 62960"/>
                <a:gd name="connsiteY4" fmla="*/ 30194 h 47625"/>
                <a:gd name="connsiteX5" fmla="*/ 2286 w 62960"/>
                <a:gd name="connsiteY5" fmla="*/ 21908 h 47625"/>
                <a:gd name="connsiteX6" fmla="*/ 5810 w 62960"/>
                <a:gd name="connsiteY6" fmla="*/ 17336 h 47625"/>
                <a:gd name="connsiteX7" fmla="*/ 0 w 62960"/>
                <a:gd name="connsiteY7" fmla="*/ 14002 h 47625"/>
                <a:gd name="connsiteX8" fmla="*/ 6001 w 62960"/>
                <a:gd name="connsiteY8" fmla="*/ 11335 h 47625"/>
                <a:gd name="connsiteX9" fmla="*/ 6763 w 62960"/>
                <a:gd name="connsiteY9" fmla="*/ 7715 h 47625"/>
                <a:gd name="connsiteX10" fmla="*/ 12573 w 62960"/>
                <a:gd name="connsiteY10" fmla="*/ 8573 h 47625"/>
                <a:gd name="connsiteX11" fmla="*/ 22384 w 62960"/>
                <a:gd name="connsiteY11" fmla="*/ 13049 h 47625"/>
                <a:gd name="connsiteX12" fmla="*/ 28861 w 62960"/>
                <a:gd name="connsiteY12" fmla="*/ 5715 h 47625"/>
                <a:gd name="connsiteX13" fmla="*/ 40767 w 62960"/>
                <a:gd name="connsiteY13" fmla="*/ 6953 h 47625"/>
                <a:gd name="connsiteX14" fmla="*/ 44101 w 62960"/>
                <a:gd name="connsiteY14" fmla="*/ 2858 h 47625"/>
                <a:gd name="connsiteX15" fmla="*/ 51054 w 62960"/>
                <a:gd name="connsiteY15" fmla="*/ 5429 h 47625"/>
                <a:gd name="connsiteX16" fmla="*/ 52102 w 62960"/>
                <a:gd name="connsiteY16" fmla="*/ 286 h 47625"/>
                <a:gd name="connsiteX17" fmla="*/ 58293 w 62960"/>
                <a:gd name="connsiteY17" fmla="*/ 0 h 47625"/>
                <a:gd name="connsiteX18" fmla="*/ 62960 w 62960"/>
                <a:gd name="connsiteY18" fmla="*/ 8858 h 47625"/>
                <a:gd name="connsiteX19" fmla="*/ 56769 w 62960"/>
                <a:gd name="connsiteY19" fmla="*/ 9239 h 47625"/>
                <a:gd name="connsiteX20" fmla="*/ 54673 w 62960"/>
                <a:gd name="connsiteY20" fmla="*/ 13049 h 47625"/>
                <a:gd name="connsiteX21" fmla="*/ 43529 w 62960"/>
                <a:gd name="connsiteY21" fmla="*/ 16193 h 47625"/>
                <a:gd name="connsiteX22" fmla="*/ 47435 w 62960"/>
                <a:gd name="connsiteY22" fmla="*/ 20384 h 47625"/>
                <a:gd name="connsiteX23" fmla="*/ 46196 w 62960"/>
                <a:gd name="connsiteY23" fmla="*/ 26098 h 47625"/>
                <a:gd name="connsiteX24" fmla="*/ 38195 w 62960"/>
                <a:gd name="connsiteY24" fmla="*/ 27051 h 47625"/>
                <a:gd name="connsiteX25" fmla="*/ 38957 w 62960"/>
                <a:gd name="connsiteY25" fmla="*/ 34957 h 47625"/>
                <a:gd name="connsiteX26" fmla="*/ 29146 w 62960"/>
                <a:gd name="connsiteY26" fmla="*/ 33433 h 47625"/>
                <a:gd name="connsiteX27" fmla="*/ 24003 w 62960"/>
                <a:gd name="connsiteY27" fmla="*/ 27718 h 47625"/>
                <a:gd name="connsiteX28" fmla="*/ 21622 w 62960"/>
                <a:gd name="connsiteY28" fmla="*/ 31813 h 47625"/>
                <a:gd name="connsiteX29" fmla="*/ 16573 w 62960"/>
                <a:gd name="connsiteY29" fmla="*/ 3448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960" h="47625">
                  <a:moveTo>
                    <a:pt x="16573" y="34480"/>
                  </a:moveTo>
                  <a:lnTo>
                    <a:pt x="12192" y="47625"/>
                  </a:lnTo>
                  <a:lnTo>
                    <a:pt x="5620" y="39814"/>
                  </a:lnTo>
                  <a:lnTo>
                    <a:pt x="6477" y="30956"/>
                  </a:lnTo>
                  <a:lnTo>
                    <a:pt x="11430" y="30194"/>
                  </a:lnTo>
                  <a:lnTo>
                    <a:pt x="2286" y="21908"/>
                  </a:lnTo>
                  <a:lnTo>
                    <a:pt x="5810" y="17336"/>
                  </a:lnTo>
                  <a:lnTo>
                    <a:pt x="0" y="14002"/>
                  </a:lnTo>
                  <a:lnTo>
                    <a:pt x="6001" y="11335"/>
                  </a:lnTo>
                  <a:lnTo>
                    <a:pt x="6763" y="7715"/>
                  </a:lnTo>
                  <a:lnTo>
                    <a:pt x="12573" y="8573"/>
                  </a:lnTo>
                  <a:lnTo>
                    <a:pt x="22384" y="13049"/>
                  </a:lnTo>
                  <a:lnTo>
                    <a:pt x="28861" y="5715"/>
                  </a:lnTo>
                  <a:lnTo>
                    <a:pt x="40767" y="6953"/>
                  </a:lnTo>
                  <a:lnTo>
                    <a:pt x="44101" y="2858"/>
                  </a:lnTo>
                  <a:lnTo>
                    <a:pt x="51054" y="5429"/>
                  </a:lnTo>
                  <a:lnTo>
                    <a:pt x="52102" y="286"/>
                  </a:lnTo>
                  <a:lnTo>
                    <a:pt x="58293" y="0"/>
                  </a:lnTo>
                  <a:lnTo>
                    <a:pt x="62960" y="8858"/>
                  </a:lnTo>
                  <a:lnTo>
                    <a:pt x="56769" y="9239"/>
                  </a:lnTo>
                  <a:lnTo>
                    <a:pt x="54673" y="13049"/>
                  </a:lnTo>
                  <a:lnTo>
                    <a:pt x="43529" y="16193"/>
                  </a:lnTo>
                  <a:lnTo>
                    <a:pt x="47435" y="20384"/>
                  </a:lnTo>
                  <a:lnTo>
                    <a:pt x="46196" y="26098"/>
                  </a:lnTo>
                  <a:lnTo>
                    <a:pt x="38195" y="27051"/>
                  </a:lnTo>
                  <a:lnTo>
                    <a:pt x="38957" y="34957"/>
                  </a:lnTo>
                  <a:lnTo>
                    <a:pt x="29146" y="33433"/>
                  </a:lnTo>
                  <a:lnTo>
                    <a:pt x="24003" y="27718"/>
                  </a:lnTo>
                  <a:lnTo>
                    <a:pt x="21622" y="31813"/>
                  </a:lnTo>
                  <a:lnTo>
                    <a:pt x="16573" y="3448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19" name="Freeform: Shape 2809">
              <a:extLst>
                <a:ext uri="{FF2B5EF4-FFF2-40B4-BE49-F238E27FC236}">
                  <a16:creationId xmlns:a16="http://schemas.microsoft.com/office/drawing/2014/main" id="{C6DF70E0-B8F9-07CD-1D19-B30DC04B7B07}"/>
                </a:ext>
              </a:extLst>
            </p:cNvPr>
            <p:cNvSpPr/>
            <p:nvPr/>
          </p:nvSpPr>
          <p:spPr>
            <a:xfrm>
              <a:off x="2077878" y="3538759"/>
              <a:ext cx="112775" cy="47053"/>
            </a:xfrm>
            <a:custGeom>
              <a:avLst/>
              <a:gdLst>
                <a:gd name="connsiteX0" fmla="*/ 112681 w 112775"/>
                <a:gd name="connsiteY0" fmla="*/ 13525 h 47053"/>
                <a:gd name="connsiteX1" fmla="*/ 103061 w 112775"/>
                <a:gd name="connsiteY1" fmla="*/ 11240 h 47053"/>
                <a:gd name="connsiteX2" fmla="*/ 101155 w 112775"/>
                <a:gd name="connsiteY2" fmla="*/ 6477 h 47053"/>
                <a:gd name="connsiteX3" fmla="*/ 87821 w 112775"/>
                <a:gd name="connsiteY3" fmla="*/ 4763 h 47053"/>
                <a:gd name="connsiteX4" fmla="*/ 81439 w 112775"/>
                <a:gd name="connsiteY4" fmla="*/ 8668 h 47053"/>
                <a:gd name="connsiteX5" fmla="*/ 76009 w 112775"/>
                <a:gd name="connsiteY5" fmla="*/ 4763 h 47053"/>
                <a:gd name="connsiteX6" fmla="*/ 73723 w 112775"/>
                <a:gd name="connsiteY6" fmla="*/ 7429 h 47053"/>
                <a:gd name="connsiteX7" fmla="*/ 70390 w 112775"/>
                <a:gd name="connsiteY7" fmla="*/ 4763 h 47053"/>
                <a:gd name="connsiteX8" fmla="*/ 64198 w 112775"/>
                <a:gd name="connsiteY8" fmla="*/ 10763 h 47053"/>
                <a:gd name="connsiteX9" fmla="*/ 58198 w 112775"/>
                <a:gd name="connsiteY9" fmla="*/ 10573 h 47053"/>
                <a:gd name="connsiteX10" fmla="*/ 58769 w 112775"/>
                <a:gd name="connsiteY10" fmla="*/ 5334 h 47053"/>
                <a:gd name="connsiteX11" fmla="*/ 54578 w 112775"/>
                <a:gd name="connsiteY11" fmla="*/ 4572 h 47053"/>
                <a:gd name="connsiteX12" fmla="*/ 51816 w 112775"/>
                <a:gd name="connsiteY12" fmla="*/ 0 h 47053"/>
                <a:gd name="connsiteX13" fmla="*/ 45815 w 112775"/>
                <a:gd name="connsiteY13" fmla="*/ 6001 h 47053"/>
                <a:gd name="connsiteX14" fmla="*/ 42386 w 112775"/>
                <a:gd name="connsiteY14" fmla="*/ 6191 h 47053"/>
                <a:gd name="connsiteX15" fmla="*/ 42196 w 112775"/>
                <a:gd name="connsiteY15" fmla="*/ 2667 h 47053"/>
                <a:gd name="connsiteX16" fmla="*/ 40196 w 112775"/>
                <a:gd name="connsiteY16" fmla="*/ 3048 h 47053"/>
                <a:gd name="connsiteX17" fmla="*/ 33433 w 112775"/>
                <a:gd name="connsiteY17" fmla="*/ 4382 h 47053"/>
                <a:gd name="connsiteX18" fmla="*/ 26860 w 112775"/>
                <a:gd name="connsiteY18" fmla="*/ 9144 h 47053"/>
                <a:gd name="connsiteX19" fmla="*/ 25146 w 112775"/>
                <a:gd name="connsiteY19" fmla="*/ 14383 h 47053"/>
                <a:gd name="connsiteX20" fmla="*/ 20479 w 112775"/>
                <a:gd name="connsiteY20" fmla="*/ 15050 h 47053"/>
                <a:gd name="connsiteX21" fmla="*/ 19717 w 112775"/>
                <a:gd name="connsiteY21" fmla="*/ 17907 h 47053"/>
                <a:gd name="connsiteX22" fmla="*/ 14478 w 112775"/>
                <a:gd name="connsiteY22" fmla="*/ 20383 h 47053"/>
                <a:gd name="connsiteX23" fmla="*/ 6191 w 112775"/>
                <a:gd name="connsiteY23" fmla="*/ 19336 h 47053"/>
                <a:gd name="connsiteX24" fmla="*/ 2667 w 112775"/>
                <a:gd name="connsiteY24" fmla="*/ 22955 h 47053"/>
                <a:gd name="connsiteX25" fmla="*/ 2096 w 112775"/>
                <a:gd name="connsiteY25" fmla="*/ 24765 h 47053"/>
                <a:gd name="connsiteX26" fmla="*/ 0 w 112775"/>
                <a:gd name="connsiteY26" fmla="*/ 30575 h 47053"/>
                <a:gd name="connsiteX27" fmla="*/ 6477 w 112775"/>
                <a:gd name="connsiteY27" fmla="*/ 40100 h 47053"/>
                <a:gd name="connsiteX28" fmla="*/ 8477 w 112775"/>
                <a:gd name="connsiteY28" fmla="*/ 38957 h 47053"/>
                <a:gd name="connsiteX29" fmla="*/ 18574 w 112775"/>
                <a:gd name="connsiteY29" fmla="*/ 45911 h 47053"/>
                <a:gd name="connsiteX30" fmla="*/ 29432 w 112775"/>
                <a:gd name="connsiteY30" fmla="*/ 47054 h 47053"/>
                <a:gd name="connsiteX31" fmla="*/ 39815 w 112775"/>
                <a:gd name="connsiteY31" fmla="*/ 44482 h 47053"/>
                <a:gd name="connsiteX32" fmla="*/ 37528 w 112775"/>
                <a:gd name="connsiteY32" fmla="*/ 39243 h 47053"/>
                <a:gd name="connsiteX33" fmla="*/ 51816 w 112775"/>
                <a:gd name="connsiteY33" fmla="*/ 38005 h 47053"/>
                <a:gd name="connsiteX34" fmla="*/ 52769 w 112775"/>
                <a:gd name="connsiteY34" fmla="*/ 34195 h 47053"/>
                <a:gd name="connsiteX35" fmla="*/ 56674 w 112775"/>
                <a:gd name="connsiteY35" fmla="*/ 33433 h 47053"/>
                <a:gd name="connsiteX36" fmla="*/ 61531 w 112775"/>
                <a:gd name="connsiteY36" fmla="*/ 36576 h 47053"/>
                <a:gd name="connsiteX37" fmla="*/ 65151 w 112775"/>
                <a:gd name="connsiteY37" fmla="*/ 32766 h 47053"/>
                <a:gd name="connsiteX38" fmla="*/ 69247 w 112775"/>
                <a:gd name="connsiteY38" fmla="*/ 34195 h 47053"/>
                <a:gd name="connsiteX39" fmla="*/ 72390 w 112775"/>
                <a:gd name="connsiteY39" fmla="*/ 27242 h 47053"/>
                <a:gd name="connsiteX40" fmla="*/ 77915 w 112775"/>
                <a:gd name="connsiteY40" fmla="*/ 25622 h 47053"/>
                <a:gd name="connsiteX41" fmla="*/ 84582 w 112775"/>
                <a:gd name="connsiteY41" fmla="*/ 28004 h 47053"/>
                <a:gd name="connsiteX42" fmla="*/ 90583 w 112775"/>
                <a:gd name="connsiteY42" fmla="*/ 25622 h 47053"/>
                <a:gd name="connsiteX43" fmla="*/ 94202 w 112775"/>
                <a:gd name="connsiteY43" fmla="*/ 27527 h 47053"/>
                <a:gd name="connsiteX44" fmla="*/ 97536 w 112775"/>
                <a:gd name="connsiteY44" fmla="*/ 31528 h 47053"/>
                <a:gd name="connsiteX45" fmla="*/ 104489 w 112775"/>
                <a:gd name="connsiteY45" fmla="*/ 30575 h 47053"/>
                <a:gd name="connsiteX46" fmla="*/ 104680 w 112775"/>
                <a:gd name="connsiteY46" fmla="*/ 25337 h 47053"/>
                <a:gd name="connsiteX47" fmla="*/ 109347 w 112775"/>
                <a:gd name="connsiteY47" fmla="*/ 22193 h 47053"/>
                <a:gd name="connsiteX48" fmla="*/ 112776 w 112775"/>
                <a:gd name="connsiteY48" fmla="*/ 13621 h 47053"/>
                <a:gd name="connsiteX49" fmla="*/ 112681 w 112775"/>
                <a:gd name="connsiteY49" fmla="*/ 13525 h 4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2775" h="47053">
                  <a:moveTo>
                    <a:pt x="112681" y="13525"/>
                  </a:moveTo>
                  <a:lnTo>
                    <a:pt x="103061" y="11240"/>
                  </a:lnTo>
                  <a:lnTo>
                    <a:pt x="101155" y="6477"/>
                  </a:lnTo>
                  <a:lnTo>
                    <a:pt x="87821" y="4763"/>
                  </a:lnTo>
                  <a:lnTo>
                    <a:pt x="81439" y="8668"/>
                  </a:lnTo>
                  <a:lnTo>
                    <a:pt x="76009" y="4763"/>
                  </a:lnTo>
                  <a:lnTo>
                    <a:pt x="73723" y="7429"/>
                  </a:lnTo>
                  <a:lnTo>
                    <a:pt x="70390" y="4763"/>
                  </a:lnTo>
                  <a:lnTo>
                    <a:pt x="64198" y="10763"/>
                  </a:lnTo>
                  <a:lnTo>
                    <a:pt x="58198" y="10573"/>
                  </a:lnTo>
                  <a:lnTo>
                    <a:pt x="58769" y="5334"/>
                  </a:lnTo>
                  <a:lnTo>
                    <a:pt x="54578" y="4572"/>
                  </a:lnTo>
                  <a:lnTo>
                    <a:pt x="51816" y="0"/>
                  </a:lnTo>
                  <a:lnTo>
                    <a:pt x="45815" y="6001"/>
                  </a:lnTo>
                  <a:lnTo>
                    <a:pt x="42386" y="6191"/>
                  </a:lnTo>
                  <a:lnTo>
                    <a:pt x="42196" y="2667"/>
                  </a:lnTo>
                  <a:lnTo>
                    <a:pt x="40196" y="3048"/>
                  </a:lnTo>
                  <a:lnTo>
                    <a:pt x="33433" y="4382"/>
                  </a:lnTo>
                  <a:lnTo>
                    <a:pt x="26860" y="9144"/>
                  </a:lnTo>
                  <a:lnTo>
                    <a:pt x="25146" y="14383"/>
                  </a:lnTo>
                  <a:lnTo>
                    <a:pt x="20479" y="15050"/>
                  </a:lnTo>
                  <a:lnTo>
                    <a:pt x="19717" y="17907"/>
                  </a:lnTo>
                  <a:lnTo>
                    <a:pt x="14478" y="20383"/>
                  </a:lnTo>
                  <a:lnTo>
                    <a:pt x="6191" y="19336"/>
                  </a:lnTo>
                  <a:lnTo>
                    <a:pt x="2667" y="22955"/>
                  </a:lnTo>
                  <a:lnTo>
                    <a:pt x="2096" y="24765"/>
                  </a:lnTo>
                  <a:lnTo>
                    <a:pt x="0" y="30575"/>
                  </a:lnTo>
                  <a:lnTo>
                    <a:pt x="6477" y="40100"/>
                  </a:lnTo>
                  <a:lnTo>
                    <a:pt x="8477" y="38957"/>
                  </a:lnTo>
                  <a:lnTo>
                    <a:pt x="18574" y="45911"/>
                  </a:lnTo>
                  <a:lnTo>
                    <a:pt x="29432" y="47054"/>
                  </a:lnTo>
                  <a:lnTo>
                    <a:pt x="39815" y="44482"/>
                  </a:lnTo>
                  <a:lnTo>
                    <a:pt x="37528" y="39243"/>
                  </a:lnTo>
                  <a:lnTo>
                    <a:pt x="51816" y="38005"/>
                  </a:lnTo>
                  <a:lnTo>
                    <a:pt x="52769" y="34195"/>
                  </a:lnTo>
                  <a:lnTo>
                    <a:pt x="56674" y="33433"/>
                  </a:lnTo>
                  <a:lnTo>
                    <a:pt x="61531" y="36576"/>
                  </a:lnTo>
                  <a:lnTo>
                    <a:pt x="65151" y="32766"/>
                  </a:lnTo>
                  <a:lnTo>
                    <a:pt x="69247" y="34195"/>
                  </a:lnTo>
                  <a:lnTo>
                    <a:pt x="72390" y="27242"/>
                  </a:lnTo>
                  <a:lnTo>
                    <a:pt x="77915" y="25622"/>
                  </a:lnTo>
                  <a:lnTo>
                    <a:pt x="84582" y="28004"/>
                  </a:lnTo>
                  <a:lnTo>
                    <a:pt x="90583" y="25622"/>
                  </a:lnTo>
                  <a:lnTo>
                    <a:pt x="94202" y="27527"/>
                  </a:lnTo>
                  <a:lnTo>
                    <a:pt x="97536" y="31528"/>
                  </a:lnTo>
                  <a:lnTo>
                    <a:pt x="104489" y="30575"/>
                  </a:lnTo>
                  <a:lnTo>
                    <a:pt x="104680" y="25337"/>
                  </a:lnTo>
                  <a:lnTo>
                    <a:pt x="109347" y="22193"/>
                  </a:lnTo>
                  <a:lnTo>
                    <a:pt x="112776" y="13621"/>
                  </a:lnTo>
                  <a:lnTo>
                    <a:pt x="112681" y="1352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0" name="Freeform: Shape 2810">
              <a:extLst>
                <a:ext uri="{FF2B5EF4-FFF2-40B4-BE49-F238E27FC236}">
                  <a16:creationId xmlns:a16="http://schemas.microsoft.com/office/drawing/2014/main" id="{44896539-B4ED-8A0D-998F-B17DBC4091DC}"/>
                </a:ext>
              </a:extLst>
            </p:cNvPr>
            <p:cNvSpPr/>
            <p:nvPr/>
          </p:nvSpPr>
          <p:spPr>
            <a:xfrm>
              <a:off x="2117883" y="3622293"/>
              <a:ext cx="82677" cy="101631"/>
            </a:xfrm>
            <a:custGeom>
              <a:avLst/>
              <a:gdLst>
                <a:gd name="connsiteX0" fmla="*/ 76486 w 82677"/>
                <a:gd name="connsiteY0" fmla="*/ 82201 h 101631"/>
                <a:gd name="connsiteX1" fmla="*/ 82677 w 82677"/>
                <a:gd name="connsiteY1" fmla="*/ 74295 h 101631"/>
                <a:gd name="connsiteX2" fmla="*/ 73057 w 82677"/>
                <a:gd name="connsiteY2" fmla="*/ 67913 h 101631"/>
                <a:gd name="connsiteX3" fmla="*/ 69247 w 82677"/>
                <a:gd name="connsiteY3" fmla="*/ 59912 h 101631"/>
                <a:gd name="connsiteX4" fmla="*/ 70485 w 82677"/>
                <a:gd name="connsiteY4" fmla="*/ 53912 h 101631"/>
                <a:gd name="connsiteX5" fmla="*/ 76581 w 82677"/>
                <a:gd name="connsiteY5" fmla="*/ 47339 h 101631"/>
                <a:gd name="connsiteX6" fmla="*/ 72104 w 82677"/>
                <a:gd name="connsiteY6" fmla="*/ 43720 h 101631"/>
                <a:gd name="connsiteX7" fmla="*/ 78486 w 82677"/>
                <a:gd name="connsiteY7" fmla="*/ 40481 h 101631"/>
                <a:gd name="connsiteX8" fmla="*/ 70295 w 82677"/>
                <a:gd name="connsiteY8" fmla="*/ 36671 h 101631"/>
                <a:gd name="connsiteX9" fmla="*/ 63532 w 82677"/>
                <a:gd name="connsiteY9" fmla="*/ 43339 h 101631"/>
                <a:gd name="connsiteX10" fmla="*/ 61246 w 82677"/>
                <a:gd name="connsiteY10" fmla="*/ 39243 h 101631"/>
                <a:gd name="connsiteX11" fmla="*/ 49625 w 82677"/>
                <a:gd name="connsiteY11" fmla="*/ 34766 h 101631"/>
                <a:gd name="connsiteX12" fmla="*/ 53531 w 82677"/>
                <a:gd name="connsiteY12" fmla="*/ 31623 h 101631"/>
                <a:gd name="connsiteX13" fmla="*/ 50673 w 82677"/>
                <a:gd name="connsiteY13" fmla="*/ 28765 h 101631"/>
                <a:gd name="connsiteX14" fmla="*/ 52959 w 82677"/>
                <a:gd name="connsiteY14" fmla="*/ 25241 h 101631"/>
                <a:gd name="connsiteX15" fmla="*/ 38005 w 82677"/>
                <a:gd name="connsiteY15" fmla="*/ 16954 h 101631"/>
                <a:gd name="connsiteX16" fmla="*/ 39529 w 82677"/>
                <a:gd name="connsiteY16" fmla="*/ 8382 h 101631"/>
                <a:gd name="connsiteX17" fmla="*/ 34957 w 82677"/>
                <a:gd name="connsiteY17" fmla="*/ 10001 h 101631"/>
                <a:gd name="connsiteX18" fmla="*/ 29718 w 82677"/>
                <a:gd name="connsiteY18" fmla="*/ 5620 h 101631"/>
                <a:gd name="connsiteX19" fmla="*/ 25432 w 82677"/>
                <a:gd name="connsiteY19" fmla="*/ 1238 h 101631"/>
                <a:gd name="connsiteX20" fmla="*/ 18383 w 82677"/>
                <a:gd name="connsiteY20" fmla="*/ 2572 h 101631"/>
                <a:gd name="connsiteX21" fmla="*/ 14669 w 82677"/>
                <a:gd name="connsiteY21" fmla="*/ 0 h 101631"/>
                <a:gd name="connsiteX22" fmla="*/ 6191 w 82677"/>
                <a:gd name="connsiteY22" fmla="*/ 5810 h 101631"/>
                <a:gd name="connsiteX23" fmla="*/ 0 w 82677"/>
                <a:gd name="connsiteY23" fmla="*/ 7715 h 101631"/>
                <a:gd name="connsiteX24" fmla="*/ 1143 w 82677"/>
                <a:gd name="connsiteY24" fmla="*/ 15335 h 101631"/>
                <a:gd name="connsiteX25" fmla="*/ 5048 w 82677"/>
                <a:gd name="connsiteY25" fmla="*/ 17050 h 101631"/>
                <a:gd name="connsiteX26" fmla="*/ 3334 w 82677"/>
                <a:gd name="connsiteY26" fmla="*/ 20384 h 101631"/>
                <a:gd name="connsiteX27" fmla="*/ 10858 w 82677"/>
                <a:gd name="connsiteY27" fmla="*/ 24670 h 101631"/>
                <a:gd name="connsiteX28" fmla="*/ 4477 w 82677"/>
                <a:gd name="connsiteY28" fmla="*/ 27337 h 101631"/>
                <a:gd name="connsiteX29" fmla="*/ 3715 w 82677"/>
                <a:gd name="connsiteY29" fmla="*/ 32766 h 101631"/>
                <a:gd name="connsiteX30" fmla="*/ 9716 w 82677"/>
                <a:gd name="connsiteY30" fmla="*/ 32290 h 101631"/>
                <a:gd name="connsiteX31" fmla="*/ 10097 w 82677"/>
                <a:gd name="connsiteY31" fmla="*/ 38290 h 101631"/>
                <a:gd name="connsiteX32" fmla="*/ 4286 w 82677"/>
                <a:gd name="connsiteY32" fmla="*/ 44291 h 101631"/>
                <a:gd name="connsiteX33" fmla="*/ 5048 w 82677"/>
                <a:gd name="connsiteY33" fmla="*/ 47815 h 101631"/>
                <a:gd name="connsiteX34" fmla="*/ 10477 w 82677"/>
                <a:gd name="connsiteY34" fmla="*/ 48101 h 101631"/>
                <a:gd name="connsiteX35" fmla="*/ 15335 w 82677"/>
                <a:gd name="connsiteY35" fmla="*/ 55054 h 101631"/>
                <a:gd name="connsiteX36" fmla="*/ 8192 w 82677"/>
                <a:gd name="connsiteY36" fmla="*/ 55245 h 101631"/>
                <a:gd name="connsiteX37" fmla="*/ 13335 w 82677"/>
                <a:gd name="connsiteY37" fmla="*/ 64294 h 101631"/>
                <a:gd name="connsiteX38" fmla="*/ 9335 w 82677"/>
                <a:gd name="connsiteY38" fmla="*/ 64103 h 101631"/>
                <a:gd name="connsiteX39" fmla="*/ 14002 w 82677"/>
                <a:gd name="connsiteY39" fmla="*/ 76486 h 101631"/>
                <a:gd name="connsiteX40" fmla="*/ 21241 w 82677"/>
                <a:gd name="connsiteY40" fmla="*/ 82582 h 101631"/>
                <a:gd name="connsiteX41" fmla="*/ 23622 w 82677"/>
                <a:gd name="connsiteY41" fmla="*/ 89059 h 101631"/>
                <a:gd name="connsiteX42" fmla="*/ 26384 w 82677"/>
                <a:gd name="connsiteY42" fmla="*/ 96869 h 101631"/>
                <a:gd name="connsiteX43" fmla="*/ 32861 w 82677"/>
                <a:gd name="connsiteY43" fmla="*/ 101632 h 101631"/>
                <a:gd name="connsiteX44" fmla="*/ 37910 w 82677"/>
                <a:gd name="connsiteY44" fmla="*/ 100489 h 101631"/>
                <a:gd name="connsiteX45" fmla="*/ 44958 w 82677"/>
                <a:gd name="connsiteY45" fmla="*/ 98774 h 101631"/>
                <a:gd name="connsiteX46" fmla="*/ 48577 w 82677"/>
                <a:gd name="connsiteY46" fmla="*/ 101060 h 101631"/>
                <a:gd name="connsiteX47" fmla="*/ 51721 w 82677"/>
                <a:gd name="connsiteY47" fmla="*/ 95631 h 101631"/>
                <a:gd name="connsiteX48" fmla="*/ 58102 w 82677"/>
                <a:gd name="connsiteY48" fmla="*/ 97822 h 101631"/>
                <a:gd name="connsiteX49" fmla="*/ 68294 w 82677"/>
                <a:gd name="connsiteY49" fmla="*/ 94012 h 101631"/>
                <a:gd name="connsiteX50" fmla="*/ 73343 w 82677"/>
                <a:gd name="connsiteY50" fmla="*/ 92107 h 101631"/>
                <a:gd name="connsiteX51" fmla="*/ 70485 w 82677"/>
                <a:gd name="connsiteY51" fmla="*/ 87344 h 101631"/>
                <a:gd name="connsiteX52" fmla="*/ 71247 w 82677"/>
                <a:gd name="connsiteY52" fmla="*/ 80963 h 101631"/>
                <a:gd name="connsiteX53" fmla="*/ 76486 w 82677"/>
                <a:gd name="connsiteY53" fmla="*/ 82201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677" h="101631">
                  <a:moveTo>
                    <a:pt x="76486" y="82201"/>
                  </a:moveTo>
                  <a:lnTo>
                    <a:pt x="82677" y="74295"/>
                  </a:lnTo>
                  <a:lnTo>
                    <a:pt x="73057" y="67913"/>
                  </a:lnTo>
                  <a:lnTo>
                    <a:pt x="69247" y="59912"/>
                  </a:lnTo>
                  <a:lnTo>
                    <a:pt x="70485" y="53912"/>
                  </a:lnTo>
                  <a:lnTo>
                    <a:pt x="76581" y="47339"/>
                  </a:lnTo>
                  <a:lnTo>
                    <a:pt x="72104" y="43720"/>
                  </a:lnTo>
                  <a:lnTo>
                    <a:pt x="78486" y="40481"/>
                  </a:lnTo>
                  <a:lnTo>
                    <a:pt x="70295" y="36671"/>
                  </a:lnTo>
                  <a:lnTo>
                    <a:pt x="63532" y="43339"/>
                  </a:lnTo>
                  <a:lnTo>
                    <a:pt x="61246" y="39243"/>
                  </a:lnTo>
                  <a:lnTo>
                    <a:pt x="49625" y="34766"/>
                  </a:lnTo>
                  <a:lnTo>
                    <a:pt x="53531" y="31623"/>
                  </a:lnTo>
                  <a:lnTo>
                    <a:pt x="50673" y="28765"/>
                  </a:lnTo>
                  <a:lnTo>
                    <a:pt x="52959" y="25241"/>
                  </a:lnTo>
                  <a:lnTo>
                    <a:pt x="38005" y="16954"/>
                  </a:lnTo>
                  <a:lnTo>
                    <a:pt x="39529" y="8382"/>
                  </a:lnTo>
                  <a:lnTo>
                    <a:pt x="34957" y="10001"/>
                  </a:lnTo>
                  <a:lnTo>
                    <a:pt x="29718" y="5620"/>
                  </a:lnTo>
                  <a:lnTo>
                    <a:pt x="25432" y="1238"/>
                  </a:lnTo>
                  <a:lnTo>
                    <a:pt x="18383" y="2572"/>
                  </a:lnTo>
                  <a:lnTo>
                    <a:pt x="14669" y="0"/>
                  </a:lnTo>
                  <a:lnTo>
                    <a:pt x="6191" y="5810"/>
                  </a:lnTo>
                  <a:lnTo>
                    <a:pt x="0" y="7715"/>
                  </a:lnTo>
                  <a:lnTo>
                    <a:pt x="1143" y="15335"/>
                  </a:lnTo>
                  <a:lnTo>
                    <a:pt x="5048" y="17050"/>
                  </a:lnTo>
                  <a:lnTo>
                    <a:pt x="3334" y="20384"/>
                  </a:lnTo>
                  <a:lnTo>
                    <a:pt x="10858" y="24670"/>
                  </a:lnTo>
                  <a:lnTo>
                    <a:pt x="4477" y="27337"/>
                  </a:lnTo>
                  <a:lnTo>
                    <a:pt x="3715" y="32766"/>
                  </a:lnTo>
                  <a:lnTo>
                    <a:pt x="9716" y="32290"/>
                  </a:lnTo>
                  <a:lnTo>
                    <a:pt x="10097" y="38290"/>
                  </a:lnTo>
                  <a:lnTo>
                    <a:pt x="4286" y="44291"/>
                  </a:lnTo>
                  <a:lnTo>
                    <a:pt x="5048" y="47815"/>
                  </a:lnTo>
                  <a:lnTo>
                    <a:pt x="10477" y="48101"/>
                  </a:lnTo>
                  <a:lnTo>
                    <a:pt x="15335" y="55054"/>
                  </a:lnTo>
                  <a:lnTo>
                    <a:pt x="8192" y="55245"/>
                  </a:lnTo>
                  <a:lnTo>
                    <a:pt x="13335" y="64294"/>
                  </a:lnTo>
                  <a:lnTo>
                    <a:pt x="9335" y="64103"/>
                  </a:lnTo>
                  <a:lnTo>
                    <a:pt x="14002" y="76486"/>
                  </a:lnTo>
                  <a:lnTo>
                    <a:pt x="21241" y="82582"/>
                  </a:lnTo>
                  <a:lnTo>
                    <a:pt x="23622" y="89059"/>
                  </a:lnTo>
                  <a:lnTo>
                    <a:pt x="26384" y="96869"/>
                  </a:lnTo>
                  <a:lnTo>
                    <a:pt x="32861" y="101632"/>
                  </a:lnTo>
                  <a:lnTo>
                    <a:pt x="37910" y="100489"/>
                  </a:lnTo>
                  <a:lnTo>
                    <a:pt x="44958" y="98774"/>
                  </a:lnTo>
                  <a:lnTo>
                    <a:pt x="48577" y="101060"/>
                  </a:lnTo>
                  <a:lnTo>
                    <a:pt x="51721" y="95631"/>
                  </a:lnTo>
                  <a:lnTo>
                    <a:pt x="58102" y="97822"/>
                  </a:lnTo>
                  <a:lnTo>
                    <a:pt x="68294" y="94012"/>
                  </a:lnTo>
                  <a:lnTo>
                    <a:pt x="73343" y="92107"/>
                  </a:lnTo>
                  <a:lnTo>
                    <a:pt x="70485" y="87344"/>
                  </a:lnTo>
                  <a:lnTo>
                    <a:pt x="71247" y="80963"/>
                  </a:lnTo>
                  <a:lnTo>
                    <a:pt x="76486" y="8220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1" name="Freeform: Shape 2811">
              <a:extLst>
                <a:ext uri="{FF2B5EF4-FFF2-40B4-BE49-F238E27FC236}">
                  <a16:creationId xmlns:a16="http://schemas.microsoft.com/office/drawing/2014/main" id="{82450C9F-4C71-42A8-7B9C-50C626ACB068}"/>
                </a:ext>
              </a:extLst>
            </p:cNvPr>
            <p:cNvSpPr/>
            <p:nvPr/>
          </p:nvSpPr>
          <p:spPr>
            <a:xfrm>
              <a:off x="2762535" y="2655887"/>
              <a:ext cx="344995" cy="254126"/>
            </a:xfrm>
            <a:custGeom>
              <a:avLst/>
              <a:gdLst>
                <a:gd name="connsiteX0" fmla="*/ 338804 w 344995"/>
                <a:gd name="connsiteY0" fmla="*/ 0 h 254126"/>
                <a:gd name="connsiteX1" fmla="*/ 309086 w 344995"/>
                <a:gd name="connsiteY1" fmla="*/ 0 h 254126"/>
                <a:gd name="connsiteX2" fmla="*/ 289274 w 344995"/>
                <a:gd name="connsiteY2" fmla="*/ 16573 h 254126"/>
                <a:gd name="connsiteX3" fmla="*/ 219932 w 344995"/>
                <a:gd name="connsiteY3" fmla="*/ 30385 h 254126"/>
                <a:gd name="connsiteX4" fmla="*/ 191548 w 344995"/>
                <a:gd name="connsiteY4" fmla="*/ 27146 h 254126"/>
                <a:gd name="connsiteX5" fmla="*/ 176689 w 344995"/>
                <a:gd name="connsiteY5" fmla="*/ 38386 h 254126"/>
                <a:gd name="connsiteX6" fmla="*/ 141732 w 344995"/>
                <a:gd name="connsiteY6" fmla="*/ 44482 h 254126"/>
                <a:gd name="connsiteX7" fmla="*/ 146399 w 344995"/>
                <a:gd name="connsiteY7" fmla="*/ 54292 h 254126"/>
                <a:gd name="connsiteX8" fmla="*/ 130397 w 344995"/>
                <a:gd name="connsiteY8" fmla="*/ 50959 h 254126"/>
                <a:gd name="connsiteX9" fmla="*/ 125444 w 344995"/>
                <a:gd name="connsiteY9" fmla="*/ 64865 h 254126"/>
                <a:gd name="connsiteX10" fmla="*/ 106871 w 344995"/>
                <a:gd name="connsiteY10" fmla="*/ 71818 h 254126"/>
                <a:gd name="connsiteX11" fmla="*/ 89821 w 344995"/>
                <a:gd name="connsiteY11" fmla="*/ 69437 h 254126"/>
                <a:gd name="connsiteX12" fmla="*/ 104108 w 344995"/>
                <a:gd name="connsiteY12" fmla="*/ 82677 h 254126"/>
                <a:gd name="connsiteX13" fmla="*/ 87535 w 344995"/>
                <a:gd name="connsiteY13" fmla="*/ 85344 h 254126"/>
                <a:gd name="connsiteX14" fmla="*/ 106680 w 344995"/>
                <a:gd name="connsiteY14" fmla="*/ 94107 h 254126"/>
                <a:gd name="connsiteX15" fmla="*/ 88487 w 344995"/>
                <a:gd name="connsiteY15" fmla="*/ 113157 h 254126"/>
                <a:gd name="connsiteX16" fmla="*/ 44577 w 344995"/>
                <a:gd name="connsiteY16" fmla="*/ 125063 h 254126"/>
                <a:gd name="connsiteX17" fmla="*/ 55817 w 344995"/>
                <a:gd name="connsiteY17" fmla="*/ 132969 h 254126"/>
                <a:gd name="connsiteX18" fmla="*/ 78296 w 344995"/>
                <a:gd name="connsiteY18" fmla="*/ 128302 h 254126"/>
                <a:gd name="connsiteX19" fmla="*/ 49054 w 344995"/>
                <a:gd name="connsiteY19" fmla="*/ 144494 h 254126"/>
                <a:gd name="connsiteX20" fmla="*/ 46863 w 344995"/>
                <a:gd name="connsiteY20" fmla="*/ 144875 h 254126"/>
                <a:gd name="connsiteX21" fmla="*/ 29051 w 344995"/>
                <a:gd name="connsiteY21" fmla="*/ 182594 h 254126"/>
                <a:gd name="connsiteX22" fmla="*/ 3905 w 344995"/>
                <a:gd name="connsiteY22" fmla="*/ 193167 h 254126"/>
                <a:gd name="connsiteX23" fmla="*/ 0 w 344995"/>
                <a:gd name="connsiteY23" fmla="*/ 205073 h 254126"/>
                <a:gd name="connsiteX24" fmla="*/ 38671 w 344995"/>
                <a:gd name="connsiteY24" fmla="*/ 213646 h 254126"/>
                <a:gd name="connsiteX25" fmla="*/ 40100 w 344995"/>
                <a:gd name="connsiteY25" fmla="*/ 219265 h 254126"/>
                <a:gd name="connsiteX26" fmla="*/ 49625 w 344995"/>
                <a:gd name="connsiteY26" fmla="*/ 218122 h 254126"/>
                <a:gd name="connsiteX27" fmla="*/ 41243 w 344995"/>
                <a:gd name="connsiteY27" fmla="*/ 228600 h 254126"/>
                <a:gd name="connsiteX28" fmla="*/ 56102 w 344995"/>
                <a:gd name="connsiteY28" fmla="*/ 231553 h 254126"/>
                <a:gd name="connsiteX29" fmla="*/ 41434 w 344995"/>
                <a:gd name="connsiteY29" fmla="*/ 236791 h 254126"/>
                <a:gd name="connsiteX30" fmla="*/ 40958 w 344995"/>
                <a:gd name="connsiteY30" fmla="*/ 243459 h 254126"/>
                <a:gd name="connsiteX31" fmla="*/ 66389 w 344995"/>
                <a:gd name="connsiteY31" fmla="*/ 250126 h 254126"/>
                <a:gd name="connsiteX32" fmla="*/ 79534 w 344995"/>
                <a:gd name="connsiteY32" fmla="*/ 246126 h 254126"/>
                <a:gd name="connsiteX33" fmla="*/ 102013 w 344995"/>
                <a:gd name="connsiteY33" fmla="*/ 254127 h 254126"/>
                <a:gd name="connsiteX34" fmla="*/ 101346 w 344995"/>
                <a:gd name="connsiteY34" fmla="*/ 246126 h 254126"/>
                <a:gd name="connsiteX35" fmla="*/ 105632 w 344995"/>
                <a:gd name="connsiteY35" fmla="*/ 248126 h 254126"/>
                <a:gd name="connsiteX36" fmla="*/ 123444 w 344995"/>
                <a:gd name="connsiteY36" fmla="*/ 246793 h 254126"/>
                <a:gd name="connsiteX37" fmla="*/ 95726 w 344995"/>
                <a:gd name="connsiteY37" fmla="*/ 228219 h 254126"/>
                <a:gd name="connsiteX38" fmla="*/ 75629 w 344995"/>
                <a:gd name="connsiteY38" fmla="*/ 199834 h 254126"/>
                <a:gd name="connsiteX39" fmla="*/ 73628 w 344995"/>
                <a:gd name="connsiteY39" fmla="*/ 178594 h 254126"/>
                <a:gd name="connsiteX40" fmla="*/ 79915 w 344995"/>
                <a:gd name="connsiteY40" fmla="*/ 165449 h 254126"/>
                <a:gd name="connsiteX41" fmla="*/ 95726 w 344995"/>
                <a:gd name="connsiteY41" fmla="*/ 161449 h 254126"/>
                <a:gd name="connsiteX42" fmla="*/ 83534 w 344995"/>
                <a:gd name="connsiteY42" fmla="*/ 158115 h 254126"/>
                <a:gd name="connsiteX43" fmla="*/ 87154 w 344995"/>
                <a:gd name="connsiteY43" fmla="*/ 154114 h 254126"/>
                <a:gd name="connsiteX44" fmla="*/ 102394 w 344995"/>
                <a:gd name="connsiteY44" fmla="*/ 150209 h 254126"/>
                <a:gd name="connsiteX45" fmla="*/ 87154 w 344995"/>
                <a:gd name="connsiteY45" fmla="*/ 145542 h 254126"/>
                <a:gd name="connsiteX46" fmla="*/ 80010 w 344995"/>
                <a:gd name="connsiteY46" fmla="*/ 143351 h 254126"/>
                <a:gd name="connsiteX47" fmla="*/ 89154 w 344995"/>
                <a:gd name="connsiteY47" fmla="*/ 139636 h 254126"/>
                <a:gd name="connsiteX48" fmla="*/ 105346 w 344995"/>
                <a:gd name="connsiteY48" fmla="*/ 146875 h 254126"/>
                <a:gd name="connsiteX49" fmla="*/ 110966 w 344995"/>
                <a:gd name="connsiteY49" fmla="*/ 142875 h 254126"/>
                <a:gd name="connsiteX50" fmla="*/ 105346 w 344995"/>
                <a:gd name="connsiteY50" fmla="*/ 130302 h 254126"/>
                <a:gd name="connsiteX51" fmla="*/ 121920 w 344995"/>
                <a:gd name="connsiteY51" fmla="*/ 130111 h 254126"/>
                <a:gd name="connsiteX52" fmla="*/ 110966 w 344995"/>
                <a:gd name="connsiteY52" fmla="*/ 121825 h 254126"/>
                <a:gd name="connsiteX53" fmla="*/ 128778 w 344995"/>
                <a:gd name="connsiteY53" fmla="*/ 122396 h 254126"/>
                <a:gd name="connsiteX54" fmla="*/ 119158 w 344995"/>
                <a:gd name="connsiteY54" fmla="*/ 109823 h 254126"/>
                <a:gd name="connsiteX55" fmla="*/ 135065 w 344995"/>
                <a:gd name="connsiteY55" fmla="*/ 117157 h 254126"/>
                <a:gd name="connsiteX56" fmla="*/ 134398 w 344995"/>
                <a:gd name="connsiteY56" fmla="*/ 94583 h 254126"/>
                <a:gd name="connsiteX57" fmla="*/ 152876 w 344995"/>
                <a:gd name="connsiteY57" fmla="*/ 87344 h 254126"/>
                <a:gd name="connsiteX58" fmla="*/ 165449 w 344995"/>
                <a:gd name="connsiteY58" fmla="*/ 93916 h 254126"/>
                <a:gd name="connsiteX59" fmla="*/ 177641 w 344995"/>
                <a:gd name="connsiteY59" fmla="*/ 86011 h 254126"/>
                <a:gd name="connsiteX60" fmla="*/ 169069 w 344995"/>
                <a:gd name="connsiteY60" fmla="*/ 77438 h 254126"/>
                <a:gd name="connsiteX61" fmla="*/ 195834 w 344995"/>
                <a:gd name="connsiteY61" fmla="*/ 64198 h 254126"/>
                <a:gd name="connsiteX62" fmla="*/ 240697 w 344995"/>
                <a:gd name="connsiteY62" fmla="*/ 52292 h 254126"/>
                <a:gd name="connsiteX63" fmla="*/ 239935 w 344995"/>
                <a:gd name="connsiteY63" fmla="*/ 44863 h 254126"/>
                <a:gd name="connsiteX64" fmla="*/ 247079 w 344995"/>
                <a:gd name="connsiteY64" fmla="*/ 51054 h 254126"/>
                <a:gd name="connsiteX65" fmla="*/ 272034 w 344995"/>
                <a:gd name="connsiteY65" fmla="*/ 45625 h 254126"/>
                <a:gd name="connsiteX66" fmla="*/ 280988 w 344995"/>
                <a:gd name="connsiteY66" fmla="*/ 40195 h 254126"/>
                <a:gd name="connsiteX67" fmla="*/ 335185 w 344995"/>
                <a:gd name="connsiteY67" fmla="*/ 26479 h 254126"/>
                <a:gd name="connsiteX68" fmla="*/ 344996 w 344995"/>
                <a:gd name="connsiteY68" fmla="*/ 13049 h 254126"/>
                <a:gd name="connsiteX69" fmla="*/ 338804 w 344995"/>
                <a:gd name="connsiteY69" fmla="*/ 0 h 254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44995" h="254126">
                  <a:moveTo>
                    <a:pt x="338804" y="0"/>
                  </a:moveTo>
                  <a:lnTo>
                    <a:pt x="309086" y="0"/>
                  </a:lnTo>
                  <a:lnTo>
                    <a:pt x="289274" y="16573"/>
                  </a:lnTo>
                  <a:lnTo>
                    <a:pt x="219932" y="30385"/>
                  </a:lnTo>
                  <a:lnTo>
                    <a:pt x="191548" y="27146"/>
                  </a:lnTo>
                  <a:lnTo>
                    <a:pt x="176689" y="38386"/>
                  </a:lnTo>
                  <a:lnTo>
                    <a:pt x="141732" y="44482"/>
                  </a:lnTo>
                  <a:lnTo>
                    <a:pt x="146399" y="54292"/>
                  </a:lnTo>
                  <a:lnTo>
                    <a:pt x="130397" y="50959"/>
                  </a:lnTo>
                  <a:lnTo>
                    <a:pt x="125444" y="64865"/>
                  </a:lnTo>
                  <a:lnTo>
                    <a:pt x="106871" y="71818"/>
                  </a:lnTo>
                  <a:lnTo>
                    <a:pt x="89821" y="69437"/>
                  </a:lnTo>
                  <a:lnTo>
                    <a:pt x="104108" y="82677"/>
                  </a:lnTo>
                  <a:lnTo>
                    <a:pt x="87535" y="85344"/>
                  </a:lnTo>
                  <a:lnTo>
                    <a:pt x="106680" y="94107"/>
                  </a:lnTo>
                  <a:lnTo>
                    <a:pt x="88487" y="113157"/>
                  </a:lnTo>
                  <a:lnTo>
                    <a:pt x="44577" y="125063"/>
                  </a:lnTo>
                  <a:lnTo>
                    <a:pt x="55817" y="132969"/>
                  </a:lnTo>
                  <a:lnTo>
                    <a:pt x="78296" y="128302"/>
                  </a:lnTo>
                  <a:lnTo>
                    <a:pt x="49054" y="144494"/>
                  </a:lnTo>
                  <a:lnTo>
                    <a:pt x="46863" y="144875"/>
                  </a:lnTo>
                  <a:lnTo>
                    <a:pt x="29051" y="182594"/>
                  </a:lnTo>
                  <a:lnTo>
                    <a:pt x="3905" y="193167"/>
                  </a:lnTo>
                  <a:lnTo>
                    <a:pt x="0" y="205073"/>
                  </a:lnTo>
                  <a:lnTo>
                    <a:pt x="38671" y="213646"/>
                  </a:lnTo>
                  <a:lnTo>
                    <a:pt x="40100" y="219265"/>
                  </a:lnTo>
                  <a:lnTo>
                    <a:pt x="49625" y="218122"/>
                  </a:lnTo>
                  <a:lnTo>
                    <a:pt x="41243" y="228600"/>
                  </a:lnTo>
                  <a:lnTo>
                    <a:pt x="56102" y="231553"/>
                  </a:lnTo>
                  <a:lnTo>
                    <a:pt x="41434" y="236791"/>
                  </a:lnTo>
                  <a:lnTo>
                    <a:pt x="40958" y="243459"/>
                  </a:lnTo>
                  <a:lnTo>
                    <a:pt x="66389" y="250126"/>
                  </a:lnTo>
                  <a:lnTo>
                    <a:pt x="79534" y="246126"/>
                  </a:lnTo>
                  <a:lnTo>
                    <a:pt x="102013" y="254127"/>
                  </a:lnTo>
                  <a:lnTo>
                    <a:pt x="101346" y="246126"/>
                  </a:lnTo>
                  <a:lnTo>
                    <a:pt x="105632" y="248126"/>
                  </a:lnTo>
                  <a:lnTo>
                    <a:pt x="123444" y="246793"/>
                  </a:lnTo>
                  <a:lnTo>
                    <a:pt x="95726" y="228219"/>
                  </a:lnTo>
                  <a:lnTo>
                    <a:pt x="75629" y="199834"/>
                  </a:lnTo>
                  <a:lnTo>
                    <a:pt x="73628" y="178594"/>
                  </a:lnTo>
                  <a:lnTo>
                    <a:pt x="79915" y="165449"/>
                  </a:lnTo>
                  <a:lnTo>
                    <a:pt x="95726" y="161449"/>
                  </a:lnTo>
                  <a:lnTo>
                    <a:pt x="83534" y="158115"/>
                  </a:lnTo>
                  <a:lnTo>
                    <a:pt x="87154" y="154114"/>
                  </a:lnTo>
                  <a:lnTo>
                    <a:pt x="102394" y="150209"/>
                  </a:lnTo>
                  <a:lnTo>
                    <a:pt x="87154" y="145542"/>
                  </a:lnTo>
                  <a:lnTo>
                    <a:pt x="80010" y="143351"/>
                  </a:lnTo>
                  <a:lnTo>
                    <a:pt x="89154" y="139636"/>
                  </a:lnTo>
                  <a:lnTo>
                    <a:pt x="105346" y="146875"/>
                  </a:lnTo>
                  <a:lnTo>
                    <a:pt x="110966" y="142875"/>
                  </a:lnTo>
                  <a:lnTo>
                    <a:pt x="105346" y="130302"/>
                  </a:lnTo>
                  <a:lnTo>
                    <a:pt x="121920" y="130111"/>
                  </a:lnTo>
                  <a:lnTo>
                    <a:pt x="110966" y="121825"/>
                  </a:lnTo>
                  <a:lnTo>
                    <a:pt x="128778" y="122396"/>
                  </a:lnTo>
                  <a:lnTo>
                    <a:pt x="119158" y="109823"/>
                  </a:lnTo>
                  <a:lnTo>
                    <a:pt x="135065" y="117157"/>
                  </a:lnTo>
                  <a:lnTo>
                    <a:pt x="134398" y="94583"/>
                  </a:lnTo>
                  <a:lnTo>
                    <a:pt x="152876" y="87344"/>
                  </a:lnTo>
                  <a:lnTo>
                    <a:pt x="165449" y="93916"/>
                  </a:lnTo>
                  <a:lnTo>
                    <a:pt x="177641" y="86011"/>
                  </a:lnTo>
                  <a:lnTo>
                    <a:pt x="169069" y="77438"/>
                  </a:lnTo>
                  <a:lnTo>
                    <a:pt x="195834" y="64198"/>
                  </a:lnTo>
                  <a:lnTo>
                    <a:pt x="240697" y="52292"/>
                  </a:lnTo>
                  <a:lnTo>
                    <a:pt x="239935" y="44863"/>
                  </a:lnTo>
                  <a:lnTo>
                    <a:pt x="247079" y="51054"/>
                  </a:lnTo>
                  <a:lnTo>
                    <a:pt x="272034" y="45625"/>
                  </a:lnTo>
                  <a:lnTo>
                    <a:pt x="280988" y="40195"/>
                  </a:lnTo>
                  <a:lnTo>
                    <a:pt x="335185" y="26479"/>
                  </a:lnTo>
                  <a:lnTo>
                    <a:pt x="344996" y="13049"/>
                  </a:lnTo>
                  <a:lnTo>
                    <a:pt x="33880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2" name="Freeform: Shape 2812">
              <a:extLst>
                <a:ext uri="{FF2B5EF4-FFF2-40B4-BE49-F238E27FC236}">
                  <a16:creationId xmlns:a16="http://schemas.microsoft.com/office/drawing/2014/main" id="{319C6B1F-4C48-5899-0F9C-61EBB12698F3}"/>
                </a:ext>
              </a:extLst>
            </p:cNvPr>
            <p:cNvSpPr/>
            <p:nvPr/>
          </p:nvSpPr>
          <p:spPr>
            <a:xfrm>
              <a:off x="2696241" y="2950686"/>
              <a:ext cx="43338" cy="20764"/>
            </a:xfrm>
            <a:custGeom>
              <a:avLst/>
              <a:gdLst>
                <a:gd name="connsiteX0" fmla="*/ 11239 w 43338"/>
                <a:gd name="connsiteY0" fmla="*/ 0 h 20764"/>
                <a:gd name="connsiteX1" fmla="*/ 0 w 43338"/>
                <a:gd name="connsiteY1" fmla="*/ 13811 h 20764"/>
                <a:gd name="connsiteX2" fmla="*/ 21241 w 43338"/>
                <a:gd name="connsiteY2" fmla="*/ 20764 h 20764"/>
                <a:gd name="connsiteX3" fmla="*/ 43339 w 43338"/>
                <a:gd name="connsiteY3" fmla="*/ 5715 h 20764"/>
                <a:gd name="connsiteX4" fmla="*/ 11239 w 43338"/>
                <a:gd name="connsiteY4" fmla="*/ 0 h 20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8" h="20764">
                  <a:moveTo>
                    <a:pt x="11239" y="0"/>
                  </a:moveTo>
                  <a:lnTo>
                    <a:pt x="0" y="13811"/>
                  </a:lnTo>
                  <a:lnTo>
                    <a:pt x="21241" y="20764"/>
                  </a:lnTo>
                  <a:lnTo>
                    <a:pt x="43339" y="5715"/>
                  </a:lnTo>
                  <a:lnTo>
                    <a:pt x="1123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3" name="Freeform: Shape 2813">
              <a:extLst>
                <a:ext uri="{FF2B5EF4-FFF2-40B4-BE49-F238E27FC236}">
                  <a16:creationId xmlns:a16="http://schemas.microsoft.com/office/drawing/2014/main" id="{1879CB3B-8757-E0AB-7E01-D640FF3E8A53}"/>
                </a:ext>
              </a:extLst>
            </p:cNvPr>
            <p:cNvSpPr/>
            <p:nvPr/>
          </p:nvSpPr>
          <p:spPr>
            <a:xfrm>
              <a:off x="2133409" y="3384740"/>
              <a:ext cx="64769" cy="25812"/>
            </a:xfrm>
            <a:custGeom>
              <a:avLst/>
              <a:gdLst>
                <a:gd name="connsiteX0" fmla="*/ 58865 w 64769"/>
                <a:gd name="connsiteY0" fmla="*/ 4382 h 25812"/>
                <a:gd name="connsiteX1" fmla="*/ 45720 w 64769"/>
                <a:gd name="connsiteY1" fmla="*/ 5048 h 25812"/>
                <a:gd name="connsiteX2" fmla="*/ 30766 w 64769"/>
                <a:gd name="connsiteY2" fmla="*/ 95 h 25812"/>
                <a:gd name="connsiteX3" fmla="*/ 30480 w 64769"/>
                <a:gd name="connsiteY3" fmla="*/ 0 h 25812"/>
                <a:gd name="connsiteX4" fmla="*/ 31813 w 64769"/>
                <a:gd name="connsiteY4" fmla="*/ 8858 h 25812"/>
                <a:gd name="connsiteX5" fmla="*/ 6382 w 64769"/>
                <a:gd name="connsiteY5" fmla="*/ 8858 h 25812"/>
                <a:gd name="connsiteX6" fmla="*/ 12382 w 64769"/>
                <a:gd name="connsiteY6" fmla="*/ 15145 h 25812"/>
                <a:gd name="connsiteX7" fmla="*/ 0 w 64769"/>
                <a:gd name="connsiteY7" fmla="*/ 21717 h 25812"/>
                <a:gd name="connsiteX8" fmla="*/ 0 w 64769"/>
                <a:gd name="connsiteY8" fmla="*/ 21812 h 25812"/>
                <a:gd name="connsiteX9" fmla="*/ 28575 w 64769"/>
                <a:gd name="connsiteY9" fmla="*/ 25813 h 25812"/>
                <a:gd name="connsiteX10" fmla="*/ 61913 w 64769"/>
                <a:gd name="connsiteY10" fmla="*/ 24765 h 25812"/>
                <a:gd name="connsiteX11" fmla="*/ 60960 w 64769"/>
                <a:gd name="connsiteY11" fmla="*/ 15145 h 25812"/>
                <a:gd name="connsiteX12" fmla="*/ 64770 w 64769"/>
                <a:gd name="connsiteY12" fmla="*/ 10858 h 25812"/>
                <a:gd name="connsiteX13" fmla="*/ 58865 w 64769"/>
                <a:gd name="connsiteY13" fmla="*/ 4382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25812">
                  <a:moveTo>
                    <a:pt x="58865" y="4382"/>
                  </a:moveTo>
                  <a:lnTo>
                    <a:pt x="45720" y="5048"/>
                  </a:lnTo>
                  <a:lnTo>
                    <a:pt x="30766" y="95"/>
                  </a:lnTo>
                  <a:lnTo>
                    <a:pt x="30480" y="0"/>
                  </a:lnTo>
                  <a:lnTo>
                    <a:pt x="31813" y="8858"/>
                  </a:lnTo>
                  <a:lnTo>
                    <a:pt x="6382" y="8858"/>
                  </a:lnTo>
                  <a:lnTo>
                    <a:pt x="12382" y="15145"/>
                  </a:lnTo>
                  <a:lnTo>
                    <a:pt x="0" y="21717"/>
                  </a:lnTo>
                  <a:lnTo>
                    <a:pt x="0" y="21812"/>
                  </a:lnTo>
                  <a:lnTo>
                    <a:pt x="28575" y="25813"/>
                  </a:lnTo>
                  <a:lnTo>
                    <a:pt x="61913" y="24765"/>
                  </a:lnTo>
                  <a:lnTo>
                    <a:pt x="60960" y="15145"/>
                  </a:lnTo>
                  <a:lnTo>
                    <a:pt x="64770" y="10858"/>
                  </a:lnTo>
                  <a:lnTo>
                    <a:pt x="58865" y="438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4" name="Freeform: Shape 2814">
              <a:extLst>
                <a:ext uri="{FF2B5EF4-FFF2-40B4-BE49-F238E27FC236}">
                  <a16:creationId xmlns:a16="http://schemas.microsoft.com/office/drawing/2014/main" id="{1FD5348D-D3C8-05B5-2639-2BAF0DCFB330}"/>
                </a:ext>
              </a:extLst>
            </p:cNvPr>
            <p:cNvSpPr/>
            <p:nvPr/>
          </p:nvSpPr>
          <p:spPr>
            <a:xfrm>
              <a:off x="2284856" y="2909633"/>
              <a:ext cx="772668" cy="835152"/>
            </a:xfrm>
            <a:custGeom>
              <a:avLst/>
              <a:gdLst>
                <a:gd name="connsiteX0" fmla="*/ 772668 w 772668"/>
                <a:gd name="connsiteY0" fmla="*/ 99536 h 835152"/>
                <a:gd name="connsiteX1" fmla="*/ 768001 w 772668"/>
                <a:gd name="connsiteY1" fmla="*/ 92964 h 835152"/>
                <a:gd name="connsiteX2" fmla="*/ 753999 w 772668"/>
                <a:gd name="connsiteY2" fmla="*/ 92297 h 835152"/>
                <a:gd name="connsiteX3" fmla="*/ 760952 w 772668"/>
                <a:gd name="connsiteY3" fmla="*/ 71628 h 835152"/>
                <a:gd name="connsiteX4" fmla="*/ 740474 w 772668"/>
                <a:gd name="connsiteY4" fmla="*/ 60960 h 835152"/>
                <a:gd name="connsiteX5" fmla="*/ 745331 w 772668"/>
                <a:gd name="connsiteY5" fmla="*/ 43720 h 835152"/>
                <a:gd name="connsiteX6" fmla="*/ 715518 w 772668"/>
                <a:gd name="connsiteY6" fmla="*/ 33718 h 835152"/>
                <a:gd name="connsiteX7" fmla="*/ 655892 w 772668"/>
                <a:gd name="connsiteY7" fmla="*/ 29813 h 835152"/>
                <a:gd name="connsiteX8" fmla="*/ 625888 w 772668"/>
                <a:gd name="connsiteY8" fmla="*/ 0 h 835152"/>
                <a:gd name="connsiteX9" fmla="*/ 616363 w 772668"/>
                <a:gd name="connsiteY9" fmla="*/ 13430 h 835152"/>
                <a:gd name="connsiteX10" fmla="*/ 651986 w 772668"/>
                <a:gd name="connsiteY10" fmla="*/ 35623 h 835152"/>
                <a:gd name="connsiteX11" fmla="*/ 666750 w 772668"/>
                <a:gd name="connsiteY11" fmla="*/ 58388 h 835152"/>
                <a:gd name="connsiteX12" fmla="*/ 643890 w 772668"/>
                <a:gd name="connsiteY12" fmla="*/ 65437 h 835152"/>
                <a:gd name="connsiteX13" fmla="*/ 640652 w 772668"/>
                <a:gd name="connsiteY13" fmla="*/ 76676 h 835152"/>
                <a:gd name="connsiteX14" fmla="*/ 626459 w 772668"/>
                <a:gd name="connsiteY14" fmla="*/ 55245 h 835152"/>
                <a:gd name="connsiteX15" fmla="*/ 599694 w 772668"/>
                <a:gd name="connsiteY15" fmla="*/ 63817 h 835152"/>
                <a:gd name="connsiteX16" fmla="*/ 593789 w 772668"/>
                <a:gd name="connsiteY16" fmla="*/ 69723 h 835152"/>
                <a:gd name="connsiteX17" fmla="*/ 567690 w 772668"/>
                <a:gd name="connsiteY17" fmla="*/ 65913 h 835152"/>
                <a:gd name="connsiteX18" fmla="*/ 554831 w 772668"/>
                <a:gd name="connsiteY18" fmla="*/ 69723 h 835152"/>
                <a:gd name="connsiteX19" fmla="*/ 544640 w 772668"/>
                <a:gd name="connsiteY19" fmla="*/ 86963 h 835152"/>
                <a:gd name="connsiteX20" fmla="*/ 515493 w 772668"/>
                <a:gd name="connsiteY20" fmla="*/ 79915 h 835152"/>
                <a:gd name="connsiteX21" fmla="*/ 530447 w 772668"/>
                <a:gd name="connsiteY21" fmla="*/ 71152 h 835152"/>
                <a:gd name="connsiteX22" fmla="*/ 539972 w 772668"/>
                <a:gd name="connsiteY22" fmla="*/ 55245 h 835152"/>
                <a:gd name="connsiteX23" fmla="*/ 513207 w 772668"/>
                <a:gd name="connsiteY23" fmla="*/ 59531 h 835152"/>
                <a:gd name="connsiteX24" fmla="*/ 449771 w 772668"/>
                <a:gd name="connsiteY24" fmla="*/ 84772 h 835152"/>
                <a:gd name="connsiteX25" fmla="*/ 421196 w 772668"/>
                <a:gd name="connsiteY25" fmla="*/ 86201 h 835152"/>
                <a:gd name="connsiteX26" fmla="*/ 431482 w 772668"/>
                <a:gd name="connsiteY26" fmla="*/ 99250 h 835152"/>
                <a:gd name="connsiteX27" fmla="*/ 406432 w 772668"/>
                <a:gd name="connsiteY27" fmla="*/ 100870 h 835152"/>
                <a:gd name="connsiteX28" fmla="*/ 401193 w 772668"/>
                <a:gd name="connsiteY28" fmla="*/ 124015 h 835152"/>
                <a:gd name="connsiteX29" fmla="*/ 369761 w 772668"/>
                <a:gd name="connsiteY29" fmla="*/ 124015 h 835152"/>
                <a:gd name="connsiteX30" fmla="*/ 348615 w 772668"/>
                <a:gd name="connsiteY30" fmla="*/ 107918 h 835152"/>
                <a:gd name="connsiteX31" fmla="*/ 358140 w 772668"/>
                <a:gd name="connsiteY31" fmla="*/ 95536 h 835152"/>
                <a:gd name="connsiteX32" fmla="*/ 384619 w 772668"/>
                <a:gd name="connsiteY32" fmla="*/ 92869 h 835152"/>
                <a:gd name="connsiteX33" fmla="*/ 370713 w 772668"/>
                <a:gd name="connsiteY33" fmla="*/ 71818 h 835152"/>
                <a:gd name="connsiteX34" fmla="*/ 318516 w 772668"/>
                <a:gd name="connsiteY34" fmla="*/ 64865 h 835152"/>
                <a:gd name="connsiteX35" fmla="*/ 333947 w 772668"/>
                <a:gd name="connsiteY35" fmla="*/ 81248 h 835152"/>
                <a:gd name="connsiteX36" fmla="*/ 326136 w 772668"/>
                <a:gd name="connsiteY36" fmla="*/ 112109 h 835152"/>
                <a:gd name="connsiteX37" fmla="*/ 341662 w 772668"/>
                <a:gd name="connsiteY37" fmla="*/ 122872 h 835152"/>
                <a:gd name="connsiteX38" fmla="*/ 330136 w 772668"/>
                <a:gd name="connsiteY38" fmla="*/ 138493 h 835152"/>
                <a:gd name="connsiteX39" fmla="*/ 334709 w 772668"/>
                <a:gd name="connsiteY39" fmla="*/ 155543 h 835152"/>
                <a:gd name="connsiteX40" fmla="*/ 317182 w 772668"/>
                <a:gd name="connsiteY40" fmla="*/ 138493 h 835152"/>
                <a:gd name="connsiteX41" fmla="*/ 295751 w 772668"/>
                <a:gd name="connsiteY41" fmla="*/ 134684 h 835152"/>
                <a:gd name="connsiteX42" fmla="*/ 284512 w 772668"/>
                <a:gd name="connsiteY42" fmla="*/ 146590 h 835152"/>
                <a:gd name="connsiteX43" fmla="*/ 248793 w 772668"/>
                <a:gd name="connsiteY43" fmla="*/ 163830 h 835152"/>
                <a:gd name="connsiteX44" fmla="*/ 261747 w 772668"/>
                <a:gd name="connsiteY44" fmla="*/ 198692 h 835152"/>
                <a:gd name="connsiteX45" fmla="*/ 242697 w 772668"/>
                <a:gd name="connsiteY45" fmla="*/ 197644 h 835152"/>
                <a:gd name="connsiteX46" fmla="*/ 227076 w 772668"/>
                <a:gd name="connsiteY46" fmla="*/ 192214 h 835152"/>
                <a:gd name="connsiteX47" fmla="*/ 214217 w 772668"/>
                <a:gd name="connsiteY47" fmla="*/ 198882 h 835152"/>
                <a:gd name="connsiteX48" fmla="*/ 219075 w 772668"/>
                <a:gd name="connsiteY48" fmla="*/ 188785 h 835152"/>
                <a:gd name="connsiteX49" fmla="*/ 189262 w 772668"/>
                <a:gd name="connsiteY49" fmla="*/ 177736 h 835152"/>
                <a:gd name="connsiteX50" fmla="*/ 192119 w 772668"/>
                <a:gd name="connsiteY50" fmla="*/ 199739 h 835152"/>
                <a:gd name="connsiteX51" fmla="*/ 212312 w 772668"/>
                <a:gd name="connsiteY51" fmla="*/ 206216 h 835152"/>
                <a:gd name="connsiteX52" fmla="*/ 202787 w 772668"/>
                <a:gd name="connsiteY52" fmla="*/ 221837 h 835152"/>
                <a:gd name="connsiteX53" fmla="*/ 178022 w 772668"/>
                <a:gd name="connsiteY53" fmla="*/ 215360 h 835152"/>
                <a:gd name="connsiteX54" fmla="*/ 174022 w 772668"/>
                <a:gd name="connsiteY54" fmla="*/ 204788 h 835152"/>
                <a:gd name="connsiteX55" fmla="*/ 163830 w 772668"/>
                <a:gd name="connsiteY55" fmla="*/ 199930 h 835152"/>
                <a:gd name="connsiteX56" fmla="*/ 161163 w 772668"/>
                <a:gd name="connsiteY56" fmla="*/ 205168 h 835152"/>
                <a:gd name="connsiteX57" fmla="*/ 147638 w 772668"/>
                <a:gd name="connsiteY57" fmla="*/ 198215 h 835152"/>
                <a:gd name="connsiteX58" fmla="*/ 151924 w 772668"/>
                <a:gd name="connsiteY58" fmla="*/ 160115 h 835152"/>
                <a:gd name="connsiteX59" fmla="*/ 103061 w 772668"/>
                <a:gd name="connsiteY59" fmla="*/ 117634 h 835152"/>
                <a:gd name="connsiteX60" fmla="*/ 131636 w 772668"/>
                <a:gd name="connsiteY60" fmla="*/ 128968 h 835152"/>
                <a:gd name="connsiteX61" fmla="*/ 138208 w 772668"/>
                <a:gd name="connsiteY61" fmla="*/ 120586 h 835152"/>
                <a:gd name="connsiteX62" fmla="*/ 142208 w 772668"/>
                <a:gd name="connsiteY62" fmla="*/ 133731 h 835152"/>
                <a:gd name="connsiteX63" fmla="*/ 195358 w 772668"/>
                <a:gd name="connsiteY63" fmla="*/ 143256 h 835152"/>
                <a:gd name="connsiteX64" fmla="*/ 211550 w 772668"/>
                <a:gd name="connsiteY64" fmla="*/ 148685 h 835152"/>
                <a:gd name="connsiteX65" fmla="*/ 236982 w 772668"/>
                <a:gd name="connsiteY65" fmla="*/ 147542 h 835152"/>
                <a:gd name="connsiteX66" fmla="*/ 275939 w 772668"/>
                <a:gd name="connsiteY66" fmla="*/ 124492 h 835152"/>
                <a:gd name="connsiteX67" fmla="*/ 278892 w 772668"/>
                <a:gd name="connsiteY67" fmla="*/ 112681 h 835152"/>
                <a:gd name="connsiteX68" fmla="*/ 271653 w 772668"/>
                <a:gd name="connsiteY68" fmla="*/ 96012 h 835152"/>
                <a:gd name="connsiteX69" fmla="*/ 220218 w 772668"/>
                <a:gd name="connsiteY69" fmla="*/ 76200 h 835152"/>
                <a:gd name="connsiteX70" fmla="*/ 184499 w 772668"/>
                <a:gd name="connsiteY70" fmla="*/ 54197 h 835152"/>
                <a:gd name="connsiteX71" fmla="*/ 132017 w 772668"/>
                <a:gd name="connsiteY71" fmla="*/ 44005 h 835152"/>
                <a:gd name="connsiteX72" fmla="*/ 117253 w 772668"/>
                <a:gd name="connsiteY72" fmla="*/ 60388 h 835152"/>
                <a:gd name="connsiteX73" fmla="*/ 122111 w 772668"/>
                <a:gd name="connsiteY73" fmla="*/ 40195 h 835152"/>
                <a:gd name="connsiteX74" fmla="*/ 93536 w 772668"/>
                <a:gd name="connsiteY74" fmla="*/ 44386 h 835152"/>
                <a:gd name="connsiteX75" fmla="*/ 110871 w 772668"/>
                <a:gd name="connsiteY75" fmla="*/ 35909 h 835152"/>
                <a:gd name="connsiteX76" fmla="*/ 115538 w 772668"/>
                <a:gd name="connsiteY76" fmla="*/ 30575 h 835152"/>
                <a:gd name="connsiteX77" fmla="*/ 92393 w 772668"/>
                <a:gd name="connsiteY77" fmla="*/ 23527 h 835152"/>
                <a:gd name="connsiteX78" fmla="*/ 89726 w 772668"/>
                <a:gd name="connsiteY78" fmla="*/ 33052 h 835152"/>
                <a:gd name="connsiteX79" fmla="*/ 72485 w 772668"/>
                <a:gd name="connsiteY79" fmla="*/ 28765 h 835152"/>
                <a:gd name="connsiteX80" fmla="*/ 72485 w 772668"/>
                <a:gd name="connsiteY80" fmla="*/ 28765 h 835152"/>
                <a:gd name="connsiteX81" fmla="*/ 71723 w 772668"/>
                <a:gd name="connsiteY81" fmla="*/ 41338 h 835152"/>
                <a:gd name="connsiteX82" fmla="*/ 57817 w 772668"/>
                <a:gd name="connsiteY82" fmla="*/ 32480 h 835152"/>
                <a:gd name="connsiteX83" fmla="*/ 55817 w 772668"/>
                <a:gd name="connsiteY83" fmla="*/ 39433 h 835152"/>
                <a:gd name="connsiteX84" fmla="*/ 43053 w 772668"/>
                <a:gd name="connsiteY84" fmla="*/ 45148 h 835152"/>
                <a:gd name="connsiteX85" fmla="*/ 34957 w 772668"/>
                <a:gd name="connsiteY85" fmla="*/ 56483 h 835152"/>
                <a:gd name="connsiteX86" fmla="*/ 32385 w 772668"/>
                <a:gd name="connsiteY86" fmla="*/ 52483 h 835152"/>
                <a:gd name="connsiteX87" fmla="*/ 32385 w 772668"/>
                <a:gd name="connsiteY87" fmla="*/ 52483 h 835152"/>
                <a:gd name="connsiteX88" fmla="*/ 22860 w 772668"/>
                <a:gd name="connsiteY88" fmla="*/ 59436 h 835152"/>
                <a:gd name="connsiteX89" fmla="*/ 29432 w 772668"/>
                <a:gd name="connsiteY89" fmla="*/ 64484 h 835152"/>
                <a:gd name="connsiteX90" fmla="*/ 24003 w 772668"/>
                <a:gd name="connsiteY90" fmla="*/ 72009 h 835152"/>
                <a:gd name="connsiteX91" fmla="*/ 29051 w 772668"/>
                <a:gd name="connsiteY91" fmla="*/ 80772 h 835152"/>
                <a:gd name="connsiteX92" fmla="*/ 41434 w 772668"/>
                <a:gd name="connsiteY92" fmla="*/ 84582 h 835152"/>
                <a:gd name="connsiteX93" fmla="*/ 54959 w 772668"/>
                <a:gd name="connsiteY93" fmla="*/ 97155 h 835152"/>
                <a:gd name="connsiteX94" fmla="*/ 52673 w 772668"/>
                <a:gd name="connsiteY94" fmla="*/ 104775 h 835152"/>
                <a:gd name="connsiteX95" fmla="*/ 34481 w 772668"/>
                <a:gd name="connsiteY95" fmla="*/ 122396 h 835152"/>
                <a:gd name="connsiteX96" fmla="*/ 44863 w 772668"/>
                <a:gd name="connsiteY96" fmla="*/ 135636 h 835152"/>
                <a:gd name="connsiteX97" fmla="*/ 57722 w 772668"/>
                <a:gd name="connsiteY97" fmla="*/ 160782 h 835152"/>
                <a:gd name="connsiteX98" fmla="*/ 48197 w 772668"/>
                <a:gd name="connsiteY98" fmla="*/ 163925 h 835152"/>
                <a:gd name="connsiteX99" fmla="*/ 47435 w 772668"/>
                <a:gd name="connsiteY99" fmla="*/ 170878 h 835152"/>
                <a:gd name="connsiteX100" fmla="*/ 52102 w 772668"/>
                <a:gd name="connsiteY100" fmla="*/ 180403 h 835152"/>
                <a:gd name="connsiteX101" fmla="*/ 47054 w 772668"/>
                <a:gd name="connsiteY101" fmla="*/ 184785 h 835152"/>
                <a:gd name="connsiteX102" fmla="*/ 57912 w 772668"/>
                <a:gd name="connsiteY102" fmla="*/ 194881 h 835152"/>
                <a:gd name="connsiteX103" fmla="*/ 53245 w 772668"/>
                <a:gd name="connsiteY103" fmla="*/ 199930 h 835152"/>
                <a:gd name="connsiteX104" fmla="*/ 65246 w 772668"/>
                <a:gd name="connsiteY104" fmla="*/ 208121 h 835152"/>
                <a:gd name="connsiteX105" fmla="*/ 67151 w 772668"/>
                <a:gd name="connsiteY105" fmla="*/ 215646 h 835152"/>
                <a:gd name="connsiteX106" fmla="*/ 54388 w 772668"/>
                <a:gd name="connsiteY106" fmla="*/ 224504 h 835152"/>
                <a:gd name="connsiteX107" fmla="*/ 77629 w 772668"/>
                <a:gd name="connsiteY107" fmla="*/ 240220 h 835152"/>
                <a:gd name="connsiteX108" fmla="*/ 86106 w 772668"/>
                <a:gd name="connsiteY108" fmla="*/ 251555 h 835152"/>
                <a:gd name="connsiteX109" fmla="*/ 79153 w 772668"/>
                <a:gd name="connsiteY109" fmla="*/ 264128 h 835152"/>
                <a:gd name="connsiteX110" fmla="*/ 11811 w 772668"/>
                <a:gd name="connsiteY110" fmla="*/ 326517 h 835152"/>
                <a:gd name="connsiteX111" fmla="*/ 11811 w 772668"/>
                <a:gd name="connsiteY111" fmla="*/ 326517 h 835152"/>
                <a:gd name="connsiteX112" fmla="*/ 11811 w 772668"/>
                <a:gd name="connsiteY112" fmla="*/ 326517 h 835152"/>
                <a:gd name="connsiteX113" fmla="*/ 44863 w 772668"/>
                <a:gd name="connsiteY113" fmla="*/ 344519 h 835152"/>
                <a:gd name="connsiteX114" fmla="*/ 16288 w 772668"/>
                <a:gd name="connsiteY114" fmla="*/ 350330 h 835152"/>
                <a:gd name="connsiteX115" fmla="*/ 15335 w 772668"/>
                <a:gd name="connsiteY115" fmla="*/ 359092 h 835152"/>
                <a:gd name="connsiteX116" fmla="*/ 17240 w 772668"/>
                <a:gd name="connsiteY116" fmla="*/ 362426 h 835152"/>
                <a:gd name="connsiteX117" fmla="*/ 12478 w 772668"/>
                <a:gd name="connsiteY117" fmla="*/ 369570 h 835152"/>
                <a:gd name="connsiteX118" fmla="*/ 13145 w 772668"/>
                <a:gd name="connsiteY118" fmla="*/ 382524 h 835152"/>
                <a:gd name="connsiteX119" fmla="*/ 8382 w 772668"/>
                <a:gd name="connsiteY119" fmla="*/ 387572 h 835152"/>
                <a:gd name="connsiteX120" fmla="*/ 20193 w 772668"/>
                <a:gd name="connsiteY120" fmla="*/ 399764 h 835152"/>
                <a:gd name="connsiteX121" fmla="*/ 12764 w 772668"/>
                <a:gd name="connsiteY121" fmla="*/ 402622 h 835152"/>
                <a:gd name="connsiteX122" fmla="*/ 7906 w 772668"/>
                <a:gd name="connsiteY122" fmla="*/ 397573 h 835152"/>
                <a:gd name="connsiteX123" fmla="*/ 7906 w 772668"/>
                <a:gd name="connsiteY123" fmla="*/ 398335 h 835152"/>
                <a:gd name="connsiteX124" fmla="*/ 7906 w 772668"/>
                <a:gd name="connsiteY124" fmla="*/ 405193 h 835152"/>
                <a:gd name="connsiteX125" fmla="*/ 0 w 772668"/>
                <a:gd name="connsiteY125" fmla="*/ 411956 h 835152"/>
                <a:gd name="connsiteX126" fmla="*/ 4572 w 772668"/>
                <a:gd name="connsiteY126" fmla="*/ 413385 h 835152"/>
                <a:gd name="connsiteX127" fmla="*/ 12573 w 772668"/>
                <a:gd name="connsiteY127" fmla="*/ 420624 h 835152"/>
                <a:gd name="connsiteX128" fmla="*/ 6668 w 772668"/>
                <a:gd name="connsiteY128" fmla="*/ 429577 h 835152"/>
                <a:gd name="connsiteX129" fmla="*/ 12573 w 772668"/>
                <a:gd name="connsiteY129" fmla="*/ 432054 h 835152"/>
                <a:gd name="connsiteX130" fmla="*/ 18288 w 772668"/>
                <a:gd name="connsiteY130" fmla="*/ 443198 h 835152"/>
                <a:gd name="connsiteX131" fmla="*/ 16955 w 772668"/>
                <a:gd name="connsiteY131" fmla="*/ 450342 h 835152"/>
                <a:gd name="connsiteX132" fmla="*/ 20288 w 772668"/>
                <a:gd name="connsiteY132" fmla="*/ 453961 h 835152"/>
                <a:gd name="connsiteX133" fmla="*/ 26765 w 772668"/>
                <a:gd name="connsiteY133" fmla="*/ 451390 h 835152"/>
                <a:gd name="connsiteX134" fmla="*/ 28289 w 772668"/>
                <a:gd name="connsiteY134" fmla="*/ 456438 h 835152"/>
                <a:gd name="connsiteX135" fmla="*/ 34290 w 772668"/>
                <a:gd name="connsiteY135" fmla="*/ 453961 h 835152"/>
                <a:gd name="connsiteX136" fmla="*/ 41720 w 772668"/>
                <a:gd name="connsiteY136" fmla="*/ 456057 h 835152"/>
                <a:gd name="connsiteX137" fmla="*/ 43529 w 772668"/>
                <a:gd name="connsiteY137" fmla="*/ 463963 h 835152"/>
                <a:gd name="connsiteX138" fmla="*/ 56960 w 772668"/>
                <a:gd name="connsiteY138" fmla="*/ 458629 h 835152"/>
                <a:gd name="connsiteX139" fmla="*/ 67056 w 772668"/>
                <a:gd name="connsiteY139" fmla="*/ 464725 h 835152"/>
                <a:gd name="connsiteX140" fmla="*/ 73438 w 772668"/>
                <a:gd name="connsiteY140" fmla="*/ 464725 h 835152"/>
                <a:gd name="connsiteX141" fmla="*/ 69818 w 772668"/>
                <a:gd name="connsiteY141" fmla="*/ 475107 h 835152"/>
                <a:gd name="connsiteX142" fmla="*/ 74962 w 772668"/>
                <a:gd name="connsiteY142" fmla="*/ 480060 h 835152"/>
                <a:gd name="connsiteX143" fmla="*/ 69342 w 772668"/>
                <a:gd name="connsiteY143" fmla="*/ 486537 h 835152"/>
                <a:gd name="connsiteX144" fmla="*/ 76772 w 772668"/>
                <a:gd name="connsiteY144" fmla="*/ 491966 h 835152"/>
                <a:gd name="connsiteX145" fmla="*/ 74962 w 772668"/>
                <a:gd name="connsiteY145" fmla="*/ 495871 h 835152"/>
                <a:gd name="connsiteX146" fmla="*/ 80391 w 772668"/>
                <a:gd name="connsiteY146" fmla="*/ 504158 h 835152"/>
                <a:gd name="connsiteX147" fmla="*/ 90488 w 772668"/>
                <a:gd name="connsiteY147" fmla="*/ 507682 h 835152"/>
                <a:gd name="connsiteX148" fmla="*/ 88392 w 772668"/>
                <a:gd name="connsiteY148" fmla="*/ 514159 h 835152"/>
                <a:gd name="connsiteX149" fmla="*/ 102870 w 772668"/>
                <a:gd name="connsiteY149" fmla="*/ 517017 h 835152"/>
                <a:gd name="connsiteX150" fmla="*/ 101346 w 772668"/>
                <a:gd name="connsiteY150" fmla="*/ 521684 h 835152"/>
                <a:gd name="connsiteX151" fmla="*/ 108299 w 772668"/>
                <a:gd name="connsiteY151" fmla="*/ 523494 h 835152"/>
                <a:gd name="connsiteX152" fmla="*/ 108299 w 772668"/>
                <a:gd name="connsiteY152" fmla="*/ 529209 h 835152"/>
                <a:gd name="connsiteX153" fmla="*/ 97727 w 772668"/>
                <a:gd name="connsiteY153" fmla="*/ 534638 h 835152"/>
                <a:gd name="connsiteX154" fmla="*/ 90488 w 772668"/>
                <a:gd name="connsiteY154" fmla="*/ 534638 h 835152"/>
                <a:gd name="connsiteX155" fmla="*/ 86582 w 772668"/>
                <a:gd name="connsiteY155" fmla="*/ 531019 h 835152"/>
                <a:gd name="connsiteX156" fmla="*/ 81153 w 772668"/>
                <a:gd name="connsiteY156" fmla="*/ 531019 h 835152"/>
                <a:gd name="connsiteX157" fmla="*/ 78391 w 772668"/>
                <a:gd name="connsiteY157" fmla="*/ 537496 h 835152"/>
                <a:gd name="connsiteX158" fmla="*/ 85630 w 772668"/>
                <a:gd name="connsiteY158" fmla="*/ 544259 h 835152"/>
                <a:gd name="connsiteX159" fmla="*/ 83534 w 772668"/>
                <a:gd name="connsiteY159" fmla="*/ 549307 h 835152"/>
                <a:gd name="connsiteX160" fmla="*/ 88964 w 772668"/>
                <a:gd name="connsiteY160" fmla="*/ 557879 h 835152"/>
                <a:gd name="connsiteX161" fmla="*/ 87821 w 772668"/>
                <a:gd name="connsiteY161" fmla="*/ 562927 h 835152"/>
                <a:gd name="connsiteX162" fmla="*/ 87821 w 772668"/>
                <a:gd name="connsiteY162" fmla="*/ 562927 h 835152"/>
                <a:gd name="connsiteX163" fmla="*/ 90964 w 772668"/>
                <a:gd name="connsiteY163" fmla="*/ 563880 h 835152"/>
                <a:gd name="connsiteX164" fmla="*/ 98203 w 772668"/>
                <a:gd name="connsiteY164" fmla="*/ 562832 h 835152"/>
                <a:gd name="connsiteX165" fmla="*/ 100013 w 772668"/>
                <a:gd name="connsiteY165" fmla="*/ 556069 h 835152"/>
                <a:gd name="connsiteX166" fmla="*/ 111157 w 772668"/>
                <a:gd name="connsiteY166" fmla="*/ 557784 h 835152"/>
                <a:gd name="connsiteX167" fmla="*/ 117539 w 772668"/>
                <a:gd name="connsiteY167" fmla="*/ 553879 h 835152"/>
                <a:gd name="connsiteX168" fmla="*/ 123730 w 772668"/>
                <a:gd name="connsiteY168" fmla="*/ 557117 h 835152"/>
                <a:gd name="connsiteX169" fmla="*/ 129921 w 772668"/>
                <a:gd name="connsiteY169" fmla="*/ 553212 h 835152"/>
                <a:gd name="connsiteX170" fmla="*/ 135160 w 772668"/>
                <a:gd name="connsiteY170" fmla="*/ 561022 h 835152"/>
                <a:gd name="connsiteX171" fmla="*/ 133826 w 772668"/>
                <a:gd name="connsiteY171" fmla="*/ 565690 h 835152"/>
                <a:gd name="connsiteX172" fmla="*/ 141827 w 772668"/>
                <a:gd name="connsiteY172" fmla="*/ 571405 h 835152"/>
                <a:gd name="connsiteX173" fmla="*/ 135160 w 772668"/>
                <a:gd name="connsiteY173" fmla="*/ 574643 h 835152"/>
                <a:gd name="connsiteX174" fmla="*/ 137922 w 772668"/>
                <a:gd name="connsiteY174" fmla="*/ 585406 h 835152"/>
                <a:gd name="connsiteX175" fmla="*/ 141065 w 772668"/>
                <a:gd name="connsiteY175" fmla="*/ 583978 h 835152"/>
                <a:gd name="connsiteX176" fmla="*/ 146209 w 772668"/>
                <a:gd name="connsiteY176" fmla="*/ 587216 h 835152"/>
                <a:gd name="connsiteX177" fmla="*/ 153924 w 772668"/>
                <a:gd name="connsiteY177" fmla="*/ 586168 h 835152"/>
                <a:gd name="connsiteX178" fmla="*/ 156496 w 772668"/>
                <a:gd name="connsiteY178" fmla="*/ 590836 h 835152"/>
                <a:gd name="connsiteX179" fmla="*/ 160401 w 772668"/>
                <a:gd name="connsiteY179" fmla="*/ 591502 h 835152"/>
                <a:gd name="connsiteX180" fmla="*/ 163259 w 772668"/>
                <a:gd name="connsiteY180" fmla="*/ 600456 h 835152"/>
                <a:gd name="connsiteX181" fmla="*/ 160687 w 772668"/>
                <a:gd name="connsiteY181" fmla="*/ 604456 h 835152"/>
                <a:gd name="connsiteX182" fmla="*/ 165259 w 772668"/>
                <a:gd name="connsiteY182" fmla="*/ 610934 h 835152"/>
                <a:gd name="connsiteX183" fmla="*/ 171260 w 772668"/>
                <a:gd name="connsiteY183" fmla="*/ 608076 h 835152"/>
                <a:gd name="connsiteX184" fmla="*/ 177451 w 772668"/>
                <a:gd name="connsiteY184" fmla="*/ 612362 h 835152"/>
                <a:gd name="connsiteX185" fmla="*/ 181261 w 772668"/>
                <a:gd name="connsiteY185" fmla="*/ 610552 h 835152"/>
                <a:gd name="connsiteX186" fmla="*/ 186214 w 772668"/>
                <a:gd name="connsiteY186" fmla="*/ 614077 h 835152"/>
                <a:gd name="connsiteX187" fmla="*/ 199835 w 772668"/>
                <a:gd name="connsiteY187" fmla="*/ 607695 h 835152"/>
                <a:gd name="connsiteX188" fmla="*/ 204502 w 772668"/>
                <a:gd name="connsiteY188" fmla="*/ 611219 h 835152"/>
                <a:gd name="connsiteX189" fmla="*/ 203454 w 772668"/>
                <a:gd name="connsiteY189" fmla="*/ 616077 h 835152"/>
                <a:gd name="connsiteX190" fmla="*/ 212503 w 772668"/>
                <a:gd name="connsiteY190" fmla="*/ 622459 h 835152"/>
                <a:gd name="connsiteX191" fmla="*/ 215836 w 772668"/>
                <a:gd name="connsiteY191" fmla="*/ 617982 h 835152"/>
                <a:gd name="connsiteX192" fmla="*/ 221552 w 772668"/>
                <a:gd name="connsiteY192" fmla="*/ 621125 h 835152"/>
                <a:gd name="connsiteX193" fmla="*/ 226219 w 772668"/>
                <a:gd name="connsiteY193" fmla="*/ 619220 h 835152"/>
                <a:gd name="connsiteX194" fmla="*/ 231077 w 772668"/>
                <a:gd name="connsiteY194" fmla="*/ 625602 h 835152"/>
                <a:gd name="connsiteX195" fmla="*/ 235458 w 772668"/>
                <a:gd name="connsiteY195" fmla="*/ 622459 h 835152"/>
                <a:gd name="connsiteX196" fmla="*/ 238030 w 772668"/>
                <a:gd name="connsiteY196" fmla="*/ 626555 h 835152"/>
                <a:gd name="connsiteX197" fmla="*/ 243173 w 772668"/>
                <a:gd name="connsiteY197" fmla="*/ 626555 h 835152"/>
                <a:gd name="connsiteX198" fmla="*/ 247364 w 772668"/>
                <a:gd name="connsiteY198" fmla="*/ 630364 h 835152"/>
                <a:gd name="connsiteX199" fmla="*/ 254508 w 772668"/>
                <a:gd name="connsiteY199" fmla="*/ 628078 h 835152"/>
                <a:gd name="connsiteX200" fmla="*/ 254508 w 772668"/>
                <a:gd name="connsiteY200" fmla="*/ 637603 h 835152"/>
                <a:gd name="connsiteX201" fmla="*/ 246031 w 772668"/>
                <a:gd name="connsiteY201" fmla="*/ 641699 h 835152"/>
                <a:gd name="connsiteX202" fmla="*/ 253746 w 772668"/>
                <a:gd name="connsiteY202" fmla="*/ 646176 h 835152"/>
                <a:gd name="connsiteX203" fmla="*/ 251746 w 772668"/>
                <a:gd name="connsiteY203" fmla="*/ 649986 h 835152"/>
                <a:gd name="connsiteX204" fmla="*/ 246317 w 772668"/>
                <a:gd name="connsiteY204" fmla="*/ 649986 h 835152"/>
                <a:gd name="connsiteX205" fmla="*/ 244507 w 772668"/>
                <a:gd name="connsiteY205" fmla="*/ 654082 h 835152"/>
                <a:gd name="connsiteX206" fmla="*/ 249365 w 772668"/>
                <a:gd name="connsiteY206" fmla="*/ 656272 h 835152"/>
                <a:gd name="connsiteX207" fmla="*/ 251936 w 772668"/>
                <a:gd name="connsiteY207" fmla="*/ 662368 h 835152"/>
                <a:gd name="connsiteX208" fmla="*/ 247840 w 772668"/>
                <a:gd name="connsiteY208" fmla="*/ 672846 h 835152"/>
                <a:gd name="connsiteX209" fmla="*/ 228790 w 772668"/>
                <a:gd name="connsiteY209" fmla="*/ 672846 h 835152"/>
                <a:gd name="connsiteX210" fmla="*/ 226695 w 772668"/>
                <a:gd name="connsiteY210" fmla="*/ 677989 h 835152"/>
                <a:gd name="connsiteX211" fmla="*/ 217170 w 772668"/>
                <a:gd name="connsiteY211" fmla="*/ 680180 h 835152"/>
                <a:gd name="connsiteX212" fmla="*/ 218027 w 772668"/>
                <a:gd name="connsiteY212" fmla="*/ 685895 h 835152"/>
                <a:gd name="connsiteX213" fmla="*/ 216789 w 772668"/>
                <a:gd name="connsiteY213" fmla="*/ 690467 h 835152"/>
                <a:gd name="connsiteX214" fmla="*/ 239268 w 772668"/>
                <a:gd name="connsiteY214" fmla="*/ 690467 h 835152"/>
                <a:gd name="connsiteX215" fmla="*/ 223456 w 772668"/>
                <a:gd name="connsiteY215" fmla="*/ 701897 h 835152"/>
                <a:gd name="connsiteX216" fmla="*/ 206597 w 772668"/>
                <a:gd name="connsiteY216" fmla="*/ 701421 h 835152"/>
                <a:gd name="connsiteX217" fmla="*/ 223076 w 772668"/>
                <a:gd name="connsiteY217" fmla="*/ 716947 h 835152"/>
                <a:gd name="connsiteX218" fmla="*/ 206597 w 772668"/>
                <a:gd name="connsiteY218" fmla="*/ 734854 h 835152"/>
                <a:gd name="connsiteX219" fmla="*/ 183832 w 772668"/>
                <a:gd name="connsiteY219" fmla="*/ 737711 h 835152"/>
                <a:gd name="connsiteX220" fmla="*/ 209550 w 772668"/>
                <a:gd name="connsiteY220" fmla="*/ 750379 h 835152"/>
                <a:gd name="connsiteX221" fmla="*/ 215836 w 772668"/>
                <a:gd name="connsiteY221" fmla="*/ 757333 h 835152"/>
                <a:gd name="connsiteX222" fmla="*/ 226790 w 772668"/>
                <a:gd name="connsiteY222" fmla="*/ 760190 h 835152"/>
                <a:gd name="connsiteX223" fmla="*/ 252508 w 772668"/>
                <a:gd name="connsiteY223" fmla="*/ 778478 h 835152"/>
                <a:gd name="connsiteX224" fmla="*/ 254794 w 772668"/>
                <a:gd name="connsiteY224" fmla="*/ 773525 h 835152"/>
                <a:gd name="connsiteX225" fmla="*/ 278225 w 772668"/>
                <a:gd name="connsiteY225" fmla="*/ 781717 h 835152"/>
                <a:gd name="connsiteX226" fmla="*/ 282893 w 772668"/>
                <a:gd name="connsiteY226" fmla="*/ 785812 h 835152"/>
                <a:gd name="connsiteX227" fmla="*/ 305372 w 772668"/>
                <a:gd name="connsiteY227" fmla="*/ 786670 h 835152"/>
                <a:gd name="connsiteX228" fmla="*/ 326231 w 772668"/>
                <a:gd name="connsiteY228" fmla="*/ 795623 h 835152"/>
                <a:gd name="connsiteX229" fmla="*/ 329089 w 772668"/>
                <a:gd name="connsiteY229" fmla="*/ 804101 h 835152"/>
                <a:gd name="connsiteX230" fmla="*/ 339281 w 772668"/>
                <a:gd name="connsiteY230" fmla="*/ 798290 h 835152"/>
                <a:gd name="connsiteX231" fmla="*/ 341471 w 772668"/>
                <a:gd name="connsiteY231" fmla="*/ 797052 h 835152"/>
                <a:gd name="connsiteX232" fmla="*/ 346615 w 772668"/>
                <a:gd name="connsiteY232" fmla="*/ 800481 h 835152"/>
                <a:gd name="connsiteX233" fmla="*/ 352615 w 772668"/>
                <a:gd name="connsiteY233" fmla="*/ 796861 h 835152"/>
                <a:gd name="connsiteX234" fmla="*/ 365093 w 772668"/>
                <a:gd name="connsiteY234" fmla="*/ 803338 h 835152"/>
                <a:gd name="connsiteX235" fmla="*/ 363093 w 772668"/>
                <a:gd name="connsiteY235" fmla="*/ 810292 h 835152"/>
                <a:gd name="connsiteX236" fmla="*/ 384619 w 772668"/>
                <a:gd name="connsiteY236" fmla="*/ 819341 h 835152"/>
                <a:gd name="connsiteX237" fmla="*/ 394144 w 772668"/>
                <a:gd name="connsiteY237" fmla="*/ 827722 h 835152"/>
                <a:gd name="connsiteX238" fmla="*/ 396811 w 772668"/>
                <a:gd name="connsiteY238" fmla="*/ 833533 h 835152"/>
                <a:gd name="connsiteX239" fmla="*/ 408718 w 772668"/>
                <a:gd name="connsiteY239" fmla="*/ 835152 h 835152"/>
                <a:gd name="connsiteX240" fmla="*/ 411385 w 772668"/>
                <a:gd name="connsiteY240" fmla="*/ 828675 h 835152"/>
                <a:gd name="connsiteX241" fmla="*/ 417290 w 772668"/>
                <a:gd name="connsiteY241" fmla="*/ 826199 h 835152"/>
                <a:gd name="connsiteX242" fmla="*/ 421577 w 772668"/>
                <a:gd name="connsiteY242" fmla="*/ 819626 h 835152"/>
                <a:gd name="connsiteX243" fmla="*/ 421577 w 772668"/>
                <a:gd name="connsiteY243" fmla="*/ 819626 h 835152"/>
                <a:gd name="connsiteX244" fmla="*/ 418624 w 772668"/>
                <a:gd name="connsiteY244" fmla="*/ 814864 h 835152"/>
                <a:gd name="connsiteX245" fmla="*/ 400050 w 772668"/>
                <a:gd name="connsiteY245" fmla="*/ 790003 h 835152"/>
                <a:gd name="connsiteX246" fmla="*/ 399288 w 772668"/>
                <a:gd name="connsiteY246" fmla="*/ 762381 h 835152"/>
                <a:gd name="connsiteX247" fmla="*/ 380714 w 772668"/>
                <a:gd name="connsiteY247" fmla="*/ 753713 h 835152"/>
                <a:gd name="connsiteX248" fmla="*/ 394621 w 772668"/>
                <a:gd name="connsiteY248" fmla="*/ 742283 h 835152"/>
                <a:gd name="connsiteX249" fmla="*/ 406241 w 772668"/>
                <a:gd name="connsiteY249" fmla="*/ 719328 h 835152"/>
                <a:gd name="connsiteX250" fmla="*/ 421767 w 772668"/>
                <a:gd name="connsiteY250" fmla="*/ 724186 h 835152"/>
                <a:gd name="connsiteX251" fmla="*/ 432149 w 772668"/>
                <a:gd name="connsiteY251" fmla="*/ 707803 h 835152"/>
                <a:gd name="connsiteX252" fmla="*/ 418719 w 772668"/>
                <a:gd name="connsiteY252" fmla="*/ 703326 h 835152"/>
                <a:gd name="connsiteX253" fmla="*/ 422148 w 772668"/>
                <a:gd name="connsiteY253" fmla="*/ 697325 h 835152"/>
                <a:gd name="connsiteX254" fmla="*/ 428054 w 772668"/>
                <a:gd name="connsiteY254" fmla="*/ 700754 h 835152"/>
                <a:gd name="connsiteX255" fmla="*/ 431387 w 772668"/>
                <a:gd name="connsiteY255" fmla="*/ 696944 h 835152"/>
                <a:gd name="connsiteX256" fmla="*/ 423958 w 772668"/>
                <a:gd name="connsiteY256" fmla="*/ 689705 h 835152"/>
                <a:gd name="connsiteX257" fmla="*/ 420529 w 772668"/>
                <a:gd name="connsiteY257" fmla="*/ 682371 h 835152"/>
                <a:gd name="connsiteX258" fmla="*/ 411004 w 772668"/>
                <a:gd name="connsiteY258" fmla="*/ 672846 h 835152"/>
                <a:gd name="connsiteX259" fmla="*/ 404051 w 772668"/>
                <a:gd name="connsiteY259" fmla="*/ 674084 h 835152"/>
                <a:gd name="connsiteX260" fmla="*/ 397859 w 772668"/>
                <a:gd name="connsiteY260" fmla="*/ 671513 h 835152"/>
                <a:gd name="connsiteX261" fmla="*/ 397859 w 772668"/>
                <a:gd name="connsiteY261" fmla="*/ 677323 h 835152"/>
                <a:gd name="connsiteX262" fmla="*/ 391954 w 772668"/>
                <a:gd name="connsiteY262" fmla="*/ 672465 h 835152"/>
                <a:gd name="connsiteX263" fmla="*/ 392716 w 772668"/>
                <a:gd name="connsiteY263" fmla="*/ 663607 h 835152"/>
                <a:gd name="connsiteX264" fmla="*/ 380619 w 772668"/>
                <a:gd name="connsiteY264" fmla="*/ 658177 h 835152"/>
                <a:gd name="connsiteX265" fmla="*/ 385477 w 772668"/>
                <a:gd name="connsiteY265" fmla="*/ 645414 h 835152"/>
                <a:gd name="connsiteX266" fmla="*/ 390144 w 772668"/>
                <a:gd name="connsiteY266" fmla="*/ 643223 h 835152"/>
                <a:gd name="connsiteX267" fmla="*/ 391382 w 772668"/>
                <a:gd name="connsiteY267" fmla="*/ 638461 h 835152"/>
                <a:gd name="connsiteX268" fmla="*/ 386810 w 772668"/>
                <a:gd name="connsiteY268" fmla="*/ 635222 h 835152"/>
                <a:gd name="connsiteX269" fmla="*/ 388811 w 772668"/>
                <a:gd name="connsiteY269" fmla="*/ 622554 h 835152"/>
                <a:gd name="connsiteX270" fmla="*/ 397859 w 772668"/>
                <a:gd name="connsiteY270" fmla="*/ 617125 h 835152"/>
                <a:gd name="connsiteX271" fmla="*/ 396526 w 772668"/>
                <a:gd name="connsiteY271" fmla="*/ 610362 h 835152"/>
                <a:gd name="connsiteX272" fmla="*/ 402241 w 772668"/>
                <a:gd name="connsiteY272" fmla="*/ 606361 h 835152"/>
                <a:gd name="connsiteX273" fmla="*/ 416433 w 772668"/>
                <a:gd name="connsiteY273" fmla="*/ 623126 h 835152"/>
                <a:gd name="connsiteX274" fmla="*/ 427292 w 772668"/>
                <a:gd name="connsiteY274" fmla="*/ 619315 h 835152"/>
                <a:gd name="connsiteX275" fmla="*/ 421577 w 772668"/>
                <a:gd name="connsiteY275" fmla="*/ 602075 h 835152"/>
                <a:gd name="connsiteX276" fmla="*/ 427006 w 772668"/>
                <a:gd name="connsiteY276" fmla="*/ 602075 h 835152"/>
                <a:gd name="connsiteX277" fmla="*/ 437864 w 772668"/>
                <a:gd name="connsiteY277" fmla="*/ 595217 h 835152"/>
                <a:gd name="connsiteX278" fmla="*/ 436340 w 772668"/>
                <a:gd name="connsiteY278" fmla="*/ 590264 h 835152"/>
                <a:gd name="connsiteX279" fmla="*/ 439674 w 772668"/>
                <a:gd name="connsiteY279" fmla="*/ 584835 h 835152"/>
                <a:gd name="connsiteX280" fmla="*/ 445580 w 772668"/>
                <a:gd name="connsiteY280" fmla="*/ 587693 h 835152"/>
                <a:gd name="connsiteX281" fmla="*/ 457676 w 772668"/>
                <a:gd name="connsiteY281" fmla="*/ 581215 h 835152"/>
                <a:gd name="connsiteX282" fmla="*/ 460534 w 772668"/>
                <a:gd name="connsiteY282" fmla="*/ 573024 h 835152"/>
                <a:gd name="connsiteX283" fmla="*/ 465201 w 772668"/>
                <a:gd name="connsiteY283" fmla="*/ 575119 h 835152"/>
                <a:gd name="connsiteX284" fmla="*/ 467011 w 772668"/>
                <a:gd name="connsiteY284" fmla="*/ 570452 h 835152"/>
                <a:gd name="connsiteX285" fmla="*/ 476536 w 772668"/>
                <a:gd name="connsiteY285" fmla="*/ 571976 h 835152"/>
                <a:gd name="connsiteX286" fmla="*/ 474536 w 772668"/>
                <a:gd name="connsiteY286" fmla="*/ 578072 h 835152"/>
                <a:gd name="connsiteX287" fmla="*/ 480441 w 772668"/>
                <a:gd name="connsiteY287" fmla="*/ 577310 h 835152"/>
                <a:gd name="connsiteX288" fmla="*/ 484823 w 772668"/>
                <a:gd name="connsiteY288" fmla="*/ 579501 h 835152"/>
                <a:gd name="connsiteX289" fmla="*/ 485394 w 772668"/>
                <a:gd name="connsiteY289" fmla="*/ 573405 h 835152"/>
                <a:gd name="connsiteX290" fmla="*/ 495681 w 772668"/>
                <a:gd name="connsiteY290" fmla="*/ 569785 h 835152"/>
                <a:gd name="connsiteX291" fmla="*/ 499015 w 772668"/>
                <a:gd name="connsiteY291" fmla="*/ 578358 h 835152"/>
                <a:gd name="connsiteX292" fmla="*/ 517303 w 772668"/>
                <a:gd name="connsiteY292" fmla="*/ 577691 h 835152"/>
                <a:gd name="connsiteX293" fmla="*/ 521494 w 772668"/>
                <a:gd name="connsiteY293" fmla="*/ 584073 h 835152"/>
                <a:gd name="connsiteX294" fmla="*/ 530257 w 772668"/>
                <a:gd name="connsiteY294" fmla="*/ 587026 h 835152"/>
                <a:gd name="connsiteX295" fmla="*/ 531781 w 772668"/>
                <a:gd name="connsiteY295" fmla="*/ 591693 h 835152"/>
                <a:gd name="connsiteX296" fmla="*/ 536448 w 772668"/>
                <a:gd name="connsiteY296" fmla="*/ 595598 h 835152"/>
                <a:gd name="connsiteX297" fmla="*/ 535115 w 772668"/>
                <a:gd name="connsiteY297" fmla="*/ 602742 h 835152"/>
                <a:gd name="connsiteX298" fmla="*/ 542639 w 772668"/>
                <a:gd name="connsiteY298" fmla="*/ 604171 h 835152"/>
                <a:gd name="connsiteX299" fmla="*/ 542639 w 772668"/>
                <a:gd name="connsiteY299" fmla="*/ 595979 h 835152"/>
                <a:gd name="connsiteX300" fmla="*/ 539782 w 772668"/>
                <a:gd name="connsiteY300" fmla="*/ 590550 h 835152"/>
                <a:gd name="connsiteX301" fmla="*/ 548831 w 772668"/>
                <a:gd name="connsiteY301" fmla="*/ 593407 h 835152"/>
                <a:gd name="connsiteX302" fmla="*/ 560927 w 772668"/>
                <a:gd name="connsiteY302" fmla="*/ 604933 h 835152"/>
                <a:gd name="connsiteX303" fmla="*/ 574548 w 772668"/>
                <a:gd name="connsiteY303" fmla="*/ 595693 h 835152"/>
                <a:gd name="connsiteX304" fmla="*/ 577596 w 772668"/>
                <a:gd name="connsiteY304" fmla="*/ 588264 h 835152"/>
                <a:gd name="connsiteX305" fmla="*/ 583597 w 772668"/>
                <a:gd name="connsiteY305" fmla="*/ 593217 h 835152"/>
                <a:gd name="connsiteX306" fmla="*/ 585597 w 772668"/>
                <a:gd name="connsiteY306" fmla="*/ 588550 h 835152"/>
                <a:gd name="connsiteX307" fmla="*/ 593122 w 772668"/>
                <a:gd name="connsiteY307" fmla="*/ 589312 h 835152"/>
                <a:gd name="connsiteX308" fmla="*/ 597218 w 772668"/>
                <a:gd name="connsiteY308" fmla="*/ 596836 h 835152"/>
                <a:gd name="connsiteX309" fmla="*/ 603695 w 772668"/>
                <a:gd name="connsiteY309" fmla="*/ 595408 h 835152"/>
                <a:gd name="connsiteX310" fmla="*/ 603695 w 772668"/>
                <a:gd name="connsiteY310" fmla="*/ 588550 h 835152"/>
                <a:gd name="connsiteX311" fmla="*/ 619411 w 772668"/>
                <a:gd name="connsiteY311" fmla="*/ 590359 h 835152"/>
                <a:gd name="connsiteX312" fmla="*/ 621221 w 772668"/>
                <a:gd name="connsiteY312" fmla="*/ 598265 h 835152"/>
                <a:gd name="connsiteX313" fmla="*/ 637413 w 772668"/>
                <a:gd name="connsiteY313" fmla="*/ 602551 h 835152"/>
                <a:gd name="connsiteX314" fmla="*/ 642652 w 772668"/>
                <a:gd name="connsiteY314" fmla="*/ 606171 h 835152"/>
                <a:gd name="connsiteX315" fmla="*/ 649034 w 772668"/>
                <a:gd name="connsiteY315" fmla="*/ 595693 h 835152"/>
                <a:gd name="connsiteX316" fmla="*/ 654463 w 772668"/>
                <a:gd name="connsiteY316" fmla="*/ 600742 h 835152"/>
                <a:gd name="connsiteX317" fmla="*/ 676180 w 772668"/>
                <a:gd name="connsiteY317" fmla="*/ 597884 h 835152"/>
                <a:gd name="connsiteX318" fmla="*/ 678180 w 772668"/>
                <a:gd name="connsiteY318" fmla="*/ 587502 h 835152"/>
                <a:gd name="connsiteX319" fmla="*/ 682371 w 772668"/>
                <a:gd name="connsiteY319" fmla="*/ 583216 h 835152"/>
                <a:gd name="connsiteX320" fmla="*/ 676942 w 772668"/>
                <a:gd name="connsiteY320" fmla="*/ 579596 h 835152"/>
                <a:gd name="connsiteX321" fmla="*/ 665321 w 772668"/>
                <a:gd name="connsiteY321" fmla="*/ 578548 h 835152"/>
                <a:gd name="connsiteX322" fmla="*/ 666845 w 772668"/>
                <a:gd name="connsiteY322" fmla="*/ 574262 h 835152"/>
                <a:gd name="connsiteX323" fmla="*/ 655225 w 772668"/>
                <a:gd name="connsiteY323" fmla="*/ 574262 h 835152"/>
                <a:gd name="connsiteX324" fmla="*/ 657035 w 772668"/>
                <a:gd name="connsiteY324" fmla="*/ 569309 h 835152"/>
                <a:gd name="connsiteX325" fmla="*/ 647510 w 772668"/>
                <a:gd name="connsiteY325" fmla="*/ 568166 h 835152"/>
                <a:gd name="connsiteX326" fmla="*/ 647510 w 772668"/>
                <a:gd name="connsiteY326" fmla="*/ 562451 h 835152"/>
                <a:gd name="connsiteX327" fmla="*/ 652558 w 772668"/>
                <a:gd name="connsiteY327" fmla="*/ 561594 h 835152"/>
                <a:gd name="connsiteX328" fmla="*/ 652558 w 772668"/>
                <a:gd name="connsiteY328" fmla="*/ 561594 h 835152"/>
                <a:gd name="connsiteX329" fmla="*/ 652558 w 772668"/>
                <a:gd name="connsiteY329" fmla="*/ 561594 h 835152"/>
                <a:gd name="connsiteX330" fmla="*/ 651891 w 772668"/>
                <a:gd name="connsiteY330" fmla="*/ 552069 h 835152"/>
                <a:gd name="connsiteX331" fmla="*/ 634936 w 772668"/>
                <a:gd name="connsiteY331" fmla="*/ 554164 h 835152"/>
                <a:gd name="connsiteX332" fmla="*/ 633032 w 772668"/>
                <a:gd name="connsiteY332" fmla="*/ 561499 h 835152"/>
                <a:gd name="connsiteX333" fmla="*/ 625602 w 772668"/>
                <a:gd name="connsiteY333" fmla="*/ 556546 h 835152"/>
                <a:gd name="connsiteX334" fmla="*/ 624364 w 772668"/>
                <a:gd name="connsiteY334" fmla="*/ 545497 h 835152"/>
                <a:gd name="connsiteX335" fmla="*/ 630555 w 772668"/>
                <a:gd name="connsiteY335" fmla="*/ 539210 h 835152"/>
                <a:gd name="connsiteX336" fmla="*/ 625507 w 772668"/>
                <a:gd name="connsiteY336" fmla="*/ 533876 h 835152"/>
                <a:gd name="connsiteX337" fmla="*/ 627412 w 772668"/>
                <a:gd name="connsiteY337" fmla="*/ 517017 h 835152"/>
                <a:gd name="connsiteX338" fmla="*/ 633508 w 772668"/>
                <a:gd name="connsiteY338" fmla="*/ 518636 h 835152"/>
                <a:gd name="connsiteX339" fmla="*/ 635889 w 772668"/>
                <a:gd name="connsiteY339" fmla="*/ 511683 h 835152"/>
                <a:gd name="connsiteX340" fmla="*/ 647224 w 772668"/>
                <a:gd name="connsiteY340" fmla="*/ 512159 h 835152"/>
                <a:gd name="connsiteX341" fmla="*/ 643890 w 772668"/>
                <a:gd name="connsiteY341" fmla="*/ 504730 h 835152"/>
                <a:gd name="connsiteX342" fmla="*/ 651415 w 772668"/>
                <a:gd name="connsiteY342" fmla="*/ 491299 h 835152"/>
                <a:gd name="connsiteX343" fmla="*/ 641890 w 772668"/>
                <a:gd name="connsiteY343" fmla="*/ 490156 h 835152"/>
                <a:gd name="connsiteX344" fmla="*/ 635984 w 772668"/>
                <a:gd name="connsiteY344" fmla="*/ 498062 h 835152"/>
                <a:gd name="connsiteX345" fmla="*/ 630174 w 772668"/>
                <a:gd name="connsiteY345" fmla="*/ 498538 h 835152"/>
                <a:gd name="connsiteX346" fmla="*/ 624459 w 772668"/>
                <a:gd name="connsiteY346" fmla="*/ 502444 h 835152"/>
                <a:gd name="connsiteX347" fmla="*/ 617601 w 772668"/>
                <a:gd name="connsiteY347" fmla="*/ 500539 h 835152"/>
                <a:gd name="connsiteX348" fmla="*/ 609219 w 772668"/>
                <a:gd name="connsiteY348" fmla="*/ 504825 h 835152"/>
                <a:gd name="connsiteX349" fmla="*/ 593312 w 772668"/>
                <a:gd name="connsiteY349" fmla="*/ 489680 h 835152"/>
                <a:gd name="connsiteX350" fmla="*/ 598361 w 772668"/>
                <a:gd name="connsiteY350" fmla="*/ 476536 h 835152"/>
                <a:gd name="connsiteX351" fmla="*/ 604171 w 772668"/>
                <a:gd name="connsiteY351" fmla="*/ 476536 h 835152"/>
                <a:gd name="connsiteX352" fmla="*/ 606266 w 772668"/>
                <a:gd name="connsiteY352" fmla="*/ 471392 h 835152"/>
                <a:gd name="connsiteX353" fmla="*/ 612362 w 772668"/>
                <a:gd name="connsiteY353" fmla="*/ 477393 h 835152"/>
                <a:gd name="connsiteX354" fmla="*/ 607219 w 772668"/>
                <a:gd name="connsiteY354" fmla="*/ 483965 h 835152"/>
                <a:gd name="connsiteX355" fmla="*/ 611219 w 772668"/>
                <a:gd name="connsiteY355" fmla="*/ 489680 h 835152"/>
                <a:gd name="connsiteX356" fmla="*/ 616553 w 772668"/>
                <a:gd name="connsiteY356" fmla="*/ 483775 h 835152"/>
                <a:gd name="connsiteX357" fmla="*/ 623126 w 772668"/>
                <a:gd name="connsiteY357" fmla="*/ 488728 h 835152"/>
                <a:gd name="connsiteX358" fmla="*/ 626269 w 772668"/>
                <a:gd name="connsiteY358" fmla="*/ 485870 h 835152"/>
                <a:gd name="connsiteX359" fmla="*/ 623221 w 772668"/>
                <a:gd name="connsiteY359" fmla="*/ 478345 h 835152"/>
                <a:gd name="connsiteX360" fmla="*/ 630746 w 772668"/>
                <a:gd name="connsiteY360" fmla="*/ 479203 h 835152"/>
                <a:gd name="connsiteX361" fmla="*/ 634936 w 772668"/>
                <a:gd name="connsiteY361" fmla="*/ 474440 h 835152"/>
                <a:gd name="connsiteX362" fmla="*/ 643033 w 772668"/>
                <a:gd name="connsiteY362" fmla="*/ 472059 h 835152"/>
                <a:gd name="connsiteX363" fmla="*/ 643033 w 772668"/>
                <a:gd name="connsiteY363" fmla="*/ 467963 h 835152"/>
                <a:gd name="connsiteX364" fmla="*/ 630555 w 772668"/>
                <a:gd name="connsiteY364" fmla="*/ 463010 h 835152"/>
                <a:gd name="connsiteX365" fmla="*/ 638175 w 772668"/>
                <a:gd name="connsiteY365" fmla="*/ 455009 h 835152"/>
                <a:gd name="connsiteX366" fmla="*/ 629793 w 772668"/>
                <a:gd name="connsiteY366" fmla="*/ 452818 h 835152"/>
                <a:gd name="connsiteX367" fmla="*/ 623411 w 772668"/>
                <a:gd name="connsiteY367" fmla="*/ 456343 h 835152"/>
                <a:gd name="connsiteX368" fmla="*/ 601218 w 772668"/>
                <a:gd name="connsiteY368" fmla="*/ 456343 h 835152"/>
                <a:gd name="connsiteX369" fmla="*/ 598742 w 772668"/>
                <a:gd name="connsiteY369" fmla="*/ 443484 h 835152"/>
                <a:gd name="connsiteX370" fmla="*/ 593789 w 772668"/>
                <a:gd name="connsiteY370" fmla="*/ 440912 h 835152"/>
                <a:gd name="connsiteX371" fmla="*/ 595217 w 772668"/>
                <a:gd name="connsiteY371" fmla="*/ 435864 h 835152"/>
                <a:gd name="connsiteX372" fmla="*/ 614267 w 772668"/>
                <a:gd name="connsiteY372" fmla="*/ 429959 h 835152"/>
                <a:gd name="connsiteX373" fmla="*/ 607695 w 772668"/>
                <a:gd name="connsiteY373" fmla="*/ 421481 h 835152"/>
                <a:gd name="connsiteX374" fmla="*/ 610838 w 772668"/>
                <a:gd name="connsiteY374" fmla="*/ 411289 h 835152"/>
                <a:gd name="connsiteX375" fmla="*/ 617030 w 772668"/>
                <a:gd name="connsiteY375" fmla="*/ 411289 h 835152"/>
                <a:gd name="connsiteX376" fmla="*/ 621697 w 772668"/>
                <a:gd name="connsiteY376" fmla="*/ 415290 h 835152"/>
                <a:gd name="connsiteX377" fmla="*/ 629412 w 772668"/>
                <a:gd name="connsiteY377" fmla="*/ 409670 h 835152"/>
                <a:gd name="connsiteX378" fmla="*/ 621030 w 772668"/>
                <a:gd name="connsiteY378" fmla="*/ 398717 h 835152"/>
                <a:gd name="connsiteX379" fmla="*/ 627507 w 772668"/>
                <a:gd name="connsiteY379" fmla="*/ 392335 h 835152"/>
                <a:gd name="connsiteX380" fmla="*/ 633794 w 772668"/>
                <a:gd name="connsiteY380" fmla="*/ 393001 h 835152"/>
                <a:gd name="connsiteX381" fmla="*/ 637985 w 772668"/>
                <a:gd name="connsiteY381" fmla="*/ 381667 h 835152"/>
                <a:gd name="connsiteX382" fmla="*/ 629888 w 772668"/>
                <a:gd name="connsiteY382" fmla="*/ 379667 h 835152"/>
                <a:gd name="connsiteX383" fmla="*/ 631127 w 772668"/>
                <a:gd name="connsiteY383" fmla="*/ 365760 h 835152"/>
                <a:gd name="connsiteX384" fmla="*/ 617220 w 772668"/>
                <a:gd name="connsiteY384" fmla="*/ 356806 h 835152"/>
                <a:gd name="connsiteX385" fmla="*/ 619315 w 772668"/>
                <a:gd name="connsiteY385" fmla="*/ 349567 h 835152"/>
                <a:gd name="connsiteX386" fmla="*/ 629888 w 772668"/>
                <a:gd name="connsiteY386" fmla="*/ 341662 h 835152"/>
                <a:gd name="connsiteX387" fmla="*/ 632746 w 772668"/>
                <a:gd name="connsiteY387" fmla="*/ 330327 h 835152"/>
                <a:gd name="connsiteX388" fmla="*/ 638461 w 772668"/>
                <a:gd name="connsiteY388" fmla="*/ 321564 h 835152"/>
                <a:gd name="connsiteX389" fmla="*/ 633603 w 772668"/>
                <a:gd name="connsiteY389" fmla="*/ 299371 h 835152"/>
                <a:gd name="connsiteX390" fmla="*/ 640556 w 772668"/>
                <a:gd name="connsiteY390" fmla="*/ 293370 h 835152"/>
                <a:gd name="connsiteX391" fmla="*/ 637223 w 772668"/>
                <a:gd name="connsiteY391" fmla="*/ 276511 h 835152"/>
                <a:gd name="connsiteX392" fmla="*/ 645890 w 772668"/>
                <a:gd name="connsiteY392" fmla="*/ 264128 h 835152"/>
                <a:gd name="connsiteX393" fmla="*/ 637032 w 772668"/>
                <a:gd name="connsiteY393" fmla="*/ 261747 h 835152"/>
                <a:gd name="connsiteX394" fmla="*/ 633603 w 772668"/>
                <a:gd name="connsiteY394" fmla="*/ 248317 h 835152"/>
                <a:gd name="connsiteX395" fmla="*/ 638937 w 772668"/>
                <a:gd name="connsiteY395" fmla="*/ 223075 h 835152"/>
                <a:gd name="connsiteX396" fmla="*/ 648462 w 772668"/>
                <a:gd name="connsiteY396" fmla="*/ 212598 h 835152"/>
                <a:gd name="connsiteX397" fmla="*/ 641890 w 772668"/>
                <a:gd name="connsiteY397" fmla="*/ 210121 h 835152"/>
                <a:gd name="connsiteX398" fmla="*/ 641890 w 772668"/>
                <a:gd name="connsiteY398" fmla="*/ 196596 h 835152"/>
                <a:gd name="connsiteX399" fmla="*/ 653986 w 772668"/>
                <a:gd name="connsiteY399" fmla="*/ 184594 h 835152"/>
                <a:gd name="connsiteX400" fmla="*/ 663035 w 772668"/>
                <a:gd name="connsiteY400" fmla="*/ 191262 h 835152"/>
                <a:gd name="connsiteX401" fmla="*/ 678275 w 772668"/>
                <a:gd name="connsiteY401" fmla="*/ 183356 h 835152"/>
                <a:gd name="connsiteX402" fmla="*/ 675799 w 772668"/>
                <a:gd name="connsiteY402" fmla="*/ 177641 h 835152"/>
                <a:gd name="connsiteX403" fmla="*/ 686467 w 772668"/>
                <a:gd name="connsiteY403" fmla="*/ 168116 h 835152"/>
                <a:gd name="connsiteX404" fmla="*/ 704469 w 772668"/>
                <a:gd name="connsiteY404" fmla="*/ 162782 h 835152"/>
                <a:gd name="connsiteX405" fmla="*/ 714851 w 772668"/>
                <a:gd name="connsiteY405" fmla="*/ 146113 h 835152"/>
                <a:gd name="connsiteX406" fmla="*/ 750570 w 772668"/>
                <a:gd name="connsiteY406" fmla="*/ 128968 h 835152"/>
                <a:gd name="connsiteX407" fmla="*/ 752475 w 772668"/>
                <a:gd name="connsiteY407" fmla="*/ 121825 h 835152"/>
                <a:gd name="connsiteX408" fmla="*/ 770477 w 772668"/>
                <a:gd name="connsiteY408" fmla="*/ 109156 h 835152"/>
                <a:gd name="connsiteX409" fmla="*/ 766477 w 772668"/>
                <a:gd name="connsiteY409" fmla="*/ 105727 h 8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72668" h="835152">
                  <a:moveTo>
                    <a:pt x="772668" y="99536"/>
                  </a:moveTo>
                  <a:lnTo>
                    <a:pt x="768001" y="92964"/>
                  </a:lnTo>
                  <a:lnTo>
                    <a:pt x="753999" y="92297"/>
                  </a:lnTo>
                  <a:lnTo>
                    <a:pt x="760952" y="71628"/>
                  </a:lnTo>
                  <a:lnTo>
                    <a:pt x="740474" y="60960"/>
                  </a:lnTo>
                  <a:lnTo>
                    <a:pt x="745331" y="43720"/>
                  </a:lnTo>
                  <a:lnTo>
                    <a:pt x="715518" y="33718"/>
                  </a:lnTo>
                  <a:lnTo>
                    <a:pt x="655892" y="29813"/>
                  </a:lnTo>
                  <a:lnTo>
                    <a:pt x="625888" y="0"/>
                  </a:lnTo>
                  <a:lnTo>
                    <a:pt x="616363" y="13430"/>
                  </a:lnTo>
                  <a:lnTo>
                    <a:pt x="651986" y="35623"/>
                  </a:lnTo>
                  <a:lnTo>
                    <a:pt x="666750" y="58388"/>
                  </a:lnTo>
                  <a:lnTo>
                    <a:pt x="643890" y="65437"/>
                  </a:lnTo>
                  <a:lnTo>
                    <a:pt x="640652" y="76676"/>
                  </a:lnTo>
                  <a:lnTo>
                    <a:pt x="626459" y="55245"/>
                  </a:lnTo>
                  <a:lnTo>
                    <a:pt x="599694" y="63817"/>
                  </a:lnTo>
                  <a:lnTo>
                    <a:pt x="593789" y="69723"/>
                  </a:lnTo>
                  <a:lnTo>
                    <a:pt x="567690" y="65913"/>
                  </a:lnTo>
                  <a:lnTo>
                    <a:pt x="554831" y="69723"/>
                  </a:lnTo>
                  <a:lnTo>
                    <a:pt x="544640" y="86963"/>
                  </a:lnTo>
                  <a:lnTo>
                    <a:pt x="515493" y="79915"/>
                  </a:lnTo>
                  <a:lnTo>
                    <a:pt x="530447" y="71152"/>
                  </a:lnTo>
                  <a:lnTo>
                    <a:pt x="539972" y="55245"/>
                  </a:lnTo>
                  <a:lnTo>
                    <a:pt x="513207" y="59531"/>
                  </a:lnTo>
                  <a:lnTo>
                    <a:pt x="449771" y="84772"/>
                  </a:lnTo>
                  <a:lnTo>
                    <a:pt x="421196" y="86201"/>
                  </a:lnTo>
                  <a:lnTo>
                    <a:pt x="431482" y="99250"/>
                  </a:lnTo>
                  <a:lnTo>
                    <a:pt x="406432" y="100870"/>
                  </a:lnTo>
                  <a:lnTo>
                    <a:pt x="401193" y="124015"/>
                  </a:lnTo>
                  <a:lnTo>
                    <a:pt x="369761" y="124015"/>
                  </a:lnTo>
                  <a:lnTo>
                    <a:pt x="348615" y="107918"/>
                  </a:lnTo>
                  <a:lnTo>
                    <a:pt x="358140" y="95536"/>
                  </a:lnTo>
                  <a:lnTo>
                    <a:pt x="384619" y="92869"/>
                  </a:lnTo>
                  <a:lnTo>
                    <a:pt x="370713" y="71818"/>
                  </a:lnTo>
                  <a:lnTo>
                    <a:pt x="318516" y="64865"/>
                  </a:lnTo>
                  <a:lnTo>
                    <a:pt x="333947" y="81248"/>
                  </a:lnTo>
                  <a:lnTo>
                    <a:pt x="326136" y="112109"/>
                  </a:lnTo>
                  <a:lnTo>
                    <a:pt x="341662" y="122872"/>
                  </a:lnTo>
                  <a:lnTo>
                    <a:pt x="330136" y="138493"/>
                  </a:lnTo>
                  <a:lnTo>
                    <a:pt x="334709" y="155543"/>
                  </a:lnTo>
                  <a:lnTo>
                    <a:pt x="317182" y="138493"/>
                  </a:lnTo>
                  <a:lnTo>
                    <a:pt x="295751" y="134684"/>
                  </a:lnTo>
                  <a:lnTo>
                    <a:pt x="284512" y="146590"/>
                  </a:lnTo>
                  <a:lnTo>
                    <a:pt x="248793" y="163830"/>
                  </a:lnTo>
                  <a:lnTo>
                    <a:pt x="261747" y="198692"/>
                  </a:lnTo>
                  <a:lnTo>
                    <a:pt x="242697" y="197644"/>
                  </a:lnTo>
                  <a:lnTo>
                    <a:pt x="227076" y="192214"/>
                  </a:lnTo>
                  <a:lnTo>
                    <a:pt x="214217" y="198882"/>
                  </a:lnTo>
                  <a:lnTo>
                    <a:pt x="219075" y="188785"/>
                  </a:lnTo>
                  <a:lnTo>
                    <a:pt x="189262" y="177736"/>
                  </a:lnTo>
                  <a:lnTo>
                    <a:pt x="192119" y="199739"/>
                  </a:lnTo>
                  <a:lnTo>
                    <a:pt x="212312" y="206216"/>
                  </a:lnTo>
                  <a:lnTo>
                    <a:pt x="202787" y="221837"/>
                  </a:lnTo>
                  <a:lnTo>
                    <a:pt x="178022" y="215360"/>
                  </a:lnTo>
                  <a:lnTo>
                    <a:pt x="174022" y="204788"/>
                  </a:lnTo>
                  <a:lnTo>
                    <a:pt x="163830" y="199930"/>
                  </a:lnTo>
                  <a:lnTo>
                    <a:pt x="161163" y="205168"/>
                  </a:lnTo>
                  <a:lnTo>
                    <a:pt x="147638" y="198215"/>
                  </a:lnTo>
                  <a:lnTo>
                    <a:pt x="151924" y="160115"/>
                  </a:lnTo>
                  <a:lnTo>
                    <a:pt x="103061" y="117634"/>
                  </a:lnTo>
                  <a:lnTo>
                    <a:pt x="131636" y="128968"/>
                  </a:lnTo>
                  <a:lnTo>
                    <a:pt x="138208" y="120586"/>
                  </a:lnTo>
                  <a:lnTo>
                    <a:pt x="142208" y="133731"/>
                  </a:lnTo>
                  <a:lnTo>
                    <a:pt x="195358" y="143256"/>
                  </a:lnTo>
                  <a:lnTo>
                    <a:pt x="211550" y="148685"/>
                  </a:lnTo>
                  <a:lnTo>
                    <a:pt x="236982" y="147542"/>
                  </a:lnTo>
                  <a:lnTo>
                    <a:pt x="275939" y="124492"/>
                  </a:lnTo>
                  <a:lnTo>
                    <a:pt x="278892" y="112681"/>
                  </a:lnTo>
                  <a:lnTo>
                    <a:pt x="271653" y="96012"/>
                  </a:lnTo>
                  <a:lnTo>
                    <a:pt x="220218" y="76200"/>
                  </a:lnTo>
                  <a:lnTo>
                    <a:pt x="184499" y="54197"/>
                  </a:lnTo>
                  <a:lnTo>
                    <a:pt x="132017" y="44005"/>
                  </a:lnTo>
                  <a:lnTo>
                    <a:pt x="117253" y="60388"/>
                  </a:lnTo>
                  <a:lnTo>
                    <a:pt x="122111" y="40195"/>
                  </a:lnTo>
                  <a:lnTo>
                    <a:pt x="93536" y="44386"/>
                  </a:lnTo>
                  <a:lnTo>
                    <a:pt x="110871" y="35909"/>
                  </a:lnTo>
                  <a:lnTo>
                    <a:pt x="115538" y="30575"/>
                  </a:lnTo>
                  <a:lnTo>
                    <a:pt x="92393" y="23527"/>
                  </a:lnTo>
                  <a:lnTo>
                    <a:pt x="89726" y="33052"/>
                  </a:lnTo>
                  <a:lnTo>
                    <a:pt x="72485" y="28765"/>
                  </a:lnTo>
                  <a:lnTo>
                    <a:pt x="72485" y="28765"/>
                  </a:lnTo>
                  <a:lnTo>
                    <a:pt x="71723" y="41338"/>
                  </a:lnTo>
                  <a:lnTo>
                    <a:pt x="57817" y="32480"/>
                  </a:lnTo>
                  <a:lnTo>
                    <a:pt x="55817" y="39433"/>
                  </a:lnTo>
                  <a:lnTo>
                    <a:pt x="43053" y="45148"/>
                  </a:lnTo>
                  <a:lnTo>
                    <a:pt x="34957" y="56483"/>
                  </a:lnTo>
                  <a:lnTo>
                    <a:pt x="32385" y="52483"/>
                  </a:lnTo>
                  <a:lnTo>
                    <a:pt x="32385" y="52483"/>
                  </a:lnTo>
                  <a:lnTo>
                    <a:pt x="22860" y="59436"/>
                  </a:lnTo>
                  <a:lnTo>
                    <a:pt x="29432" y="64484"/>
                  </a:lnTo>
                  <a:lnTo>
                    <a:pt x="24003" y="72009"/>
                  </a:lnTo>
                  <a:lnTo>
                    <a:pt x="29051" y="80772"/>
                  </a:lnTo>
                  <a:lnTo>
                    <a:pt x="41434" y="84582"/>
                  </a:lnTo>
                  <a:lnTo>
                    <a:pt x="54959" y="97155"/>
                  </a:lnTo>
                  <a:lnTo>
                    <a:pt x="52673" y="104775"/>
                  </a:lnTo>
                  <a:lnTo>
                    <a:pt x="34481" y="122396"/>
                  </a:lnTo>
                  <a:lnTo>
                    <a:pt x="44863" y="135636"/>
                  </a:lnTo>
                  <a:lnTo>
                    <a:pt x="57722" y="160782"/>
                  </a:lnTo>
                  <a:lnTo>
                    <a:pt x="48197" y="163925"/>
                  </a:lnTo>
                  <a:lnTo>
                    <a:pt x="47435" y="170878"/>
                  </a:lnTo>
                  <a:lnTo>
                    <a:pt x="52102" y="180403"/>
                  </a:lnTo>
                  <a:lnTo>
                    <a:pt x="47054" y="184785"/>
                  </a:lnTo>
                  <a:lnTo>
                    <a:pt x="57912" y="194881"/>
                  </a:lnTo>
                  <a:lnTo>
                    <a:pt x="53245" y="199930"/>
                  </a:lnTo>
                  <a:lnTo>
                    <a:pt x="65246" y="208121"/>
                  </a:lnTo>
                  <a:lnTo>
                    <a:pt x="67151" y="215646"/>
                  </a:lnTo>
                  <a:lnTo>
                    <a:pt x="54388" y="224504"/>
                  </a:lnTo>
                  <a:lnTo>
                    <a:pt x="77629" y="240220"/>
                  </a:lnTo>
                  <a:lnTo>
                    <a:pt x="86106" y="251555"/>
                  </a:lnTo>
                  <a:lnTo>
                    <a:pt x="79153" y="264128"/>
                  </a:lnTo>
                  <a:lnTo>
                    <a:pt x="11811" y="326517"/>
                  </a:lnTo>
                  <a:lnTo>
                    <a:pt x="11811" y="326517"/>
                  </a:lnTo>
                  <a:lnTo>
                    <a:pt x="11811" y="326517"/>
                  </a:lnTo>
                  <a:lnTo>
                    <a:pt x="44863" y="344519"/>
                  </a:lnTo>
                  <a:lnTo>
                    <a:pt x="16288" y="350330"/>
                  </a:lnTo>
                  <a:lnTo>
                    <a:pt x="15335" y="359092"/>
                  </a:lnTo>
                  <a:lnTo>
                    <a:pt x="17240" y="362426"/>
                  </a:lnTo>
                  <a:lnTo>
                    <a:pt x="12478" y="369570"/>
                  </a:lnTo>
                  <a:lnTo>
                    <a:pt x="13145" y="382524"/>
                  </a:lnTo>
                  <a:lnTo>
                    <a:pt x="8382" y="387572"/>
                  </a:lnTo>
                  <a:lnTo>
                    <a:pt x="20193" y="399764"/>
                  </a:lnTo>
                  <a:lnTo>
                    <a:pt x="12764" y="402622"/>
                  </a:lnTo>
                  <a:lnTo>
                    <a:pt x="7906" y="397573"/>
                  </a:lnTo>
                  <a:lnTo>
                    <a:pt x="7906" y="398335"/>
                  </a:lnTo>
                  <a:lnTo>
                    <a:pt x="7906" y="405193"/>
                  </a:lnTo>
                  <a:lnTo>
                    <a:pt x="0" y="411956"/>
                  </a:lnTo>
                  <a:lnTo>
                    <a:pt x="4572" y="413385"/>
                  </a:lnTo>
                  <a:lnTo>
                    <a:pt x="12573" y="420624"/>
                  </a:lnTo>
                  <a:lnTo>
                    <a:pt x="6668" y="429577"/>
                  </a:lnTo>
                  <a:lnTo>
                    <a:pt x="12573" y="432054"/>
                  </a:lnTo>
                  <a:lnTo>
                    <a:pt x="18288" y="443198"/>
                  </a:lnTo>
                  <a:lnTo>
                    <a:pt x="16955" y="450342"/>
                  </a:lnTo>
                  <a:lnTo>
                    <a:pt x="20288" y="453961"/>
                  </a:lnTo>
                  <a:lnTo>
                    <a:pt x="26765" y="451390"/>
                  </a:lnTo>
                  <a:lnTo>
                    <a:pt x="28289" y="456438"/>
                  </a:lnTo>
                  <a:lnTo>
                    <a:pt x="34290" y="453961"/>
                  </a:lnTo>
                  <a:lnTo>
                    <a:pt x="41720" y="456057"/>
                  </a:lnTo>
                  <a:lnTo>
                    <a:pt x="43529" y="463963"/>
                  </a:lnTo>
                  <a:lnTo>
                    <a:pt x="56960" y="458629"/>
                  </a:lnTo>
                  <a:lnTo>
                    <a:pt x="67056" y="464725"/>
                  </a:lnTo>
                  <a:lnTo>
                    <a:pt x="73438" y="464725"/>
                  </a:lnTo>
                  <a:lnTo>
                    <a:pt x="69818" y="475107"/>
                  </a:lnTo>
                  <a:lnTo>
                    <a:pt x="74962" y="480060"/>
                  </a:lnTo>
                  <a:lnTo>
                    <a:pt x="69342" y="486537"/>
                  </a:lnTo>
                  <a:lnTo>
                    <a:pt x="76772" y="491966"/>
                  </a:lnTo>
                  <a:lnTo>
                    <a:pt x="74962" y="495871"/>
                  </a:lnTo>
                  <a:lnTo>
                    <a:pt x="80391" y="504158"/>
                  </a:lnTo>
                  <a:lnTo>
                    <a:pt x="90488" y="507682"/>
                  </a:lnTo>
                  <a:lnTo>
                    <a:pt x="88392" y="514159"/>
                  </a:lnTo>
                  <a:lnTo>
                    <a:pt x="102870" y="517017"/>
                  </a:lnTo>
                  <a:lnTo>
                    <a:pt x="101346" y="521684"/>
                  </a:lnTo>
                  <a:lnTo>
                    <a:pt x="108299" y="523494"/>
                  </a:lnTo>
                  <a:lnTo>
                    <a:pt x="108299" y="529209"/>
                  </a:lnTo>
                  <a:lnTo>
                    <a:pt x="97727" y="534638"/>
                  </a:lnTo>
                  <a:lnTo>
                    <a:pt x="90488" y="534638"/>
                  </a:lnTo>
                  <a:lnTo>
                    <a:pt x="86582" y="531019"/>
                  </a:lnTo>
                  <a:lnTo>
                    <a:pt x="81153" y="531019"/>
                  </a:lnTo>
                  <a:lnTo>
                    <a:pt x="78391" y="537496"/>
                  </a:lnTo>
                  <a:lnTo>
                    <a:pt x="85630" y="544259"/>
                  </a:lnTo>
                  <a:lnTo>
                    <a:pt x="83534" y="549307"/>
                  </a:lnTo>
                  <a:lnTo>
                    <a:pt x="88964" y="557879"/>
                  </a:lnTo>
                  <a:lnTo>
                    <a:pt x="87821" y="562927"/>
                  </a:lnTo>
                  <a:lnTo>
                    <a:pt x="87821" y="562927"/>
                  </a:lnTo>
                  <a:lnTo>
                    <a:pt x="90964" y="563880"/>
                  </a:lnTo>
                  <a:lnTo>
                    <a:pt x="98203" y="562832"/>
                  </a:lnTo>
                  <a:lnTo>
                    <a:pt x="100013" y="556069"/>
                  </a:lnTo>
                  <a:lnTo>
                    <a:pt x="111157" y="557784"/>
                  </a:lnTo>
                  <a:lnTo>
                    <a:pt x="117539" y="553879"/>
                  </a:lnTo>
                  <a:lnTo>
                    <a:pt x="123730" y="557117"/>
                  </a:lnTo>
                  <a:lnTo>
                    <a:pt x="129921" y="553212"/>
                  </a:lnTo>
                  <a:lnTo>
                    <a:pt x="135160" y="561022"/>
                  </a:lnTo>
                  <a:lnTo>
                    <a:pt x="133826" y="565690"/>
                  </a:lnTo>
                  <a:lnTo>
                    <a:pt x="141827" y="571405"/>
                  </a:lnTo>
                  <a:lnTo>
                    <a:pt x="135160" y="574643"/>
                  </a:lnTo>
                  <a:lnTo>
                    <a:pt x="137922" y="585406"/>
                  </a:lnTo>
                  <a:lnTo>
                    <a:pt x="141065" y="583978"/>
                  </a:lnTo>
                  <a:lnTo>
                    <a:pt x="146209" y="587216"/>
                  </a:lnTo>
                  <a:lnTo>
                    <a:pt x="153924" y="586168"/>
                  </a:lnTo>
                  <a:lnTo>
                    <a:pt x="156496" y="590836"/>
                  </a:lnTo>
                  <a:lnTo>
                    <a:pt x="160401" y="591502"/>
                  </a:lnTo>
                  <a:lnTo>
                    <a:pt x="163259" y="600456"/>
                  </a:lnTo>
                  <a:lnTo>
                    <a:pt x="160687" y="604456"/>
                  </a:lnTo>
                  <a:lnTo>
                    <a:pt x="165259" y="610934"/>
                  </a:lnTo>
                  <a:lnTo>
                    <a:pt x="171260" y="608076"/>
                  </a:lnTo>
                  <a:lnTo>
                    <a:pt x="177451" y="612362"/>
                  </a:lnTo>
                  <a:lnTo>
                    <a:pt x="181261" y="610552"/>
                  </a:lnTo>
                  <a:lnTo>
                    <a:pt x="186214" y="614077"/>
                  </a:lnTo>
                  <a:lnTo>
                    <a:pt x="199835" y="607695"/>
                  </a:lnTo>
                  <a:lnTo>
                    <a:pt x="204502" y="611219"/>
                  </a:lnTo>
                  <a:lnTo>
                    <a:pt x="203454" y="616077"/>
                  </a:lnTo>
                  <a:lnTo>
                    <a:pt x="212503" y="622459"/>
                  </a:lnTo>
                  <a:lnTo>
                    <a:pt x="215836" y="617982"/>
                  </a:lnTo>
                  <a:lnTo>
                    <a:pt x="221552" y="621125"/>
                  </a:lnTo>
                  <a:lnTo>
                    <a:pt x="226219" y="619220"/>
                  </a:lnTo>
                  <a:lnTo>
                    <a:pt x="231077" y="625602"/>
                  </a:lnTo>
                  <a:lnTo>
                    <a:pt x="235458" y="622459"/>
                  </a:lnTo>
                  <a:lnTo>
                    <a:pt x="238030" y="626555"/>
                  </a:lnTo>
                  <a:lnTo>
                    <a:pt x="243173" y="626555"/>
                  </a:lnTo>
                  <a:lnTo>
                    <a:pt x="247364" y="630364"/>
                  </a:lnTo>
                  <a:lnTo>
                    <a:pt x="254508" y="628078"/>
                  </a:lnTo>
                  <a:lnTo>
                    <a:pt x="254508" y="637603"/>
                  </a:lnTo>
                  <a:lnTo>
                    <a:pt x="246031" y="641699"/>
                  </a:lnTo>
                  <a:lnTo>
                    <a:pt x="253746" y="646176"/>
                  </a:lnTo>
                  <a:lnTo>
                    <a:pt x="251746" y="649986"/>
                  </a:lnTo>
                  <a:lnTo>
                    <a:pt x="246317" y="649986"/>
                  </a:lnTo>
                  <a:lnTo>
                    <a:pt x="244507" y="654082"/>
                  </a:lnTo>
                  <a:lnTo>
                    <a:pt x="249365" y="656272"/>
                  </a:lnTo>
                  <a:lnTo>
                    <a:pt x="251936" y="662368"/>
                  </a:lnTo>
                  <a:lnTo>
                    <a:pt x="247840" y="672846"/>
                  </a:lnTo>
                  <a:lnTo>
                    <a:pt x="228790" y="672846"/>
                  </a:lnTo>
                  <a:lnTo>
                    <a:pt x="226695" y="677989"/>
                  </a:lnTo>
                  <a:lnTo>
                    <a:pt x="217170" y="680180"/>
                  </a:lnTo>
                  <a:lnTo>
                    <a:pt x="218027" y="685895"/>
                  </a:lnTo>
                  <a:lnTo>
                    <a:pt x="216789" y="690467"/>
                  </a:lnTo>
                  <a:lnTo>
                    <a:pt x="239268" y="690467"/>
                  </a:lnTo>
                  <a:lnTo>
                    <a:pt x="223456" y="701897"/>
                  </a:lnTo>
                  <a:lnTo>
                    <a:pt x="206597" y="701421"/>
                  </a:lnTo>
                  <a:lnTo>
                    <a:pt x="223076" y="716947"/>
                  </a:lnTo>
                  <a:lnTo>
                    <a:pt x="206597" y="734854"/>
                  </a:lnTo>
                  <a:lnTo>
                    <a:pt x="183832" y="737711"/>
                  </a:lnTo>
                  <a:lnTo>
                    <a:pt x="209550" y="750379"/>
                  </a:lnTo>
                  <a:lnTo>
                    <a:pt x="215836" y="757333"/>
                  </a:lnTo>
                  <a:lnTo>
                    <a:pt x="226790" y="760190"/>
                  </a:lnTo>
                  <a:lnTo>
                    <a:pt x="252508" y="778478"/>
                  </a:lnTo>
                  <a:lnTo>
                    <a:pt x="254794" y="773525"/>
                  </a:lnTo>
                  <a:lnTo>
                    <a:pt x="278225" y="781717"/>
                  </a:lnTo>
                  <a:lnTo>
                    <a:pt x="282893" y="785812"/>
                  </a:lnTo>
                  <a:lnTo>
                    <a:pt x="305372" y="786670"/>
                  </a:lnTo>
                  <a:lnTo>
                    <a:pt x="326231" y="795623"/>
                  </a:lnTo>
                  <a:lnTo>
                    <a:pt x="329089" y="804101"/>
                  </a:lnTo>
                  <a:lnTo>
                    <a:pt x="339281" y="798290"/>
                  </a:lnTo>
                  <a:lnTo>
                    <a:pt x="341471" y="797052"/>
                  </a:lnTo>
                  <a:lnTo>
                    <a:pt x="346615" y="800481"/>
                  </a:lnTo>
                  <a:lnTo>
                    <a:pt x="352615" y="796861"/>
                  </a:lnTo>
                  <a:lnTo>
                    <a:pt x="365093" y="803338"/>
                  </a:lnTo>
                  <a:lnTo>
                    <a:pt x="363093" y="810292"/>
                  </a:lnTo>
                  <a:lnTo>
                    <a:pt x="384619" y="819341"/>
                  </a:lnTo>
                  <a:lnTo>
                    <a:pt x="394144" y="827722"/>
                  </a:lnTo>
                  <a:lnTo>
                    <a:pt x="396811" y="833533"/>
                  </a:lnTo>
                  <a:lnTo>
                    <a:pt x="408718" y="835152"/>
                  </a:lnTo>
                  <a:lnTo>
                    <a:pt x="411385" y="828675"/>
                  </a:lnTo>
                  <a:lnTo>
                    <a:pt x="417290" y="826199"/>
                  </a:lnTo>
                  <a:lnTo>
                    <a:pt x="421577" y="819626"/>
                  </a:lnTo>
                  <a:lnTo>
                    <a:pt x="421577" y="819626"/>
                  </a:lnTo>
                  <a:lnTo>
                    <a:pt x="418624" y="814864"/>
                  </a:lnTo>
                  <a:lnTo>
                    <a:pt x="400050" y="790003"/>
                  </a:lnTo>
                  <a:lnTo>
                    <a:pt x="399288" y="762381"/>
                  </a:lnTo>
                  <a:lnTo>
                    <a:pt x="380714" y="753713"/>
                  </a:lnTo>
                  <a:lnTo>
                    <a:pt x="394621" y="742283"/>
                  </a:lnTo>
                  <a:lnTo>
                    <a:pt x="406241" y="719328"/>
                  </a:lnTo>
                  <a:lnTo>
                    <a:pt x="421767" y="724186"/>
                  </a:lnTo>
                  <a:lnTo>
                    <a:pt x="432149" y="707803"/>
                  </a:lnTo>
                  <a:lnTo>
                    <a:pt x="418719" y="703326"/>
                  </a:lnTo>
                  <a:lnTo>
                    <a:pt x="422148" y="697325"/>
                  </a:lnTo>
                  <a:lnTo>
                    <a:pt x="428054" y="700754"/>
                  </a:lnTo>
                  <a:lnTo>
                    <a:pt x="431387" y="696944"/>
                  </a:lnTo>
                  <a:lnTo>
                    <a:pt x="423958" y="689705"/>
                  </a:lnTo>
                  <a:lnTo>
                    <a:pt x="420529" y="682371"/>
                  </a:lnTo>
                  <a:lnTo>
                    <a:pt x="411004" y="672846"/>
                  </a:lnTo>
                  <a:lnTo>
                    <a:pt x="404051" y="674084"/>
                  </a:lnTo>
                  <a:lnTo>
                    <a:pt x="397859" y="671513"/>
                  </a:lnTo>
                  <a:lnTo>
                    <a:pt x="397859" y="677323"/>
                  </a:lnTo>
                  <a:lnTo>
                    <a:pt x="391954" y="672465"/>
                  </a:lnTo>
                  <a:lnTo>
                    <a:pt x="392716" y="663607"/>
                  </a:lnTo>
                  <a:lnTo>
                    <a:pt x="380619" y="658177"/>
                  </a:lnTo>
                  <a:lnTo>
                    <a:pt x="385477" y="645414"/>
                  </a:lnTo>
                  <a:lnTo>
                    <a:pt x="390144" y="643223"/>
                  </a:lnTo>
                  <a:lnTo>
                    <a:pt x="391382" y="638461"/>
                  </a:lnTo>
                  <a:lnTo>
                    <a:pt x="386810" y="635222"/>
                  </a:lnTo>
                  <a:lnTo>
                    <a:pt x="388811" y="622554"/>
                  </a:lnTo>
                  <a:lnTo>
                    <a:pt x="397859" y="617125"/>
                  </a:lnTo>
                  <a:lnTo>
                    <a:pt x="396526" y="610362"/>
                  </a:lnTo>
                  <a:lnTo>
                    <a:pt x="402241" y="606361"/>
                  </a:lnTo>
                  <a:lnTo>
                    <a:pt x="416433" y="623126"/>
                  </a:lnTo>
                  <a:lnTo>
                    <a:pt x="427292" y="619315"/>
                  </a:lnTo>
                  <a:lnTo>
                    <a:pt x="421577" y="602075"/>
                  </a:lnTo>
                  <a:lnTo>
                    <a:pt x="427006" y="602075"/>
                  </a:lnTo>
                  <a:lnTo>
                    <a:pt x="437864" y="595217"/>
                  </a:lnTo>
                  <a:lnTo>
                    <a:pt x="436340" y="590264"/>
                  </a:lnTo>
                  <a:lnTo>
                    <a:pt x="439674" y="584835"/>
                  </a:lnTo>
                  <a:lnTo>
                    <a:pt x="445580" y="587693"/>
                  </a:lnTo>
                  <a:lnTo>
                    <a:pt x="457676" y="581215"/>
                  </a:lnTo>
                  <a:lnTo>
                    <a:pt x="460534" y="573024"/>
                  </a:lnTo>
                  <a:lnTo>
                    <a:pt x="465201" y="575119"/>
                  </a:lnTo>
                  <a:lnTo>
                    <a:pt x="467011" y="570452"/>
                  </a:lnTo>
                  <a:lnTo>
                    <a:pt x="476536" y="571976"/>
                  </a:lnTo>
                  <a:lnTo>
                    <a:pt x="474536" y="578072"/>
                  </a:lnTo>
                  <a:lnTo>
                    <a:pt x="480441" y="577310"/>
                  </a:lnTo>
                  <a:lnTo>
                    <a:pt x="484823" y="579501"/>
                  </a:lnTo>
                  <a:lnTo>
                    <a:pt x="485394" y="573405"/>
                  </a:lnTo>
                  <a:lnTo>
                    <a:pt x="495681" y="569785"/>
                  </a:lnTo>
                  <a:lnTo>
                    <a:pt x="499015" y="578358"/>
                  </a:lnTo>
                  <a:lnTo>
                    <a:pt x="517303" y="577691"/>
                  </a:lnTo>
                  <a:lnTo>
                    <a:pt x="521494" y="584073"/>
                  </a:lnTo>
                  <a:lnTo>
                    <a:pt x="530257" y="587026"/>
                  </a:lnTo>
                  <a:lnTo>
                    <a:pt x="531781" y="591693"/>
                  </a:lnTo>
                  <a:lnTo>
                    <a:pt x="536448" y="595598"/>
                  </a:lnTo>
                  <a:lnTo>
                    <a:pt x="535115" y="602742"/>
                  </a:lnTo>
                  <a:lnTo>
                    <a:pt x="542639" y="604171"/>
                  </a:lnTo>
                  <a:lnTo>
                    <a:pt x="542639" y="595979"/>
                  </a:lnTo>
                  <a:lnTo>
                    <a:pt x="539782" y="590550"/>
                  </a:lnTo>
                  <a:lnTo>
                    <a:pt x="548831" y="593407"/>
                  </a:lnTo>
                  <a:lnTo>
                    <a:pt x="560927" y="604933"/>
                  </a:lnTo>
                  <a:lnTo>
                    <a:pt x="574548" y="595693"/>
                  </a:lnTo>
                  <a:lnTo>
                    <a:pt x="577596" y="588264"/>
                  </a:lnTo>
                  <a:lnTo>
                    <a:pt x="583597" y="593217"/>
                  </a:lnTo>
                  <a:lnTo>
                    <a:pt x="585597" y="588550"/>
                  </a:lnTo>
                  <a:lnTo>
                    <a:pt x="593122" y="589312"/>
                  </a:lnTo>
                  <a:lnTo>
                    <a:pt x="597218" y="596836"/>
                  </a:lnTo>
                  <a:lnTo>
                    <a:pt x="603695" y="595408"/>
                  </a:lnTo>
                  <a:lnTo>
                    <a:pt x="603695" y="588550"/>
                  </a:lnTo>
                  <a:lnTo>
                    <a:pt x="619411" y="590359"/>
                  </a:lnTo>
                  <a:lnTo>
                    <a:pt x="621221" y="598265"/>
                  </a:lnTo>
                  <a:lnTo>
                    <a:pt x="637413" y="602551"/>
                  </a:lnTo>
                  <a:lnTo>
                    <a:pt x="642652" y="606171"/>
                  </a:lnTo>
                  <a:lnTo>
                    <a:pt x="649034" y="595693"/>
                  </a:lnTo>
                  <a:lnTo>
                    <a:pt x="654463" y="600742"/>
                  </a:lnTo>
                  <a:lnTo>
                    <a:pt x="676180" y="597884"/>
                  </a:lnTo>
                  <a:lnTo>
                    <a:pt x="678180" y="587502"/>
                  </a:lnTo>
                  <a:lnTo>
                    <a:pt x="682371" y="583216"/>
                  </a:lnTo>
                  <a:lnTo>
                    <a:pt x="676942" y="579596"/>
                  </a:lnTo>
                  <a:lnTo>
                    <a:pt x="665321" y="578548"/>
                  </a:lnTo>
                  <a:lnTo>
                    <a:pt x="666845" y="574262"/>
                  </a:lnTo>
                  <a:lnTo>
                    <a:pt x="655225" y="574262"/>
                  </a:lnTo>
                  <a:lnTo>
                    <a:pt x="657035" y="569309"/>
                  </a:lnTo>
                  <a:lnTo>
                    <a:pt x="647510" y="568166"/>
                  </a:lnTo>
                  <a:lnTo>
                    <a:pt x="647510" y="562451"/>
                  </a:lnTo>
                  <a:lnTo>
                    <a:pt x="652558" y="561594"/>
                  </a:lnTo>
                  <a:lnTo>
                    <a:pt x="652558" y="561594"/>
                  </a:lnTo>
                  <a:lnTo>
                    <a:pt x="652558" y="561594"/>
                  </a:lnTo>
                  <a:lnTo>
                    <a:pt x="651891" y="552069"/>
                  </a:lnTo>
                  <a:lnTo>
                    <a:pt x="634936" y="554164"/>
                  </a:lnTo>
                  <a:lnTo>
                    <a:pt x="633032" y="561499"/>
                  </a:lnTo>
                  <a:lnTo>
                    <a:pt x="625602" y="556546"/>
                  </a:lnTo>
                  <a:lnTo>
                    <a:pt x="624364" y="545497"/>
                  </a:lnTo>
                  <a:lnTo>
                    <a:pt x="630555" y="539210"/>
                  </a:lnTo>
                  <a:lnTo>
                    <a:pt x="625507" y="533876"/>
                  </a:lnTo>
                  <a:lnTo>
                    <a:pt x="627412" y="517017"/>
                  </a:lnTo>
                  <a:lnTo>
                    <a:pt x="633508" y="518636"/>
                  </a:lnTo>
                  <a:lnTo>
                    <a:pt x="635889" y="511683"/>
                  </a:lnTo>
                  <a:lnTo>
                    <a:pt x="647224" y="512159"/>
                  </a:lnTo>
                  <a:lnTo>
                    <a:pt x="643890" y="504730"/>
                  </a:lnTo>
                  <a:lnTo>
                    <a:pt x="651415" y="491299"/>
                  </a:lnTo>
                  <a:lnTo>
                    <a:pt x="641890" y="490156"/>
                  </a:lnTo>
                  <a:lnTo>
                    <a:pt x="635984" y="498062"/>
                  </a:lnTo>
                  <a:lnTo>
                    <a:pt x="630174" y="498538"/>
                  </a:lnTo>
                  <a:lnTo>
                    <a:pt x="624459" y="502444"/>
                  </a:lnTo>
                  <a:lnTo>
                    <a:pt x="617601" y="500539"/>
                  </a:lnTo>
                  <a:lnTo>
                    <a:pt x="609219" y="504825"/>
                  </a:lnTo>
                  <a:lnTo>
                    <a:pt x="593312" y="489680"/>
                  </a:lnTo>
                  <a:lnTo>
                    <a:pt x="598361" y="476536"/>
                  </a:lnTo>
                  <a:lnTo>
                    <a:pt x="604171" y="476536"/>
                  </a:lnTo>
                  <a:lnTo>
                    <a:pt x="606266" y="471392"/>
                  </a:lnTo>
                  <a:lnTo>
                    <a:pt x="612362" y="477393"/>
                  </a:lnTo>
                  <a:lnTo>
                    <a:pt x="607219" y="483965"/>
                  </a:lnTo>
                  <a:lnTo>
                    <a:pt x="611219" y="489680"/>
                  </a:lnTo>
                  <a:lnTo>
                    <a:pt x="616553" y="483775"/>
                  </a:lnTo>
                  <a:lnTo>
                    <a:pt x="623126" y="488728"/>
                  </a:lnTo>
                  <a:lnTo>
                    <a:pt x="626269" y="485870"/>
                  </a:lnTo>
                  <a:lnTo>
                    <a:pt x="623221" y="478345"/>
                  </a:lnTo>
                  <a:lnTo>
                    <a:pt x="630746" y="479203"/>
                  </a:lnTo>
                  <a:lnTo>
                    <a:pt x="634936" y="474440"/>
                  </a:lnTo>
                  <a:lnTo>
                    <a:pt x="643033" y="472059"/>
                  </a:lnTo>
                  <a:lnTo>
                    <a:pt x="643033" y="467963"/>
                  </a:lnTo>
                  <a:lnTo>
                    <a:pt x="630555" y="463010"/>
                  </a:lnTo>
                  <a:lnTo>
                    <a:pt x="638175" y="455009"/>
                  </a:lnTo>
                  <a:lnTo>
                    <a:pt x="629793" y="452818"/>
                  </a:lnTo>
                  <a:lnTo>
                    <a:pt x="623411" y="456343"/>
                  </a:lnTo>
                  <a:lnTo>
                    <a:pt x="601218" y="456343"/>
                  </a:lnTo>
                  <a:lnTo>
                    <a:pt x="598742" y="443484"/>
                  </a:lnTo>
                  <a:lnTo>
                    <a:pt x="593789" y="440912"/>
                  </a:lnTo>
                  <a:lnTo>
                    <a:pt x="595217" y="435864"/>
                  </a:lnTo>
                  <a:lnTo>
                    <a:pt x="614267" y="429959"/>
                  </a:lnTo>
                  <a:lnTo>
                    <a:pt x="607695" y="421481"/>
                  </a:lnTo>
                  <a:lnTo>
                    <a:pt x="610838" y="411289"/>
                  </a:lnTo>
                  <a:lnTo>
                    <a:pt x="617030" y="411289"/>
                  </a:lnTo>
                  <a:lnTo>
                    <a:pt x="621697" y="415290"/>
                  </a:lnTo>
                  <a:lnTo>
                    <a:pt x="629412" y="409670"/>
                  </a:lnTo>
                  <a:lnTo>
                    <a:pt x="621030" y="398717"/>
                  </a:lnTo>
                  <a:lnTo>
                    <a:pt x="627507" y="392335"/>
                  </a:lnTo>
                  <a:lnTo>
                    <a:pt x="633794" y="393001"/>
                  </a:lnTo>
                  <a:lnTo>
                    <a:pt x="637985" y="381667"/>
                  </a:lnTo>
                  <a:lnTo>
                    <a:pt x="629888" y="379667"/>
                  </a:lnTo>
                  <a:lnTo>
                    <a:pt x="631127" y="365760"/>
                  </a:lnTo>
                  <a:lnTo>
                    <a:pt x="617220" y="356806"/>
                  </a:lnTo>
                  <a:lnTo>
                    <a:pt x="619315" y="349567"/>
                  </a:lnTo>
                  <a:lnTo>
                    <a:pt x="629888" y="341662"/>
                  </a:lnTo>
                  <a:lnTo>
                    <a:pt x="632746" y="330327"/>
                  </a:lnTo>
                  <a:lnTo>
                    <a:pt x="638461" y="321564"/>
                  </a:lnTo>
                  <a:lnTo>
                    <a:pt x="633603" y="299371"/>
                  </a:lnTo>
                  <a:lnTo>
                    <a:pt x="640556" y="293370"/>
                  </a:lnTo>
                  <a:lnTo>
                    <a:pt x="637223" y="276511"/>
                  </a:lnTo>
                  <a:lnTo>
                    <a:pt x="645890" y="264128"/>
                  </a:lnTo>
                  <a:lnTo>
                    <a:pt x="637032" y="261747"/>
                  </a:lnTo>
                  <a:lnTo>
                    <a:pt x="633603" y="248317"/>
                  </a:lnTo>
                  <a:lnTo>
                    <a:pt x="638937" y="223075"/>
                  </a:lnTo>
                  <a:lnTo>
                    <a:pt x="648462" y="212598"/>
                  </a:lnTo>
                  <a:lnTo>
                    <a:pt x="641890" y="210121"/>
                  </a:lnTo>
                  <a:lnTo>
                    <a:pt x="641890" y="196596"/>
                  </a:lnTo>
                  <a:lnTo>
                    <a:pt x="653986" y="184594"/>
                  </a:lnTo>
                  <a:lnTo>
                    <a:pt x="663035" y="191262"/>
                  </a:lnTo>
                  <a:lnTo>
                    <a:pt x="678275" y="183356"/>
                  </a:lnTo>
                  <a:lnTo>
                    <a:pt x="675799" y="177641"/>
                  </a:lnTo>
                  <a:lnTo>
                    <a:pt x="686467" y="168116"/>
                  </a:lnTo>
                  <a:lnTo>
                    <a:pt x="704469" y="162782"/>
                  </a:lnTo>
                  <a:lnTo>
                    <a:pt x="714851" y="146113"/>
                  </a:lnTo>
                  <a:lnTo>
                    <a:pt x="750570" y="128968"/>
                  </a:lnTo>
                  <a:lnTo>
                    <a:pt x="752475" y="121825"/>
                  </a:lnTo>
                  <a:lnTo>
                    <a:pt x="770477" y="109156"/>
                  </a:lnTo>
                  <a:lnTo>
                    <a:pt x="766477" y="10572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5" name="Freeform: Shape 2815">
              <a:extLst>
                <a:ext uri="{FF2B5EF4-FFF2-40B4-BE49-F238E27FC236}">
                  <a16:creationId xmlns:a16="http://schemas.microsoft.com/office/drawing/2014/main" id="{010D1C53-50DA-A0A0-3F3F-C40DC41CBB35}"/>
                </a:ext>
              </a:extLst>
            </p:cNvPr>
            <p:cNvSpPr/>
            <p:nvPr/>
          </p:nvSpPr>
          <p:spPr>
            <a:xfrm>
              <a:off x="2143315" y="3573621"/>
              <a:ext cx="190595" cy="112490"/>
            </a:xfrm>
            <a:custGeom>
              <a:avLst/>
              <a:gdLst>
                <a:gd name="connsiteX0" fmla="*/ 186023 w 190595"/>
                <a:gd name="connsiteY0" fmla="*/ 70390 h 112490"/>
                <a:gd name="connsiteX1" fmla="*/ 172498 w 190595"/>
                <a:gd name="connsiteY1" fmla="*/ 68390 h 112490"/>
                <a:gd name="connsiteX2" fmla="*/ 170593 w 190595"/>
                <a:gd name="connsiteY2" fmla="*/ 74581 h 112490"/>
                <a:gd name="connsiteX3" fmla="*/ 162020 w 190595"/>
                <a:gd name="connsiteY3" fmla="*/ 68866 h 112490"/>
                <a:gd name="connsiteX4" fmla="*/ 157067 w 190595"/>
                <a:gd name="connsiteY4" fmla="*/ 65437 h 112490"/>
                <a:gd name="connsiteX5" fmla="*/ 158591 w 190595"/>
                <a:gd name="connsiteY5" fmla="*/ 60198 h 112490"/>
                <a:gd name="connsiteX6" fmla="*/ 156305 w 190595"/>
                <a:gd name="connsiteY6" fmla="*/ 53054 h 112490"/>
                <a:gd name="connsiteX7" fmla="*/ 160877 w 190595"/>
                <a:gd name="connsiteY7" fmla="*/ 42100 h 112490"/>
                <a:gd name="connsiteX8" fmla="*/ 156686 w 190595"/>
                <a:gd name="connsiteY8" fmla="*/ 29146 h 112490"/>
                <a:gd name="connsiteX9" fmla="*/ 146209 w 190595"/>
                <a:gd name="connsiteY9" fmla="*/ 19621 h 112490"/>
                <a:gd name="connsiteX10" fmla="*/ 134969 w 190595"/>
                <a:gd name="connsiteY10" fmla="*/ 953 h 112490"/>
                <a:gd name="connsiteX11" fmla="*/ 127254 w 190595"/>
                <a:gd name="connsiteY11" fmla="*/ 381 h 112490"/>
                <a:gd name="connsiteX12" fmla="*/ 122587 w 190595"/>
                <a:gd name="connsiteY12" fmla="*/ 0 h 112490"/>
                <a:gd name="connsiteX13" fmla="*/ 119158 w 190595"/>
                <a:gd name="connsiteY13" fmla="*/ 5239 h 112490"/>
                <a:gd name="connsiteX14" fmla="*/ 100965 w 190595"/>
                <a:gd name="connsiteY14" fmla="*/ 6763 h 112490"/>
                <a:gd name="connsiteX15" fmla="*/ 95917 w 190595"/>
                <a:gd name="connsiteY15" fmla="*/ 12001 h 112490"/>
                <a:gd name="connsiteX16" fmla="*/ 87344 w 190595"/>
                <a:gd name="connsiteY16" fmla="*/ 5810 h 112490"/>
                <a:gd name="connsiteX17" fmla="*/ 80772 w 190595"/>
                <a:gd name="connsiteY17" fmla="*/ 8192 h 112490"/>
                <a:gd name="connsiteX18" fmla="*/ 76200 w 190595"/>
                <a:gd name="connsiteY18" fmla="*/ 4858 h 112490"/>
                <a:gd name="connsiteX19" fmla="*/ 66104 w 190595"/>
                <a:gd name="connsiteY19" fmla="*/ 6191 h 112490"/>
                <a:gd name="connsiteX20" fmla="*/ 59150 w 190595"/>
                <a:gd name="connsiteY20" fmla="*/ 1905 h 112490"/>
                <a:gd name="connsiteX21" fmla="*/ 51435 w 190595"/>
                <a:gd name="connsiteY21" fmla="*/ 10096 h 112490"/>
                <a:gd name="connsiteX22" fmla="*/ 37433 w 190595"/>
                <a:gd name="connsiteY22" fmla="*/ 14383 h 112490"/>
                <a:gd name="connsiteX23" fmla="*/ 36290 w 190595"/>
                <a:gd name="connsiteY23" fmla="*/ 21526 h 112490"/>
                <a:gd name="connsiteX24" fmla="*/ 27051 w 190595"/>
                <a:gd name="connsiteY24" fmla="*/ 36862 h 112490"/>
                <a:gd name="connsiteX25" fmla="*/ 22003 w 190595"/>
                <a:gd name="connsiteY25" fmla="*/ 37814 h 112490"/>
                <a:gd name="connsiteX26" fmla="*/ 17717 w 190595"/>
                <a:gd name="connsiteY26" fmla="*/ 48292 h 112490"/>
                <a:gd name="connsiteX27" fmla="*/ 0 w 190595"/>
                <a:gd name="connsiteY27" fmla="*/ 49911 h 112490"/>
                <a:gd name="connsiteX28" fmla="*/ 4286 w 190595"/>
                <a:gd name="connsiteY28" fmla="*/ 54292 h 112490"/>
                <a:gd name="connsiteX29" fmla="*/ 9525 w 190595"/>
                <a:gd name="connsiteY29" fmla="*/ 58674 h 112490"/>
                <a:gd name="connsiteX30" fmla="*/ 14097 w 190595"/>
                <a:gd name="connsiteY30" fmla="*/ 57055 h 112490"/>
                <a:gd name="connsiteX31" fmla="*/ 12573 w 190595"/>
                <a:gd name="connsiteY31" fmla="*/ 65627 h 112490"/>
                <a:gd name="connsiteX32" fmla="*/ 27527 w 190595"/>
                <a:gd name="connsiteY32" fmla="*/ 73914 h 112490"/>
                <a:gd name="connsiteX33" fmla="*/ 25241 w 190595"/>
                <a:gd name="connsiteY33" fmla="*/ 77438 h 112490"/>
                <a:gd name="connsiteX34" fmla="*/ 28099 w 190595"/>
                <a:gd name="connsiteY34" fmla="*/ 80296 h 112490"/>
                <a:gd name="connsiteX35" fmla="*/ 24194 w 190595"/>
                <a:gd name="connsiteY35" fmla="*/ 83439 h 112490"/>
                <a:gd name="connsiteX36" fmla="*/ 35814 w 190595"/>
                <a:gd name="connsiteY36" fmla="*/ 87916 h 112490"/>
                <a:gd name="connsiteX37" fmla="*/ 38100 w 190595"/>
                <a:gd name="connsiteY37" fmla="*/ 92011 h 112490"/>
                <a:gd name="connsiteX38" fmla="*/ 44863 w 190595"/>
                <a:gd name="connsiteY38" fmla="*/ 85344 h 112490"/>
                <a:gd name="connsiteX39" fmla="*/ 53054 w 190595"/>
                <a:gd name="connsiteY39" fmla="*/ 89154 h 112490"/>
                <a:gd name="connsiteX40" fmla="*/ 46673 w 190595"/>
                <a:gd name="connsiteY40" fmla="*/ 92392 h 112490"/>
                <a:gd name="connsiteX41" fmla="*/ 57436 w 190595"/>
                <a:gd name="connsiteY41" fmla="*/ 101346 h 112490"/>
                <a:gd name="connsiteX42" fmla="*/ 53054 w 190595"/>
                <a:gd name="connsiteY42" fmla="*/ 107061 h 112490"/>
                <a:gd name="connsiteX43" fmla="*/ 64675 w 190595"/>
                <a:gd name="connsiteY43" fmla="*/ 106680 h 112490"/>
                <a:gd name="connsiteX44" fmla="*/ 82772 w 190595"/>
                <a:gd name="connsiteY44" fmla="*/ 110490 h 112490"/>
                <a:gd name="connsiteX45" fmla="*/ 87154 w 190595"/>
                <a:gd name="connsiteY45" fmla="*/ 108014 h 112490"/>
                <a:gd name="connsiteX46" fmla="*/ 100298 w 190595"/>
                <a:gd name="connsiteY46" fmla="*/ 109918 h 112490"/>
                <a:gd name="connsiteX47" fmla="*/ 104966 w 190595"/>
                <a:gd name="connsiteY47" fmla="*/ 112490 h 112490"/>
                <a:gd name="connsiteX48" fmla="*/ 112681 w 190595"/>
                <a:gd name="connsiteY48" fmla="*/ 108966 h 112490"/>
                <a:gd name="connsiteX49" fmla="*/ 121730 w 190595"/>
                <a:gd name="connsiteY49" fmla="*/ 102584 h 112490"/>
                <a:gd name="connsiteX50" fmla="*/ 141351 w 190595"/>
                <a:gd name="connsiteY50" fmla="*/ 99441 h 112490"/>
                <a:gd name="connsiteX51" fmla="*/ 143923 w 190595"/>
                <a:gd name="connsiteY51" fmla="*/ 103823 h 112490"/>
                <a:gd name="connsiteX52" fmla="*/ 149257 w 190595"/>
                <a:gd name="connsiteY52" fmla="*/ 101346 h 112490"/>
                <a:gd name="connsiteX53" fmla="*/ 150590 w 190595"/>
                <a:gd name="connsiteY53" fmla="*/ 104489 h 112490"/>
                <a:gd name="connsiteX54" fmla="*/ 154686 w 190595"/>
                <a:gd name="connsiteY54" fmla="*/ 103156 h 112490"/>
                <a:gd name="connsiteX55" fmla="*/ 157258 w 190595"/>
                <a:gd name="connsiteY55" fmla="*/ 107347 h 112490"/>
                <a:gd name="connsiteX56" fmla="*/ 168402 w 190595"/>
                <a:gd name="connsiteY56" fmla="*/ 108585 h 112490"/>
                <a:gd name="connsiteX57" fmla="*/ 173831 w 190595"/>
                <a:gd name="connsiteY57" fmla="*/ 79915 h 112490"/>
                <a:gd name="connsiteX58" fmla="*/ 187738 w 190595"/>
                <a:gd name="connsiteY58" fmla="*/ 83820 h 112490"/>
                <a:gd name="connsiteX59" fmla="*/ 190595 w 190595"/>
                <a:gd name="connsiteY59" fmla="*/ 73819 h 112490"/>
                <a:gd name="connsiteX60" fmla="*/ 186023 w 190595"/>
                <a:gd name="connsiteY60" fmla="*/ 70390 h 11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595" h="112490">
                  <a:moveTo>
                    <a:pt x="186023" y="70390"/>
                  </a:moveTo>
                  <a:lnTo>
                    <a:pt x="172498" y="68390"/>
                  </a:lnTo>
                  <a:lnTo>
                    <a:pt x="170593" y="74581"/>
                  </a:lnTo>
                  <a:lnTo>
                    <a:pt x="162020" y="68866"/>
                  </a:lnTo>
                  <a:lnTo>
                    <a:pt x="157067" y="65437"/>
                  </a:lnTo>
                  <a:lnTo>
                    <a:pt x="158591" y="60198"/>
                  </a:lnTo>
                  <a:lnTo>
                    <a:pt x="156305" y="53054"/>
                  </a:lnTo>
                  <a:lnTo>
                    <a:pt x="160877" y="42100"/>
                  </a:lnTo>
                  <a:lnTo>
                    <a:pt x="156686" y="29146"/>
                  </a:lnTo>
                  <a:lnTo>
                    <a:pt x="146209" y="19621"/>
                  </a:lnTo>
                  <a:lnTo>
                    <a:pt x="134969" y="953"/>
                  </a:lnTo>
                  <a:lnTo>
                    <a:pt x="127254" y="381"/>
                  </a:lnTo>
                  <a:lnTo>
                    <a:pt x="122587" y="0"/>
                  </a:lnTo>
                  <a:lnTo>
                    <a:pt x="119158" y="5239"/>
                  </a:lnTo>
                  <a:lnTo>
                    <a:pt x="100965" y="6763"/>
                  </a:lnTo>
                  <a:lnTo>
                    <a:pt x="95917" y="12001"/>
                  </a:lnTo>
                  <a:lnTo>
                    <a:pt x="87344" y="5810"/>
                  </a:lnTo>
                  <a:lnTo>
                    <a:pt x="80772" y="8192"/>
                  </a:lnTo>
                  <a:lnTo>
                    <a:pt x="76200" y="4858"/>
                  </a:lnTo>
                  <a:lnTo>
                    <a:pt x="66104" y="6191"/>
                  </a:lnTo>
                  <a:lnTo>
                    <a:pt x="59150" y="1905"/>
                  </a:lnTo>
                  <a:lnTo>
                    <a:pt x="51435" y="10096"/>
                  </a:lnTo>
                  <a:lnTo>
                    <a:pt x="37433" y="14383"/>
                  </a:lnTo>
                  <a:lnTo>
                    <a:pt x="36290" y="21526"/>
                  </a:lnTo>
                  <a:lnTo>
                    <a:pt x="27051" y="36862"/>
                  </a:lnTo>
                  <a:lnTo>
                    <a:pt x="22003" y="37814"/>
                  </a:lnTo>
                  <a:lnTo>
                    <a:pt x="17717" y="48292"/>
                  </a:lnTo>
                  <a:lnTo>
                    <a:pt x="0" y="49911"/>
                  </a:lnTo>
                  <a:lnTo>
                    <a:pt x="4286" y="54292"/>
                  </a:lnTo>
                  <a:lnTo>
                    <a:pt x="9525" y="58674"/>
                  </a:lnTo>
                  <a:lnTo>
                    <a:pt x="14097" y="57055"/>
                  </a:lnTo>
                  <a:lnTo>
                    <a:pt x="12573" y="65627"/>
                  </a:lnTo>
                  <a:lnTo>
                    <a:pt x="27527" y="73914"/>
                  </a:lnTo>
                  <a:lnTo>
                    <a:pt x="25241" y="77438"/>
                  </a:lnTo>
                  <a:lnTo>
                    <a:pt x="28099" y="80296"/>
                  </a:lnTo>
                  <a:lnTo>
                    <a:pt x="24194" y="83439"/>
                  </a:lnTo>
                  <a:lnTo>
                    <a:pt x="35814" y="87916"/>
                  </a:lnTo>
                  <a:lnTo>
                    <a:pt x="38100" y="92011"/>
                  </a:lnTo>
                  <a:lnTo>
                    <a:pt x="44863" y="85344"/>
                  </a:lnTo>
                  <a:lnTo>
                    <a:pt x="53054" y="89154"/>
                  </a:lnTo>
                  <a:lnTo>
                    <a:pt x="46673" y="92392"/>
                  </a:lnTo>
                  <a:lnTo>
                    <a:pt x="57436" y="101346"/>
                  </a:lnTo>
                  <a:lnTo>
                    <a:pt x="53054" y="107061"/>
                  </a:lnTo>
                  <a:lnTo>
                    <a:pt x="64675" y="106680"/>
                  </a:lnTo>
                  <a:lnTo>
                    <a:pt x="82772" y="110490"/>
                  </a:lnTo>
                  <a:lnTo>
                    <a:pt x="87154" y="108014"/>
                  </a:lnTo>
                  <a:lnTo>
                    <a:pt x="100298" y="109918"/>
                  </a:lnTo>
                  <a:lnTo>
                    <a:pt x="104966" y="112490"/>
                  </a:lnTo>
                  <a:lnTo>
                    <a:pt x="112681" y="108966"/>
                  </a:lnTo>
                  <a:lnTo>
                    <a:pt x="121730" y="102584"/>
                  </a:lnTo>
                  <a:lnTo>
                    <a:pt x="141351" y="99441"/>
                  </a:lnTo>
                  <a:lnTo>
                    <a:pt x="143923" y="103823"/>
                  </a:lnTo>
                  <a:lnTo>
                    <a:pt x="149257" y="101346"/>
                  </a:lnTo>
                  <a:lnTo>
                    <a:pt x="150590" y="104489"/>
                  </a:lnTo>
                  <a:lnTo>
                    <a:pt x="154686" y="103156"/>
                  </a:lnTo>
                  <a:lnTo>
                    <a:pt x="157258" y="107347"/>
                  </a:lnTo>
                  <a:lnTo>
                    <a:pt x="168402" y="108585"/>
                  </a:lnTo>
                  <a:lnTo>
                    <a:pt x="173831" y="79915"/>
                  </a:lnTo>
                  <a:lnTo>
                    <a:pt x="187738" y="83820"/>
                  </a:lnTo>
                  <a:lnTo>
                    <a:pt x="190595" y="73819"/>
                  </a:lnTo>
                  <a:lnTo>
                    <a:pt x="186023" y="7039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6" name="Freeform: Shape 2816">
              <a:extLst>
                <a:ext uri="{FF2B5EF4-FFF2-40B4-BE49-F238E27FC236}">
                  <a16:creationId xmlns:a16="http://schemas.microsoft.com/office/drawing/2014/main" id="{6C0F5D81-7615-5C6B-A78A-82AC69E29E4E}"/>
                </a:ext>
              </a:extLst>
            </p:cNvPr>
            <p:cNvSpPr/>
            <p:nvPr/>
          </p:nvSpPr>
          <p:spPr>
            <a:xfrm>
              <a:off x="1556004" y="3720115"/>
              <a:ext cx="66198" cy="117538"/>
            </a:xfrm>
            <a:custGeom>
              <a:avLst/>
              <a:gdLst>
                <a:gd name="connsiteX0" fmla="*/ 43434 w 66198"/>
                <a:gd name="connsiteY0" fmla="*/ 100584 h 117538"/>
                <a:gd name="connsiteX1" fmla="*/ 48387 w 66198"/>
                <a:gd name="connsiteY1" fmla="*/ 99727 h 117538"/>
                <a:gd name="connsiteX2" fmla="*/ 50673 w 66198"/>
                <a:gd name="connsiteY2" fmla="*/ 93536 h 117538"/>
                <a:gd name="connsiteX3" fmla="*/ 46006 w 66198"/>
                <a:gd name="connsiteY3" fmla="*/ 92678 h 117538"/>
                <a:gd name="connsiteX4" fmla="*/ 41910 w 66198"/>
                <a:gd name="connsiteY4" fmla="*/ 89440 h 117538"/>
                <a:gd name="connsiteX5" fmla="*/ 43720 w 66198"/>
                <a:gd name="connsiteY5" fmla="*/ 83344 h 117538"/>
                <a:gd name="connsiteX6" fmla="*/ 47816 w 66198"/>
                <a:gd name="connsiteY6" fmla="*/ 80677 h 117538"/>
                <a:gd name="connsiteX7" fmla="*/ 49911 w 66198"/>
                <a:gd name="connsiteY7" fmla="*/ 74581 h 117538"/>
                <a:gd name="connsiteX8" fmla="*/ 44768 w 66198"/>
                <a:gd name="connsiteY8" fmla="*/ 72866 h 117538"/>
                <a:gd name="connsiteX9" fmla="*/ 43244 w 66198"/>
                <a:gd name="connsiteY9" fmla="*/ 66961 h 117538"/>
                <a:gd name="connsiteX10" fmla="*/ 38291 w 66198"/>
                <a:gd name="connsiteY10" fmla="*/ 61722 h 117538"/>
                <a:gd name="connsiteX11" fmla="*/ 50197 w 66198"/>
                <a:gd name="connsiteY11" fmla="*/ 61436 h 117538"/>
                <a:gd name="connsiteX12" fmla="*/ 52483 w 66198"/>
                <a:gd name="connsiteY12" fmla="*/ 54483 h 117538"/>
                <a:gd name="connsiteX13" fmla="*/ 48101 w 66198"/>
                <a:gd name="connsiteY13" fmla="*/ 49721 h 117538"/>
                <a:gd name="connsiteX14" fmla="*/ 53530 w 66198"/>
                <a:gd name="connsiteY14" fmla="*/ 45911 h 117538"/>
                <a:gd name="connsiteX15" fmla="*/ 53245 w 66198"/>
                <a:gd name="connsiteY15" fmla="*/ 33814 h 117538"/>
                <a:gd name="connsiteX16" fmla="*/ 50959 w 66198"/>
                <a:gd name="connsiteY16" fmla="*/ 27718 h 117538"/>
                <a:gd name="connsiteX17" fmla="*/ 55817 w 66198"/>
                <a:gd name="connsiteY17" fmla="*/ 26099 h 117538"/>
                <a:gd name="connsiteX18" fmla="*/ 66199 w 66198"/>
                <a:gd name="connsiteY18" fmla="*/ 16574 h 117538"/>
                <a:gd name="connsiteX19" fmla="*/ 64389 w 66198"/>
                <a:gd name="connsiteY19" fmla="*/ 11430 h 117538"/>
                <a:gd name="connsiteX20" fmla="*/ 58388 w 66198"/>
                <a:gd name="connsiteY20" fmla="*/ 13049 h 117538"/>
                <a:gd name="connsiteX21" fmla="*/ 58388 w 66198"/>
                <a:gd name="connsiteY21" fmla="*/ 5715 h 117538"/>
                <a:gd name="connsiteX22" fmla="*/ 45815 w 66198"/>
                <a:gd name="connsiteY22" fmla="*/ 5144 h 117538"/>
                <a:gd name="connsiteX23" fmla="*/ 40672 w 66198"/>
                <a:gd name="connsiteY23" fmla="*/ 9239 h 117538"/>
                <a:gd name="connsiteX24" fmla="*/ 32861 w 66198"/>
                <a:gd name="connsiteY24" fmla="*/ 7049 h 117538"/>
                <a:gd name="connsiteX25" fmla="*/ 25622 w 66198"/>
                <a:gd name="connsiteY25" fmla="*/ 9239 h 117538"/>
                <a:gd name="connsiteX26" fmla="*/ 27432 w 66198"/>
                <a:gd name="connsiteY26" fmla="*/ 3239 h 117538"/>
                <a:gd name="connsiteX27" fmla="*/ 24860 w 66198"/>
                <a:gd name="connsiteY27" fmla="*/ 0 h 117538"/>
                <a:gd name="connsiteX28" fmla="*/ 14859 w 66198"/>
                <a:gd name="connsiteY28" fmla="*/ 6287 h 117538"/>
                <a:gd name="connsiteX29" fmla="*/ 18478 w 66198"/>
                <a:gd name="connsiteY29" fmla="*/ 36004 h 117538"/>
                <a:gd name="connsiteX30" fmla="*/ 5905 w 66198"/>
                <a:gd name="connsiteY30" fmla="*/ 67437 h 117538"/>
                <a:gd name="connsiteX31" fmla="*/ 1619 w 66198"/>
                <a:gd name="connsiteY31" fmla="*/ 68580 h 117538"/>
                <a:gd name="connsiteX32" fmla="*/ 0 w 66198"/>
                <a:gd name="connsiteY32" fmla="*/ 83153 h 117538"/>
                <a:gd name="connsiteX33" fmla="*/ 10858 w 66198"/>
                <a:gd name="connsiteY33" fmla="*/ 88392 h 117538"/>
                <a:gd name="connsiteX34" fmla="*/ 11525 w 66198"/>
                <a:gd name="connsiteY34" fmla="*/ 117539 h 117538"/>
                <a:gd name="connsiteX35" fmla="*/ 41243 w 66198"/>
                <a:gd name="connsiteY35" fmla="*/ 117539 h 117538"/>
                <a:gd name="connsiteX36" fmla="*/ 39052 w 66198"/>
                <a:gd name="connsiteY36" fmla="*/ 109347 h 117538"/>
                <a:gd name="connsiteX37" fmla="*/ 43434 w 66198"/>
                <a:gd name="connsiteY37" fmla="*/ 100584 h 1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198" h="117538">
                  <a:moveTo>
                    <a:pt x="43434" y="100584"/>
                  </a:moveTo>
                  <a:lnTo>
                    <a:pt x="48387" y="99727"/>
                  </a:lnTo>
                  <a:lnTo>
                    <a:pt x="50673" y="93536"/>
                  </a:lnTo>
                  <a:lnTo>
                    <a:pt x="46006" y="92678"/>
                  </a:lnTo>
                  <a:lnTo>
                    <a:pt x="41910" y="89440"/>
                  </a:lnTo>
                  <a:lnTo>
                    <a:pt x="43720" y="83344"/>
                  </a:lnTo>
                  <a:lnTo>
                    <a:pt x="47816" y="80677"/>
                  </a:lnTo>
                  <a:lnTo>
                    <a:pt x="49911" y="74581"/>
                  </a:lnTo>
                  <a:lnTo>
                    <a:pt x="44768" y="72866"/>
                  </a:lnTo>
                  <a:lnTo>
                    <a:pt x="43244" y="66961"/>
                  </a:lnTo>
                  <a:lnTo>
                    <a:pt x="38291" y="61722"/>
                  </a:lnTo>
                  <a:lnTo>
                    <a:pt x="50197" y="61436"/>
                  </a:lnTo>
                  <a:lnTo>
                    <a:pt x="52483" y="54483"/>
                  </a:lnTo>
                  <a:lnTo>
                    <a:pt x="48101" y="49721"/>
                  </a:lnTo>
                  <a:lnTo>
                    <a:pt x="53530" y="45911"/>
                  </a:lnTo>
                  <a:lnTo>
                    <a:pt x="53245" y="33814"/>
                  </a:lnTo>
                  <a:lnTo>
                    <a:pt x="50959" y="27718"/>
                  </a:lnTo>
                  <a:lnTo>
                    <a:pt x="55817" y="26099"/>
                  </a:lnTo>
                  <a:lnTo>
                    <a:pt x="66199" y="16574"/>
                  </a:lnTo>
                  <a:lnTo>
                    <a:pt x="64389" y="11430"/>
                  </a:lnTo>
                  <a:lnTo>
                    <a:pt x="58388" y="13049"/>
                  </a:lnTo>
                  <a:lnTo>
                    <a:pt x="58388" y="5715"/>
                  </a:lnTo>
                  <a:lnTo>
                    <a:pt x="45815" y="5144"/>
                  </a:lnTo>
                  <a:lnTo>
                    <a:pt x="40672" y="9239"/>
                  </a:lnTo>
                  <a:lnTo>
                    <a:pt x="32861" y="7049"/>
                  </a:lnTo>
                  <a:lnTo>
                    <a:pt x="25622" y="9239"/>
                  </a:lnTo>
                  <a:lnTo>
                    <a:pt x="27432" y="3239"/>
                  </a:lnTo>
                  <a:lnTo>
                    <a:pt x="24860" y="0"/>
                  </a:lnTo>
                  <a:lnTo>
                    <a:pt x="14859" y="6287"/>
                  </a:lnTo>
                  <a:lnTo>
                    <a:pt x="18478" y="36004"/>
                  </a:lnTo>
                  <a:lnTo>
                    <a:pt x="5905" y="67437"/>
                  </a:lnTo>
                  <a:lnTo>
                    <a:pt x="1619" y="68580"/>
                  </a:lnTo>
                  <a:lnTo>
                    <a:pt x="0" y="83153"/>
                  </a:lnTo>
                  <a:lnTo>
                    <a:pt x="10858" y="88392"/>
                  </a:lnTo>
                  <a:lnTo>
                    <a:pt x="11525" y="117539"/>
                  </a:lnTo>
                  <a:lnTo>
                    <a:pt x="41243" y="117539"/>
                  </a:lnTo>
                  <a:lnTo>
                    <a:pt x="39052" y="109347"/>
                  </a:lnTo>
                  <a:lnTo>
                    <a:pt x="43434" y="10058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7" name="Freeform: Shape 2817">
              <a:extLst>
                <a:ext uri="{FF2B5EF4-FFF2-40B4-BE49-F238E27FC236}">
                  <a16:creationId xmlns:a16="http://schemas.microsoft.com/office/drawing/2014/main" id="{3FE18386-F953-0932-A0E0-5FEA60220D98}"/>
                </a:ext>
              </a:extLst>
            </p:cNvPr>
            <p:cNvSpPr/>
            <p:nvPr/>
          </p:nvSpPr>
          <p:spPr>
            <a:xfrm>
              <a:off x="2022538" y="3394836"/>
              <a:ext cx="199834" cy="158972"/>
            </a:xfrm>
            <a:custGeom>
              <a:avLst/>
              <a:gdLst>
                <a:gd name="connsiteX0" fmla="*/ 199835 w 199834"/>
                <a:gd name="connsiteY0" fmla="*/ 111443 h 158972"/>
                <a:gd name="connsiteX1" fmla="*/ 190024 w 199834"/>
                <a:gd name="connsiteY1" fmla="*/ 100203 h 158972"/>
                <a:gd name="connsiteX2" fmla="*/ 190976 w 199834"/>
                <a:gd name="connsiteY2" fmla="*/ 95060 h 158972"/>
                <a:gd name="connsiteX3" fmla="*/ 187071 w 199834"/>
                <a:gd name="connsiteY3" fmla="*/ 89916 h 158972"/>
                <a:gd name="connsiteX4" fmla="*/ 190024 w 199834"/>
                <a:gd name="connsiteY4" fmla="*/ 85058 h 158972"/>
                <a:gd name="connsiteX5" fmla="*/ 190024 w 199834"/>
                <a:gd name="connsiteY5" fmla="*/ 78391 h 158972"/>
                <a:gd name="connsiteX6" fmla="*/ 184785 w 199834"/>
                <a:gd name="connsiteY6" fmla="*/ 74104 h 158972"/>
                <a:gd name="connsiteX7" fmla="*/ 180118 w 199834"/>
                <a:gd name="connsiteY7" fmla="*/ 73533 h 158972"/>
                <a:gd name="connsiteX8" fmla="*/ 184785 w 199834"/>
                <a:gd name="connsiteY8" fmla="*/ 65437 h 158972"/>
                <a:gd name="connsiteX9" fmla="*/ 196025 w 199834"/>
                <a:gd name="connsiteY9" fmla="*/ 60389 h 158972"/>
                <a:gd name="connsiteX10" fmla="*/ 194977 w 199834"/>
                <a:gd name="connsiteY10" fmla="*/ 46577 h 158972"/>
                <a:gd name="connsiteX11" fmla="*/ 190786 w 199834"/>
                <a:gd name="connsiteY11" fmla="*/ 39910 h 158972"/>
                <a:gd name="connsiteX12" fmla="*/ 186500 w 199834"/>
                <a:gd name="connsiteY12" fmla="*/ 26194 h 158972"/>
                <a:gd name="connsiteX13" fmla="*/ 188214 w 199834"/>
                <a:gd name="connsiteY13" fmla="*/ 21050 h 158972"/>
                <a:gd name="connsiteX14" fmla="*/ 185357 w 199834"/>
                <a:gd name="connsiteY14" fmla="*/ 18383 h 158972"/>
                <a:gd name="connsiteX15" fmla="*/ 178784 w 199834"/>
                <a:gd name="connsiteY15" fmla="*/ 17050 h 158972"/>
                <a:gd name="connsiteX16" fmla="*/ 176975 w 199834"/>
                <a:gd name="connsiteY16" fmla="*/ 12478 h 158972"/>
                <a:gd name="connsiteX17" fmla="*/ 172784 w 199834"/>
                <a:gd name="connsiteY17" fmla="*/ 14669 h 158972"/>
                <a:gd name="connsiteX18" fmla="*/ 139446 w 199834"/>
                <a:gd name="connsiteY18" fmla="*/ 15716 h 158972"/>
                <a:gd name="connsiteX19" fmla="*/ 110871 w 199834"/>
                <a:gd name="connsiteY19" fmla="*/ 11716 h 158972"/>
                <a:gd name="connsiteX20" fmla="*/ 110871 w 199834"/>
                <a:gd name="connsiteY20" fmla="*/ 11621 h 158972"/>
                <a:gd name="connsiteX21" fmla="*/ 110014 w 199834"/>
                <a:gd name="connsiteY21" fmla="*/ 12097 h 158972"/>
                <a:gd name="connsiteX22" fmla="*/ 90297 w 199834"/>
                <a:gd name="connsiteY22" fmla="*/ 13240 h 158972"/>
                <a:gd name="connsiteX23" fmla="*/ 86392 w 199834"/>
                <a:gd name="connsiteY23" fmla="*/ 0 h 158972"/>
                <a:gd name="connsiteX24" fmla="*/ 49530 w 199834"/>
                <a:gd name="connsiteY24" fmla="*/ 9811 h 158972"/>
                <a:gd name="connsiteX25" fmla="*/ 41910 w 199834"/>
                <a:gd name="connsiteY25" fmla="*/ 17621 h 158972"/>
                <a:gd name="connsiteX26" fmla="*/ 13907 w 199834"/>
                <a:gd name="connsiteY26" fmla="*/ 24003 h 158972"/>
                <a:gd name="connsiteX27" fmla="*/ 4286 w 199834"/>
                <a:gd name="connsiteY27" fmla="*/ 32290 h 158972"/>
                <a:gd name="connsiteX28" fmla="*/ 4096 w 199834"/>
                <a:gd name="connsiteY28" fmla="*/ 32195 h 158972"/>
                <a:gd name="connsiteX29" fmla="*/ 4096 w 199834"/>
                <a:gd name="connsiteY29" fmla="*/ 32290 h 158972"/>
                <a:gd name="connsiteX30" fmla="*/ 7715 w 199834"/>
                <a:gd name="connsiteY30" fmla="*/ 43815 h 158972"/>
                <a:gd name="connsiteX31" fmla="*/ 5429 w 199834"/>
                <a:gd name="connsiteY31" fmla="*/ 50197 h 158972"/>
                <a:gd name="connsiteX32" fmla="*/ 0 w 199834"/>
                <a:gd name="connsiteY32" fmla="*/ 56007 h 158972"/>
                <a:gd name="connsiteX33" fmla="*/ 11621 w 199834"/>
                <a:gd name="connsiteY33" fmla="*/ 63532 h 158972"/>
                <a:gd name="connsiteX34" fmla="*/ 9525 w 199834"/>
                <a:gd name="connsiteY34" fmla="*/ 69914 h 158972"/>
                <a:gd name="connsiteX35" fmla="*/ 14478 w 199834"/>
                <a:gd name="connsiteY35" fmla="*/ 77438 h 158972"/>
                <a:gd name="connsiteX36" fmla="*/ 10859 w 199834"/>
                <a:gd name="connsiteY36" fmla="*/ 84963 h 158972"/>
                <a:gd name="connsiteX37" fmla="*/ 12383 w 199834"/>
                <a:gd name="connsiteY37" fmla="*/ 91059 h 158972"/>
                <a:gd name="connsiteX38" fmla="*/ 17812 w 199834"/>
                <a:gd name="connsiteY38" fmla="*/ 94298 h 158972"/>
                <a:gd name="connsiteX39" fmla="*/ 18860 w 199834"/>
                <a:gd name="connsiteY39" fmla="*/ 100394 h 158972"/>
                <a:gd name="connsiteX40" fmla="*/ 15335 w 199834"/>
                <a:gd name="connsiteY40" fmla="*/ 111919 h 158972"/>
                <a:gd name="connsiteX41" fmla="*/ 23717 w 199834"/>
                <a:gd name="connsiteY41" fmla="*/ 107918 h 158972"/>
                <a:gd name="connsiteX42" fmla="*/ 27813 w 199834"/>
                <a:gd name="connsiteY42" fmla="*/ 113348 h 158972"/>
                <a:gd name="connsiteX43" fmla="*/ 35814 w 199834"/>
                <a:gd name="connsiteY43" fmla="*/ 114395 h 158972"/>
                <a:gd name="connsiteX44" fmla="*/ 39434 w 199834"/>
                <a:gd name="connsiteY44" fmla="*/ 118015 h 158972"/>
                <a:gd name="connsiteX45" fmla="*/ 45625 w 199834"/>
                <a:gd name="connsiteY45" fmla="*/ 114776 h 158972"/>
                <a:gd name="connsiteX46" fmla="*/ 49244 w 199834"/>
                <a:gd name="connsiteY46" fmla="*/ 118682 h 158972"/>
                <a:gd name="connsiteX47" fmla="*/ 43339 w 199834"/>
                <a:gd name="connsiteY47" fmla="*/ 124492 h 158972"/>
                <a:gd name="connsiteX48" fmla="*/ 53150 w 199834"/>
                <a:gd name="connsiteY48" fmla="*/ 133636 h 158972"/>
                <a:gd name="connsiteX49" fmla="*/ 58579 w 199834"/>
                <a:gd name="connsiteY49" fmla="*/ 130397 h 158972"/>
                <a:gd name="connsiteX50" fmla="*/ 56198 w 199834"/>
                <a:gd name="connsiteY50" fmla="*/ 122301 h 158972"/>
                <a:gd name="connsiteX51" fmla="*/ 65532 w 199834"/>
                <a:gd name="connsiteY51" fmla="*/ 125921 h 158972"/>
                <a:gd name="connsiteX52" fmla="*/ 72771 w 199834"/>
                <a:gd name="connsiteY52" fmla="*/ 125158 h 158972"/>
                <a:gd name="connsiteX53" fmla="*/ 71438 w 199834"/>
                <a:gd name="connsiteY53" fmla="*/ 131731 h 158972"/>
                <a:gd name="connsiteX54" fmla="*/ 75819 w 199834"/>
                <a:gd name="connsiteY54" fmla="*/ 135541 h 158972"/>
                <a:gd name="connsiteX55" fmla="*/ 80201 w 199834"/>
                <a:gd name="connsiteY55" fmla="*/ 132302 h 158972"/>
                <a:gd name="connsiteX56" fmla="*/ 88964 w 199834"/>
                <a:gd name="connsiteY56" fmla="*/ 136303 h 158972"/>
                <a:gd name="connsiteX57" fmla="*/ 90488 w 199834"/>
                <a:gd name="connsiteY57" fmla="*/ 140779 h 158972"/>
                <a:gd name="connsiteX58" fmla="*/ 95345 w 199834"/>
                <a:gd name="connsiteY58" fmla="*/ 142018 h 158972"/>
                <a:gd name="connsiteX59" fmla="*/ 95536 w 199834"/>
                <a:gd name="connsiteY59" fmla="*/ 146971 h 158972"/>
                <a:gd name="connsiteX60" fmla="*/ 97536 w 199834"/>
                <a:gd name="connsiteY60" fmla="*/ 146590 h 158972"/>
                <a:gd name="connsiteX61" fmla="*/ 97727 w 199834"/>
                <a:gd name="connsiteY61" fmla="*/ 150114 h 158972"/>
                <a:gd name="connsiteX62" fmla="*/ 101156 w 199834"/>
                <a:gd name="connsiteY62" fmla="*/ 149924 h 158972"/>
                <a:gd name="connsiteX63" fmla="*/ 107156 w 199834"/>
                <a:gd name="connsiteY63" fmla="*/ 143923 h 158972"/>
                <a:gd name="connsiteX64" fmla="*/ 109919 w 199834"/>
                <a:gd name="connsiteY64" fmla="*/ 148495 h 158972"/>
                <a:gd name="connsiteX65" fmla="*/ 114110 w 199834"/>
                <a:gd name="connsiteY65" fmla="*/ 149257 h 158972"/>
                <a:gd name="connsiteX66" fmla="*/ 113538 w 199834"/>
                <a:gd name="connsiteY66" fmla="*/ 154496 h 158972"/>
                <a:gd name="connsiteX67" fmla="*/ 119539 w 199834"/>
                <a:gd name="connsiteY67" fmla="*/ 154686 h 158972"/>
                <a:gd name="connsiteX68" fmla="*/ 125730 w 199834"/>
                <a:gd name="connsiteY68" fmla="*/ 148685 h 158972"/>
                <a:gd name="connsiteX69" fmla="*/ 129064 w 199834"/>
                <a:gd name="connsiteY69" fmla="*/ 151352 h 158972"/>
                <a:gd name="connsiteX70" fmla="*/ 131350 w 199834"/>
                <a:gd name="connsiteY70" fmla="*/ 148685 h 158972"/>
                <a:gd name="connsiteX71" fmla="*/ 136779 w 199834"/>
                <a:gd name="connsiteY71" fmla="*/ 152591 h 158972"/>
                <a:gd name="connsiteX72" fmla="*/ 143161 w 199834"/>
                <a:gd name="connsiteY72" fmla="*/ 148685 h 158972"/>
                <a:gd name="connsiteX73" fmla="*/ 156496 w 199834"/>
                <a:gd name="connsiteY73" fmla="*/ 150400 h 158972"/>
                <a:gd name="connsiteX74" fmla="*/ 158401 w 199834"/>
                <a:gd name="connsiteY74" fmla="*/ 155162 h 158972"/>
                <a:gd name="connsiteX75" fmla="*/ 168021 w 199834"/>
                <a:gd name="connsiteY75" fmla="*/ 157448 h 158972"/>
                <a:gd name="connsiteX76" fmla="*/ 174689 w 199834"/>
                <a:gd name="connsiteY76" fmla="*/ 158972 h 158972"/>
                <a:gd name="connsiteX77" fmla="*/ 170593 w 199834"/>
                <a:gd name="connsiteY77" fmla="*/ 146590 h 158972"/>
                <a:gd name="connsiteX78" fmla="*/ 190595 w 199834"/>
                <a:gd name="connsiteY78" fmla="*/ 124397 h 158972"/>
                <a:gd name="connsiteX79" fmla="*/ 197549 w 199834"/>
                <a:gd name="connsiteY79" fmla="*/ 125158 h 158972"/>
                <a:gd name="connsiteX80" fmla="*/ 199644 w 199834"/>
                <a:gd name="connsiteY80" fmla="*/ 120301 h 158972"/>
                <a:gd name="connsiteX81" fmla="*/ 194977 w 199834"/>
                <a:gd name="connsiteY81" fmla="*/ 113062 h 158972"/>
                <a:gd name="connsiteX82" fmla="*/ 199835 w 199834"/>
                <a:gd name="connsiteY82" fmla="*/ 111443 h 15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99834" h="158972">
                  <a:moveTo>
                    <a:pt x="199835" y="111443"/>
                  </a:moveTo>
                  <a:lnTo>
                    <a:pt x="190024" y="100203"/>
                  </a:lnTo>
                  <a:lnTo>
                    <a:pt x="190976" y="95060"/>
                  </a:lnTo>
                  <a:lnTo>
                    <a:pt x="187071" y="89916"/>
                  </a:lnTo>
                  <a:lnTo>
                    <a:pt x="190024" y="85058"/>
                  </a:lnTo>
                  <a:lnTo>
                    <a:pt x="190024" y="78391"/>
                  </a:lnTo>
                  <a:lnTo>
                    <a:pt x="184785" y="74104"/>
                  </a:lnTo>
                  <a:lnTo>
                    <a:pt x="180118" y="73533"/>
                  </a:lnTo>
                  <a:lnTo>
                    <a:pt x="184785" y="65437"/>
                  </a:lnTo>
                  <a:lnTo>
                    <a:pt x="196025" y="60389"/>
                  </a:lnTo>
                  <a:lnTo>
                    <a:pt x="194977" y="46577"/>
                  </a:lnTo>
                  <a:lnTo>
                    <a:pt x="190786" y="39910"/>
                  </a:lnTo>
                  <a:lnTo>
                    <a:pt x="186500" y="26194"/>
                  </a:lnTo>
                  <a:lnTo>
                    <a:pt x="188214" y="21050"/>
                  </a:lnTo>
                  <a:lnTo>
                    <a:pt x="185357" y="18383"/>
                  </a:lnTo>
                  <a:lnTo>
                    <a:pt x="178784" y="17050"/>
                  </a:lnTo>
                  <a:lnTo>
                    <a:pt x="176975" y="12478"/>
                  </a:lnTo>
                  <a:lnTo>
                    <a:pt x="172784" y="14669"/>
                  </a:lnTo>
                  <a:lnTo>
                    <a:pt x="139446" y="15716"/>
                  </a:lnTo>
                  <a:lnTo>
                    <a:pt x="110871" y="11716"/>
                  </a:lnTo>
                  <a:lnTo>
                    <a:pt x="110871" y="11621"/>
                  </a:lnTo>
                  <a:lnTo>
                    <a:pt x="110014" y="12097"/>
                  </a:lnTo>
                  <a:lnTo>
                    <a:pt x="90297" y="13240"/>
                  </a:lnTo>
                  <a:lnTo>
                    <a:pt x="86392" y="0"/>
                  </a:lnTo>
                  <a:lnTo>
                    <a:pt x="49530" y="9811"/>
                  </a:lnTo>
                  <a:lnTo>
                    <a:pt x="41910" y="17621"/>
                  </a:lnTo>
                  <a:lnTo>
                    <a:pt x="13907" y="24003"/>
                  </a:lnTo>
                  <a:lnTo>
                    <a:pt x="4286" y="32290"/>
                  </a:lnTo>
                  <a:lnTo>
                    <a:pt x="4096" y="32195"/>
                  </a:lnTo>
                  <a:lnTo>
                    <a:pt x="4096" y="32290"/>
                  </a:lnTo>
                  <a:lnTo>
                    <a:pt x="7715" y="43815"/>
                  </a:lnTo>
                  <a:lnTo>
                    <a:pt x="5429" y="50197"/>
                  </a:lnTo>
                  <a:lnTo>
                    <a:pt x="0" y="56007"/>
                  </a:lnTo>
                  <a:lnTo>
                    <a:pt x="11621" y="63532"/>
                  </a:lnTo>
                  <a:lnTo>
                    <a:pt x="9525" y="69914"/>
                  </a:lnTo>
                  <a:lnTo>
                    <a:pt x="14478" y="77438"/>
                  </a:lnTo>
                  <a:lnTo>
                    <a:pt x="10859" y="84963"/>
                  </a:lnTo>
                  <a:lnTo>
                    <a:pt x="12383" y="91059"/>
                  </a:lnTo>
                  <a:lnTo>
                    <a:pt x="17812" y="94298"/>
                  </a:lnTo>
                  <a:lnTo>
                    <a:pt x="18860" y="100394"/>
                  </a:lnTo>
                  <a:lnTo>
                    <a:pt x="15335" y="111919"/>
                  </a:lnTo>
                  <a:lnTo>
                    <a:pt x="23717" y="107918"/>
                  </a:lnTo>
                  <a:lnTo>
                    <a:pt x="27813" y="113348"/>
                  </a:lnTo>
                  <a:lnTo>
                    <a:pt x="35814" y="114395"/>
                  </a:lnTo>
                  <a:lnTo>
                    <a:pt x="39434" y="118015"/>
                  </a:lnTo>
                  <a:lnTo>
                    <a:pt x="45625" y="114776"/>
                  </a:lnTo>
                  <a:lnTo>
                    <a:pt x="49244" y="118682"/>
                  </a:lnTo>
                  <a:lnTo>
                    <a:pt x="43339" y="124492"/>
                  </a:lnTo>
                  <a:lnTo>
                    <a:pt x="53150" y="133636"/>
                  </a:lnTo>
                  <a:lnTo>
                    <a:pt x="58579" y="130397"/>
                  </a:lnTo>
                  <a:lnTo>
                    <a:pt x="56198" y="122301"/>
                  </a:lnTo>
                  <a:lnTo>
                    <a:pt x="65532" y="125921"/>
                  </a:lnTo>
                  <a:lnTo>
                    <a:pt x="72771" y="125158"/>
                  </a:lnTo>
                  <a:lnTo>
                    <a:pt x="71438" y="131731"/>
                  </a:lnTo>
                  <a:lnTo>
                    <a:pt x="75819" y="135541"/>
                  </a:lnTo>
                  <a:lnTo>
                    <a:pt x="80201" y="132302"/>
                  </a:lnTo>
                  <a:lnTo>
                    <a:pt x="88964" y="136303"/>
                  </a:lnTo>
                  <a:lnTo>
                    <a:pt x="90488" y="140779"/>
                  </a:lnTo>
                  <a:lnTo>
                    <a:pt x="95345" y="142018"/>
                  </a:lnTo>
                  <a:lnTo>
                    <a:pt x="95536" y="146971"/>
                  </a:lnTo>
                  <a:lnTo>
                    <a:pt x="97536" y="146590"/>
                  </a:lnTo>
                  <a:lnTo>
                    <a:pt x="97727" y="150114"/>
                  </a:lnTo>
                  <a:lnTo>
                    <a:pt x="101156" y="149924"/>
                  </a:lnTo>
                  <a:lnTo>
                    <a:pt x="107156" y="143923"/>
                  </a:lnTo>
                  <a:lnTo>
                    <a:pt x="109919" y="148495"/>
                  </a:lnTo>
                  <a:lnTo>
                    <a:pt x="114110" y="149257"/>
                  </a:lnTo>
                  <a:lnTo>
                    <a:pt x="113538" y="154496"/>
                  </a:lnTo>
                  <a:lnTo>
                    <a:pt x="119539" y="154686"/>
                  </a:lnTo>
                  <a:lnTo>
                    <a:pt x="125730" y="148685"/>
                  </a:lnTo>
                  <a:lnTo>
                    <a:pt x="129064" y="151352"/>
                  </a:lnTo>
                  <a:lnTo>
                    <a:pt x="131350" y="148685"/>
                  </a:lnTo>
                  <a:lnTo>
                    <a:pt x="136779" y="152591"/>
                  </a:lnTo>
                  <a:lnTo>
                    <a:pt x="143161" y="148685"/>
                  </a:lnTo>
                  <a:lnTo>
                    <a:pt x="156496" y="150400"/>
                  </a:lnTo>
                  <a:lnTo>
                    <a:pt x="158401" y="155162"/>
                  </a:lnTo>
                  <a:lnTo>
                    <a:pt x="168021" y="157448"/>
                  </a:lnTo>
                  <a:lnTo>
                    <a:pt x="174689" y="158972"/>
                  </a:lnTo>
                  <a:lnTo>
                    <a:pt x="170593" y="146590"/>
                  </a:lnTo>
                  <a:lnTo>
                    <a:pt x="190595" y="124397"/>
                  </a:lnTo>
                  <a:lnTo>
                    <a:pt x="197549" y="125158"/>
                  </a:lnTo>
                  <a:lnTo>
                    <a:pt x="199644" y="120301"/>
                  </a:lnTo>
                  <a:lnTo>
                    <a:pt x="194977" y="113062"/>
                  </a:lnTo>
                  <a:lnTo>
                    <a:pt x="199835" y="11144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8" name="Freeform: Shape 2818">
              <a:extLst>
                <a:ext uri="{FF2B5EF4-FFF2-40B4-BE49-F238E27FC236}">
                  <a16:creationId xmlns:a16="http://schemas.microsoft.com/office/drawing/2014/main" id="{CFB058D4-E674-8F5F-B323-5E6805FA3C58}"/>
                </a:ext>
              </a:extLst>
            </p:cNvPr>
            <p:cNvSpPr/>
            <p:nvPr/>
          </p:nvSpPr>
          <p:spPr>
            <a:xfrm>
              <a:off x="1842801" y="2887440"/>
              <a:ext cx="516826" cy="420338"/>
            </a:xfrm>
            <a:custGeom>
              <a:avLst/>
              <a:gdLst>
                <a:gd name="connsiteX0" fmla="*/ 516827 w 516826"/>
                <a:gd name="connsiteY0" fmla="*/ 33147 h 420338"/>
                <a:gd name="connsiteX1" fmla="*/ 497681 w 516826"/>
                <a:gd name="connsiteY1" fmla="*/ 15907 h 420338"/>
                <a:gd name="connsiteX2" fmla="*/ 471488 w 516826"/>
                <a:gd name="connsiteY2" fmla="*/ 7334 h 420338"/>
                <a:gd name="connsiteX3" fmla="*/ 461391 w 516826"/>
                <a:gd name="connsiteY3" fmla="*/ 20669 h 420338"/>
                <a:gd name="connsiteX4" fmla="*/ 465392 w 516826"/>
                <a:gd name="connsiteY4" fmla="*/ 5334 h 420338"/>
                <a:gd name="connsiteX5" fmla="*/ 449199 w 516826"/>
                <a:gd name="connsiteY5" fmla="*/ 0 h 420338"/>
                <a:gd name="connsiteX6" fmla="*/ 431959 w 516826"/>
                <a:gd name="connsiteY6" fmla="*/ 23146 h 420338"/>
                <a:gd name="connsiteX7" fmla="*/ 429768 w 516826"/>
                <a:gd name="connsiteY7" fmla="*/ 4667 h 420338"/>
                <a:gd name="connsiteX8" fmla="*/ 401288 w 516826"/>
                <a:gd name="connsiteY8" fmla="*/ 42005 h 420338"/>
                <a:gd name="connsiteX9" fmla="*/ 397955 w 516826"/>
                <a:gd name="connsiteY9" fmla="*/ 24479 h 420338"/>
                <a:gd name="connsiteX10" fmla="*/ 415195 w 516826"/>
                <a:gd name="connsiteY10" fmla="*/ 9906 h 420338"/>
                <a:gd name="connsiteX11" fmla="*/ 403955 w 516826"/>
                <a:gd name="connsiteY11" fmla="*/ 6001 h 420338"/>
                <a:gd name="connsiteX12" fmla="*/ 391382 w 516826"/>
                <a:gd name="connsiteY12" fmla="*/ 19907 h 420338"/>
                <a:gd name="connsiteX13" fmla="*/ 367284 w 516826"/>
                <a:gd name="connsiteY13" fmla="*/ 29813 h 420338"/>
                <a:gd name="connsiteX14" fmla="*/ 363379 w 516826"/>
                <a:gd name="connsiteY14" fmla="*/ 46863 h 420338"/>
                <a:gd name="connsiteX15" fmla="*/ 356425 w 516826"/>
                <a:gd name="connsiteY15" fmla="*/ 36385 h 420338"/>
                <a:gd name="connsiteX16" fmla="*/ 336994 w 516826"/>
                <a:gd name="connsiteY16" fmla="*/ 28861 h 420338"/>
                <a:gd name="connsiteX17" fmla="*/ 323279 w 516826"/>
                <a:gd name="connsiteY17" fmla="*/ 33909 h 420338"/>
                <a:gd name="connsiteX18" fmla="*/ 339185 w 516826"/>
                <a:gd name="connsiteY18" fmla="*/ 40862 h 420338"/>
                <a:gd name="connsiteX19" fmla="*/ 339185 w 516826"/>
                <a:gd name="connsiteY19" fmla="*/ 53245 h 420338"/>
                <a:gd name="connsiteX20" fmla="*/ 325660 w 516826"/>
                <a:gd name="connsiteY20" fmla="*/ 44101 h 420338"/>
                <a:gd name="connsiteX21" fmla="*/ 307848 w 516826"/>
                <a:gd name="connsiteY21" fmla="*/ 33909 h 420338"/>
                <a:gd name="connsiteX22" fmla="*/ 310515 w 516826"/>
                <a:gd name="connsiteY22" fmla="*/ 48768 h 420338"/>
                <a:gd name="connsiteX23" fmla="*/ 301657 w 516826"/>
                <a:gd name="connsiteY23" fmla="*/ 63913 h 420338"/>
                <a:gd name="connsiteX24" fmla="*/ 302800 w 516826"/>
                <a:gd name="connsiteY24" fmla="*/ 44386 h 420338"/>
                <a:gd name="connsiteX25" fmla="*/ 291179 w 516826"/>
                <a:gd name="connsiteY25" fmla="*/ 64198 h 420338"/>
                <a:gd name="connsiteX26" fmla="*/ 292989 w 516826"/>
                <a:gd name="connsiteY26" fmla="*/ 51149 h 420338"/>
                <a:gd name="connsiteX27" fmla="*/ 281273 w 516826"/>
                <a:gd name="connsiteY27" fmla="*/ 55721 h 420338"/>
                <a:gd name="connsiteX28" fmla="*/ 285369 w 516826"/>
                <a:gd name="connsiteY28" fmla="*/ 67056 h 420338"/>
                <a:gd name="connsiteX29" fmla="*/ 270034 w 516826"/>
                <a:gd name="connsiteY29" fmla="*/ 53911 h 420338"/>
                <a:gd name="connsiteX30" fmla="*/ 275654 w 516826"/>
                <a:gd name="connsiteY30" fmla="*/ 70771 h 420338"/>
                <a:gd name="connsiteX31" fmla="*/ 263652 w 516826"/>
                <a:gd name="connsiteY31" fmla="*/ 61341 h 420338"/>
                <a:gd name="connsiteX32" fmla="*/ 259842 w 516826"/>
                <a:gd name="connsiteY32" fmla="*/ 71438 h 420338"/>
                <a:gd name="connsiteX33" fmla="*/ 241268 w 516826"/>
                <a:gd name="connsiteY33" fmla="*/ 75247 h 420338"/>
                <a:gd name="connsiteX34" fmla="*/ 255556 w 516826"/>
                <a:gd name="connsiteY34" fmla="*/ 85249 h 420338"/>
                <a:gd name="connsiteX35" fmla="*/ 236220 w 516826"/>
                <a:gd name="connsiteY35" fmla="*/ 85915 h 420338"/>
                <a:gd name="connsiteX36" fmla="*/ 233553 w 516826"/>
                <a:gd name="connsiteY36" fmla="*/ 99727 h 420338"/>
                <a:gd name="connsiteX37" fmla="*/ 228124 w 516826"/>
                <a:gd name="connsiteY37" fmla="*/ 78391 h 420338"/>
                <a:gd name="connsiteX38" fmla="*/ 218408 w 516826"/>
                <a:gd name="connsiteY38" fmla="*/ 92202 h 420338"/>
                <a:gd name="connsiteX39" fmla="*/ 219170 w 516826"/>
                <a:gd name="connsiteY39" fmla="*/ 75819 h 420338"/>
                <a:gd name="connsiteX40" fmla="*/ 211455 w 516826"/>
                <a:gd name="connsiteY40" fmla="*/ 73342 h 420338"/>
                <a:gd name="connsiteX41" fmla="*/ 204121 w 516826"/>
                <a:gd name="connsiteY41" fmla="*/ 101632 h 420338"/>
                <a:gd name="connsiteX42" fmla="*/ 175450 w 516826"/>
                <a:gd name="connsiteY42" fmla="*/ 104775 h 420338"/>
                <a:gd name="connsiteX43" fmla="*/ 164211 w 516826"/>
                <a:gd name="connsiteY43" fmla="*/ 116110 h 420338"/>
                <a:gd name="connsiteX44" fmla="*/ 209169 w 516826"/>
                <a:gd name="connsiteY44" fmla="*/ 107347 h 420338"/>
                <a:gd name="connsiteX45" fmla="*/ 222313 w 516826"/>
                <a:gd name="connsiteY45" fmla="*/ 101251 h 420338"/>
                <a:gd name="connsiteX46" fmla="*/ 224219 w 516826"/>
                <a:gd name="connsiteY46" fmla="*/ 109823 h 420338"/>
                <a:gd name="connsiteX47" fmla="*/ 220694 w 516826"/>
                <a:gd name="connsiteY47" fmla="*/ 118015 h 420338"/>
                <a:gd name="connsiteX48" fmla="*/ 217646 w 516826"/>
                <a:gd name="connsiteY48" fmla="*/ 110490 h 420338"/>
                <a:gd name="connsiteX49" fmla="*/ 206788 w 516826"/>
                <a:gd name="connsiteY49" fmla="*/ 123730 h 420338"/>
                <a:gd name="connsiteX50" fmla="*/ 202978 w 516826"/>
                <a:gd name="connsiteY50" fmla="*/ 114205 h 420338"/>
                <a:gd name="connsiteX51" fmla="*/ 195167 w 516826"/>
                <a:gd name="connsiteY51" fmla="*/ 125635 h 420338"/>
                <a:gd name="connsiteX52" fmla="*/ 204502 w 516826"/>
                <a:gd name="connsiteY52" fmla="*/ 126206 h 420338"/>
                <a:gd name="connsiteX53" fmla="*/ 206311 w 516826"/>
                <a:gd name="connsiteY53" fmla="*/ 136207 h 420338"/>
                <a:gd name="connsiteX54" fmla="*/ 185738 w 516826"/>
                <a:gd name="connsiteY54" fmla="*/ 136588 h 420338"/>
                <a:gd name="connsiteX55" fmla="*/ 169545 w 516826"/>
                <a:gd name="connsiteY55" fmla="*/ 144113 h 420338"/>
                <a:gd name="connsiteX56" fmla="*/ 178403 w 516826"/>
                <a:gd name="connsiteY56" fmla="*/ 148400 h 420338"/>
                <a:gd name="connsiteX57" fmla="*/ 162592 w 516826"/>
                <a:gd name="connsiteY57" fmla="*/ 152114 h 420338"/>
                <a:gd name="connsiteX58" fmla="*/ 168878 w 516826"/>
                <a:gd name="connsiteY58" fmla="*/ 162306 h 420338"/>
                <a:gd name="connsiteX59" fmla="*/ 157639 w 516826"/>
                <a:gd name="connsiteY59" fmla="*/ 177832 h 420338"/>
                <a:gd name="connsiteX60" fmla="*/ 148780 w 516826"/>
                <a:gd name="connsiteY60" fmla="*/ 172784 h 420338"/>
                <a:gd name="connsiteX61" fmla="*/ 150876 w 516826"/>
                <a:gd name="connsiteY61" fmla="*/ 192500 h 420338"/>
                <a:gd name="connsiteX62" fmla="*/ 128111 w 516826"/>
                <a:gd name="connsiteY62" fmla="*/ 204025 h 420338"/>
                <a:gd name="connsiteX63" fmla="*/ 143446 w 516826"/>
                <a:gd name="connsiteY63" fmla="*/ 208026 h 420338"/>
                <a:gd name="connsiteX64" fmla="*/ 127254 w 516826"/>
                <a:gd name="connsiteY64" fmla="*/ 215551 h 420338"/>
                <a:gd name="connsiteX65" fmla="*/ 131350 w 516826"/>
                <a:gd name="connsiteY65" fmla="*/ 226314 h 420338"/>
                <a:gd name="connsiteX66" fmla="*/ 118681 w 516826"/>
                <a:gd name="connsiteY66" fmla="*/ 218789 h 420338"/>
                <a:gd name="connsiteX67" fmla="*/ 109442 w 516826"/>
                <a:gd name="connsiteY67" fmla="*/ 224123 h 420338"/>
                <a:gd name="connsiteX68" fmla="*/ 93536 w 516826"/>
                <a:gd name="connsiteY68" fmla="*/ 242888 h 420338"/>
                <a:gd name="connsiteX69" fmla="*/ 124015 w 516826"/>
                <a:gd name="connsiteY69" fmla="*/ 246317 h 420338"/>
                <a:gd name="connsiteX70" fmla="*/ 106490 w 516826"/>
                <a:gd name="connsiteY70" fmla="*/ 256318 h 420338"/>
                <a:gd name="connsiteX71" fmla="*/ 93917 w 516826"/>
                <a:gd name="connsiteY71" fmla="*/ 249936 h 420338"/>
                <a:gd name="connsiteX72" fmla="*/ 87154 w 516826"/>
                <a:gd name="connsiteY72" fmla="*/ 256794 h 420338"/>
                <a:gd name="connsiteX73" fmla="*/ 76771 w 516826"/>
                <a:gd name="connsiteY73" fmla="*/ 252984 h 420338"/>
                <a:gd name="connsiteX74" fmla="*/ 78391 w 516826"/>
                <a:gd name="connsiteY74" fmla="*/ 263938 h 420338"/>
                <a:gd name="connsiteX75" fmla="*/ 69056 w 516826"/>
                <a:gd name="connsiteY75" fmla="*/ 263842 h 420338"/>
                <a:gd name="connsiteX76" fmla="*/ 74200 w 516826"/>
                <a:gd name="connsiteY76" fmla="*/ 278225 h 420338"/>
                <a:gd name="connsiteX77" fmla="*/ 62389 w 516826"/>
                <a:gd name="connsiteY77" fmla="*/ 271463 h 420338"/>
                <a:gd name="connsiteX78" fmla="*/ 65151 w 516826"/>
                <a:gd name="connsiteY78" fmla="*/ 284893 h 420338"/>
                <a:gd name="connsiteX79" fmla="*/ 53816 w 516826"/>
                <a:gd name="connsiteY79" fmla="*/ 269367 h 420338"/>
                <a:gd name="connsiteX80" fmla="*/ 37814 w 516826"/>
                <a:gd name="connsiteY80" fmla="*/ 273082 h 420338"/>
                <a:gd name="connsiteX81" fmla="*/ 27242 w 516826"/>
                <a:gd name="connsiteY81" fmla="*/ 300990 h 420338"/>
                <a:gd name="connsiteX82" fmla="*/ 2096 w 516826"/>
                <a:gd name="connsiteY82" fmla="*/ 296704 h 420338"/>
                <a:gd name="connsiteX83" fmla="*/ 3429 w 516826"/>
                <a:gd name="connsiteY83" fmla="*/ 305848 h 420338"/>
                <a:gd name="connsiteX84" fmla="*/ 14478 w 516826"/>
                <a:gd name="connsiteY84" fmla="*/ 312610 h 420338"/>
                <a:gd name="connsiteX85" fmla="*/ 36481 w 516826"/>
                <a:gd name="connsiteY85" fmla="*/ 306896 h 420338"/>
                <a:gd name="connsiteX86" fmla="*/ 12954 w 516826"/>
                <a:gd name="connsiteY86" fmla="*/ 320516 h 420338"/>
                <a:gd name="connsiteX87" fmla="*/ 2000 w 516826"/>
                <a:gd name="connsiteY87" fmla="*/ 315182 h 420338"/>
                <a:gd name="connsiteX88" fmla="*/ 4667 w 516826"/>
                <a:gd name="connsiteY88" fmla="*/ 326422 h 420338"/>
                <a:gd name="connsiteX89" fmla="*/ 26098 w 516826"/>
                <a:gd name="connsiteY89" fmla="*/ 327374 h 420338"/>
                <a:gd name="connsiteX90" fmla="*/ 37909 w 516826"/>
                <a:gd name="connsiteY90" fmla="*/ 321088 h 420338"/>
                <a:gd name="connsiteX91" fmla="*/ 50292 w 516826"/>
                <a:gd name="connsiteY91" fmla="*/ 327088 h 420338"/>
                <a:gd name="connsiteX92" fmla="*/ 32480 w 516826"/>
                <a:gd name="connsiteY92" fmla="*/ 329470 h 420338"/>
                <a:gd name="connsiteX93" fmla="*/ 9334 w 516826"/>
                <a:gd name="connsiteY93" fmla="*/ 334804 h 420338"/>
                <a:gd name="connsiteX94" fmla="*/ 1810 w 516826"/>
                <a:gd name="connsiteY94" fmla="*/ 332708 h 420338"/>
                <a:gd name="connsiteX95" fmla="*/ 1429 w 516826"/>
                <a:gd name="connsiteY95" fmla="*/ 340233 h 420338"/>
                <a:gd name="connsiteX96" fmla="*/ 11049 w 516826"/>
                <a:gd name="connsiteY96" fmla="*/ 339090 h 420338"/>
                <a:gd name="connsiteX97" fmla="*/ 14478 w 516826"/>
                <a:gd name="connsiteY97" fmla="*/ 348805 h 420338"/>
                <a:gd name="connsiteX98" fmla="*/ 0 w 516826"/>
                <a:gd name="connsiteY98" fmla="*/ 344996 h 420338"/>
                <a:gd name="connsiteX99" fmla="*/ 6001 w 516826"/>
                <a:gd name="connsiteY99" fmla="*/ 357664 h 420338"/>
                <a:gd name="connsiteX100" fmla="*/ 23813 w 516826"/>
                <a:gd name="connsiteY100" fmla="*/ 363664 h 420338"/>
                <a:gd name="connsiteX101" fmla="*/ 42100 w 516826"/>
                <a:gd name="connsiteY101" fmla="*/ 350996 h 420338"/>
                <a:gd name="connsiteX102" fmla="*/ 26194 w 516826"/>
                <a:gd name="connsiteY102" fmla="*/ 371284 h 420338"/>
                <a:gd name="connsiteX103" fmla="*/ 10858 w 516826"/>
                <a:gd name="connsiteY103" fmla="*/ 367093 h 420338"/>
                <a:gd name="connsiteX104" fmla="*/ 12954 w 516826"/>
                <a:gd name="connsiteY104" fmla="*/ 380809 h 420338"/>
                <a:gd name="connsiteX105" fmla="*/ 4286 w 516826"/>
                <a:gd name="connsiteY105" fmla="*/ 371951 h 420338"/>
                <a:gd name="connsiteX106" fmla="*/ 9334 w 516826"/>
                <a:gd name="connsiteY106" fmla="*/ 401574 h 420338"/>
                <a:gd name="connsiteX107" fmla="*/ 35433 w 516826"/>
                <a:gd name="connsiteY107" fmla="*/ 412051 h 420338"/>
                <a:gd name="connsiteX108" fmla="*/ 32194 w 516826"/>
                <a:gd name="connsiteY108" fmla="*/ 420338 h 420338"/>
                <a:gd name="connsiteX109" fmla="*/ 58198 w 516826"/>
                <a:gd name="connsiteY109" fmla="*/ 414147 h 420338"/>
                <a:gd name="connsiteX110" fmla="*/ 64198 w 516826"/>
                <a:gd name="connsiteY110" fmla="*/ 419005 h 420338"/>
                <a:gd name="connsiteX111" fmla="*/ 85630 w 516826"/>
                <a:gd name="connsiteY111" fmla="*/ 398335 h 420338"/>
                <a:gd name="connsiteX112" fmla="*/ 93059 w 516826"/>
                <a:gd name="connsiteY112" fmla="*/ 397002 h 420338"/>
                <a:gd name="connsiteX113" fmla="*/ 91154 w 516826"/>
                <a:gd name="connsiteY113" fmla="*/ 384619 h 420338"/>
                <a:gd name="connsiteX114" fmla="*/ 104775 w 516826"/>
                <a:gd name="connsiteY114" fmla="*/ 393763 h 420338"/>
                <a:gd name="connsiteX115" fmla="*/ 110776 w 516826"/>
                <a:gd name="connsiteY115" fmla="*/ 370332 h 420338"/>
                <a:gd name="connsiteX116" fmla="*/ 127921 w 516826"/>
                <a:gd name="connsiteY116" fmla="*/ 395097 h 420338"/>
                <a:gd name="connsiteX117" fmla="*/ 128302 w 516826"/>
                <a:gd name="connsiteY117" fmla="*/ 397955 h 420338"/>
                <a:gd name="connsiteX118" fmla="*/ 134874 w 516826"/>
                <a:gd name="connsiteY118" fmla="*/ 392144 h 420338"/>
                <a:gd name="connsiteX119" fmla="*/ 134493 w 516826"/>
                <a:gd name="connsiteY119" fmla="*/ 372237 h 420338"/>
                <a:gd name="connsiteX120" fmla="*/ 148019 w 516826"/>
                <a:gd name="connsiteY120" fmla="*/ 365284 h 420338"/>
                <a:gd name="connsiteX121" fmla="*/ 150304 w 516826"/>
                <a:gd name="connsiteY121" fmla="*/ 351663 h 420338"/>
                <a:gd name="connsiteX122" fmla="*/ 143732 w 516826"/>
                <a:gd name="connsiteY122" fmla="*/ 334613 h 420338"/>
                <a:gd name="connsiteX123" fmla="*/ 151829 w 516826"/>
                <a:gd name="connsiteY123" fmla="*/ 332804 h 420338"/>
                <a:gd name="connsiteX124" fmla="*/ 155353 w 516826"/>
                <a:gd name="connsiteY124" fmla="*/ 323945 h 420338"/>
                <a:gd name="connsiteX125" fmla="*/ 142208 w 516826"/>
                <a:gd name="connsiteY125" fmla="*/ 310705 h 420338"/>
                <a:gd name="connsiteX126" fmla="*/ 144875 w 516826"/>
                <a:gd name="connsiteY126" fmla="*/ 294989 h 420338"/>
                <a:gd name="connsiteX127" fmla="*/ 139922 w 516826"/>
                <a:gd name="connsiteY127" fmla="*/ 282416 h 420338"/>
                <a:gd name="connsiteX128" fmla="*/ 141827 w 516826"/>
                <a:gd name="connsiteY128" fmla="*/ 271653 h 420338"/>
                <a:gd name="connsiteX129" fmla="*/ 138303 w 516826"/>
                <a:gd name="connsiteY129" fmla="*/ 260318 h 420338"/>
                <a:gd name="connsiteX130" fmla="*/ 151829 w 516826"/>
                <a:gd name="connsiteY130" fmla="*/ 239554 h 420338"/>
                <a:gd name="connsiteX131" fmla="*/ 162687 w 516826"/>
                <a:gd name="connsiteY131" fmla="*/ 233934 h 420338"/>
                <a:gd name="connsiteX132" fmla="*/ 178594 w 516826"/>
                <a:gd name="connsiteY132" fmla="*/ 237077 h 420338"/>
                <a:gd name="connsiteX133" fmla="*/ 182023 w 516826"/>
                <a:gd name="connsiteY133" fmla="*/ 232696 h 420338"/>
                <a:gd name="connsiteX134" fmla="*/ 181261 w 516826"/>
                <a:gd name="connsiteY134" fmla="*/ 222599 h 420338"/>
                <a:gd name="connsiteX135" fmla="*/ 173927 w 516826"/>
                <a:gd name="connsiteY135" fmla="*/ 218122 h 420338"/>
                <a:gd name="connsiteX136" fmla="*/ 188976 w 516826"/>
                <a:gd name="connsiteY136" fmla="*/ 196120 h 420338"/>
                <a:gd name="connsiteX137" fmla="*/ 191357 w 516826"/>
                <a:gd name="connsiteY137" fmla="*/ 180975 h 420338"/>
                <a:gd name="connsiteX138" fmla="*/ 188595 w 516826"/>
                <a:gd name="connsiteY138" fmla="*/ 168402 h 420338"/>
                <a:gd name="connsiteX139" fmla="*/ 207169 w 516826"/>
                <a:gd name="connsiteY139" fmla="*/ 166497 h 420338"/>
                <a:gd name="connsiteX140" fmla="*/ 206026 w 516826"/>
                <a:gd name="connsiteY140" fmla="*/ 157067 h 420338"/>
                <a:gd name="connsiteX141" fmla="*/ 224600 w 516826"/>
                <a:gd name="connsiteY141" fmla="*/ 142589 h 420338"/>
                <a:gd name="connsiteX142" fmla="*/ 226981 w 516826"/>
                <a:gd name="connsiteY142" fmla="*/ 134398 h 420338"/>
                <a:gd name="connsiteX143" fmla="*/ 222694 w 516826"/>
                <a:gd name="connsiteY143" fmla="*/ 126873 h 420338"/>
                <a:gd name="connsiteX144" fmla="*/ 243173 w 516826"/>
                <a:gd name="connsiteY144" fmla="*/ 108013 h 420338"/>
                <a:gd name="connsiteX145" fmla="*/ 255937 w 516826"/>
                <a:gd name="connsiteY145" fmla="*/ 111061 h 420338"/>
                <a:gd name="connsiteX146" fmla="*/ 260985 w 516826"/>
                <a:gd name="connsiteY146" fmla="*/ 104775 h 420338"/>
                <a:gd name="connsiteX147" fmla="*/ 259842 w 516826"/>
                <a:gd name="connsiteY147" fmla="*/ 93440 h 420338"/>
                <a:gd name="connsiteX148" fmla="*/ 296609 w 516826"/>
                <a:gd name="connsiteY148" fmla="*/ 99155 h 420338"/>
                <a:gd name="connsiteX149" fmla="*/ 303562 w 516826"/>
                <a:gd name="connsiteY149" fmla="*/ 95345 h 420338"/>
                <a:gd name="connsiteX150" fmla="*/ 299275 w 516826"/>
                <a:gd name="connsiteY150" fmla="*/ 87154 h 420338"/>
                <a:gd name="connsiteX151" fmla="*/ 305086 w 516826"/>
                <a:gd name="connsiteY151" fmla="*/ 85249 h 420338"/>
                <a:gd name="connsiteX152" fmla="*/ 303562 w 516826"/>
                <a:gd name="connsiteY152" fmla="*/ 76486 h 420338"/>
                <a:gd name="connsiteX153" fmla="*/ 310801 w 516826"/>
                <a:gd name="connsiteY153" fmla="*/ 76200 h 420338"/>
                <a:gd name="connsiteX154" fmla="*/ 318230 w 516826"/>
                <a:gd name="connsiteY154" fmla="*/ 75819 h 420338"/>
                <a:gd name="connsiteX155" fmla="*/ 323279 w 516826"/>
                <a:gd name="connsiteY155" fmla="*/ 66389 h 420338"/>
                <a:gd name="connsiteX156" fmla="*/ 330994 w 516826"/>
                <a:gd name="connsiteY156" fmla="*/ 67627 h 420338"/>
                <a:gd name="connsiteX157" fmla="*/ 345377 w 516826"/>
                <a:gd name="connsiteY157" fmla="*/ 85915 h 420338"/>
                <a:gd name="connsiteX158" fmla="*/ 361569 w 516826"/>
                <a:gd name="connsiteY158" fmla="*/ 89059 h 420338"/>
                <a:gd name="connsiteX159" fmla="*/ 373571 w 516826"/>
                <a:gd name="connsiteY159" fmla="*/ 81534 h 420338"/>
                <a:gd name="connsiteX160" fmla="*/ 389858 w 516826"/>
                <a:gd name="connsiteY160" fmla="*/ 85915 h 420338"/>
                <a:gd name="connsiteX161" fmla="*/ 396811 w 516826"/>
                <a:gd name="connsiteY161" fmla="*/ 91630 h 420338"/>
                <a:gd name="connsiteX162" fmla="*/ 403765 w 516826"/>
                <a:gd name="connsiteY162" fmla="*/ 80296 h 420338"/>
                <a:gd name="connsiteX163" fmla="*/ 413861 w 516826"/>
                <a:gd name="connsiteY163" fmla="*/ 78962 h 420338"/>
                <a:gd name="connsiteX164" fmla="*/ 411480 w 516826"/>
                <a:gd name="connsiteY164" fmla="*/ 65722 h 420338"/>
                <a:gd name="connsiteX165" fmla="*/ 423863 w 516826"/>
                <a:gd name="connsiteY165" fmla="*/ 47530 h 420338"/>
                <a:gd name="connsiteX166" fmla="*/ 438626 w 516826"/>
                <a:gd name="connsiteY166" fmla="*/ 48768 h 420338"/>
                <a:gd name="connsiteX167" fmla="*/ 454438 w 516826"/>
                <a:gd name="connsiteY167" fmla="*/ 41243 h 420338"/>
                <a:gd name="connsiteX168" fmla="*/ 463391 w 516826"/>
                <a:gd name="connsiteY168" fmla="*/ 50673 h 420338"/>
                <a:gd name="connsiteX169" fmla="*/ 476536 w 516826"/>
                <a:gd name="connsiteY169" fmla="*/ 51244 h 420338"/>
                <a:gd name="connsiteX170" fmla="*/ 479965 w 516826"/>
                <a:gd name="connsiteY170" fmla="*/ 59436 h 420338"/>
                <a:gd name="connsiteX171" fmla="*/ 469963 w 516826"/>
                <a:gd name="connsiteY171" fmla="*/ 68294 h 420338"/>
                <a:gd name="connsiteX172" fmla="*/ 473964 w 516826"/>
                <a:gd name="connsiteY172" fmla="*/ 74390 h 420338"/>
                <a:gd name="connsiteX173" fmla="*/ 476536 w 516826"/>
                <a:gd name="connsiteY173" fmla="*/ 78391 h 420338"/>
                <a:gd name="connsiteX174" fmla="*/ 484632 w 516826"/>
                <a:gd name="connsiteY174" fmla="*/ 67056 h 420338"/>
                <a:gd name="connsiteX175" fmla="*/ 497396 w 516826"/>
                <a:gd name="connsiteY175" fmla="*/ 61341 h 420338"/>
                <a:gd name="connsiteX176" fmla="*/ 499300 w 516826"/>
                <a:gd name="connsiteY176" fmla="*/ 54388 h 420338"/>
                <a:gd name="connsiteX177" fmla="*/ 513302 w 516826"/>
                <a:gd name="connsiteY177" fmla="*/ 63246 h 420338"/>
                <a:gd name="connsiteX178" fmla="*/ 514064 w 516826"/>
                <a:gd name="connsiteY178" fmla="*/ 50673 h 420338"/>
                <a:gd name="connsiteX179" fmla="*/ 514159 w 516826"/>
                <a:gd name="connsiteY179" fmla="*/ 50578 h 420338"/>
                <a:gd name="connsiteX180" fmla="*/ 487966 w 516826"/>
                <a:gd name="connsiteY180" fmla="*/ 44101 h 420338"/>
                <a:gd name="connsiteX181" fmla="*/ 516827 w 516826"/>
                <a:gd name="connsiteY181" fmla="*/ 33147 h 42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6826" h="420338">
                  <a:moveTo>
                    <a:pt x="516827" y="33147"/>
                  </a:moveTo>
                  <a:lnTo>
                    <a:pt x="497681" y="15907"/>
                  </a:lnTo>
                  <a:lnTo>
                    <a:pt x="471488" y="7334"/>
                  </a:lnTo>
                  <a:lnTo>
                    <a:pt x="461391" y="20669"/>
                  </a:lnTo>
                  <a:lnTo>
                    <a:pt x="465392" y="5334"/>
                  </a:lnTo>
                  <a:lnTo>
                    <a:pt x="449199" y="0"/>
                  </a:lnTo>
                  <a:lnTo>
                    <a:pt x="431959" y="23146"/>
                  </a:lnTo>
                  <a:lnTo>
                    <a:pt x="429768" y="4667"/>
                  </a:lnTo>
                  <a:lnTo>
                    <a:pt x="401288" y="42005"/>
                  </a:lnTo>
                  <a:lnTo>
                    <a:pt x="397955" y="24479"/>
                  </a:lnTo>
                  <a:lnTo>
                    <a:pt x="415195" y="9906"/>
                  </a:lnTo>
                  <a:lnTo>
                    <a:pt x="403955" y="6001"/>
                  </a:lnTo>
                  <a:lnTo>
                    <a:pt x="391382" y="19907"/>
                  </a:lnTo>
                  <a:lnTo>
                    <a:pt x="367284" y="29813"/>
                  </a:lnTo>
                  <a:lnTo>
                    <a:pt x="363379" y="46863"/>
                  </a:lnTo>
                  <a:lnTo>
                    <a:pt x="356425" y="36385"/>
                  </a:lnTo>
                  <a:lnTo>
                    <a:pt x="336994" y="28861"/>
                  </a:lnTo>
                  <a:lnTo>
                    <a:pt x="323279" y="33909"/>
                  </a:lnTo>
                  <a:lnTo>
                    <a:pt x="339185" y="40862"/>
                  </a:lnTo>
                  <a:lnTo>
                    <a:pt x="339185" y="53245"/>
                  </a:lnTo>
                  <a:lnTo>
                    <a:pt x="325660" y="44101"/>
                  </a:lnTo>
                  <a:lnTo>
                    <a:pt x="307848" y="33909"/>
                  </a:lnTo>
                  <a:lnTo>
                    <a:pt x="310515" y="48768"/>
                  </a:lnTo>
                  <a:lnTo>
                    <a:pt x="301657" y="63913"/>
                  </a:lnTo>
                  <a:lnTo>
                    <a:pt x="302800" y="44386"/>
                  </a:lnTo>
                  <a:lnTo>
                    <a:pt x="291179" y="64198"/>
                  </a:lnTo>
                  <a:lnTo>
                    <a:pt x="292989" y="51149"/>
                  </a:lnTo>
                  <a:lnTo>
                    <a:pt x="281273" y="55721"/>
                  </a:lnTo>
                  <a:lnTo>
                    <a:pt x="285369" y="67056"/>
                  </a:lnTo>
                  <a:lnTo>
                    <a:pt x="270034" y="53911"/>
                  </a:lnTo>
                  <a:lnTo>
                    <a:pt x="275654" y="70771"/>
                  </a:lnTo>
                  <a:lnTo>
                    <a:pt x="263652" y="61341"/>
                  </a:lnTo>
                  <a:lnTo>
                    <a:pt x="259842" y="71438"/>
                  </a:lnTo>
                  <a:lnTo>
                    <a:pt x="241268" y="75247"/>
                  </a:lnTo>
                  <a:lnTo>
                    <a:pt x="255556" y="85249"/>
                  </a:lnTo>
                  <a:lnTo>
                    <a:pt x="236220" y="85915"/>
                  </a:lnTo>
                  <a:lnTo>
                    <a:pt x="233553" y="99727"/>
                  </a:lnTo>
                  <a:lnTo>
                    <a:pt x="228124" y="78391"/>
                  </a:lnTo>
                  <a:lnTo>
                    <a:pt x="218408" y="92202"/>
                  </a:lnTo>
                  <a:lnTo>
                    <a:pt x="219170" y="75819"/>
                  </a:lnTo>
                  <a:lnTo>
                    <a:pt x="211455" y="73342"/>
                  </a:lnTo>
                  <a:lnTo>
                    <a:pt x="204121" y="101632"/>
                  </a:lnTo>
                  <a:lnTo>
                    <a:pt x="175450" y="104775"/>
                  </a:lnTo>
                  <a:lnTo>
                    <a:pt x="164211" y="116110"/>
                  </a:lnTo>
                  <a:lnTo>
                    <a:pt x="209169" y="107347"/>
                  </a:lnTo>
                  <a:lnTo>
                    <a:pt x="222313" y="101251"/>
                  </a:lnTo>
                  <a:lnTo>
                    <a:pt x="224219" y="109823"/>
                  </a:lnTo>
                  <a:lnTo>
                    <a:pt x="220694" y="118015"/>
                  </a:lnTo>
                  <a:lnTo>
                    <a:pt x="217646" y="110490"/>
                  </a:lnTo>
                  <a:lnTo>
                    <a:pt x="206788" y="123730"/>
                  </a:lnTo>
                  <a:lnTo>
                    <a:pt x="202978" y="114205"/>
                  </a:lnTo>
                  <a:lnTo>
                    <a:pt x="195167" y="125635"/>
                  </a:lnTo>
                  <a:lnTo>
                    <a:pt x="204502" y="126206"/>
                  </a:lnTo>
                  <a:lnTo>
                    <a:pt x="206311" y="136207"/>
                  </a:lnTo>
                  <a:lnTo>
                    <a:pt x="185738" y="136588"/>
                  </a:lnTo>
                  <a:lnTo>
                    <a:pt x="169545" y="144113"/>
                  </a:lnTo>
                  <a:lnTo>
                    <a:pt x="178403" y="148400"/>
                  </a:lnTo>
                  <a:lnTo>
                    <a:pt x="162592" y="152114"/>
                  </a:lnTo>
                  <a:lnTo>
                    <a:pt x="168878" y="162306"/>
                  </a:lnTo>
                  <a:lnTo>
                    <a:pt x="157639" y="177832"/>
                  </a:lnTo>
                  <a:lnTo>
                    <a:pt x="148780" y="172784"/>
                  </a:lnTo>
                  <a:lnTo>
                    <a:pt x="150876" y="192500"/>
                  </a:lnTo>
                  <a:lnTo>
                    <a:pt x="128111" y="204025"/>
                  </a:lnTo>
                  <a:lnTo>
                    <a:pt x="143446" y="208026"/>
                  </a:lnTo>
                  <a:lnTo>
                    <a:pt x="127254" y="215551"/>
                  </a:lnTo>
                  <a:lnTo>
                    <a:pt x="131350" y="226314"/>
                  </a:lnTo>
                  <a:lnTo>
                    <a:pt x="118681" y="218789"/>
                  </a:lnTo>
                  <a:lnTo>
                    <a:pt x="109442" y="224123"/>
                  </a:lnTo>
                  <a:lnTo>
                    <a:pt x="93536" y="242888"/>
                  </a:lnTo>
                  <a:lnTo>
                    <a:pt x="124015" y="246317"/>
                  </a:lnTo>
                  <a:lnTo>
                    <a:pt x="106490" y="256318"/>
                  </a:lnTo>
                  <a:lnTo>
                    <a:pt x="93917" y="249936"/>
                  </a:lnTo>
                  <a:lnTo>
                    <a:pt x="87154" y="256794"/>
                  </a:lnTo>
                  <a:lnTo>
                    <a:pt x="76771" y="252984"/>
                  </a:lnTo>
                  <a:lnTo>
                    <a:pt x="78391" y="263938"/>
                  </a:lnTo>
                  <a:lnTo>
                    <a:pt x="69056" y="263842"/>
                  </a:lnTo>
                  <a:lnTo>
                    <a:pt x="74200" y="278225"/>
                  </a:lnTo>
                  <a:lnTo>
                    <a:pt x="62389" y="271463"/>
                  </a:lnTo>
                  <a:lnTo>
                    <a:pt x="65151" y="284893"/>
                  </a:lnTo>
                  <a:lnTo>
                    <a:pt x="53816" y="269367"/>
                  </a:lnTo>
                  <a:lnTo>
                    <a:pt x="37814" y="273082"/>
                  </a:lnTo>
                  <a:lnTo>
                    <a:pt x="27242" y="300990"/>
                  </a:lnTo>
                  <a:lnTo>
                    <a:pt x="2096" y="296704"/>
                  </a:lnTo>
                  <a:lnTo>
                    <a:pt x="3429" y="305848"/>
                  </a:lnTo>
                  <a:lnTo>
                    <a:pt x="14478" y="312610"/>
                  </a:lnTo>
                  <a:lnTo>
                    <a:pt x="36481" y="306896"/>
                  </a:lnTo>
                  <a:lnTo>
                    <a:pt x="12954" y="320516"/>
                  </a:lnTo>
                  <a:lnTo>
                    <a:pt x="2000" y="315182"/>
                  </a:lnTo>
                  <a:lnTo>
                    <a:pt x="4667" y="326422"/>
                  </a:lnTo>
                  <a:lnTo>
                    <a:pt x="26098" y="327374"/>
                  </a:lnTo>
                  <a:lnTo>
                    <a:pt x="37909" y="321088"/>
                  </a:lnTo>
                  <a:lnTo>
                    <a:pt x="50292" y="327088"/>
                  </a:lnTo>
                  <a:lnTo>
                    <a:pt x="32480" y="329470"/>
                  </a:lnTo>
                  <a:lnTo>
                    <a:pt x="9334" y="334804"/>
                  </a:lnTo>
                  <a:lnTo>
                    <a:pt x="1810" y="332708"/>
                  </a:lnTo>
                  <a:lnTo>
                    <a:pt x="1429" y="340233"/>
                  </a:lnTo>
                  <a:lnTo>
                    <a:pt x="11049" y="339090"/>
                  </a:lnTo>
                  <a:lnTo>
                    <a:pt x="14478" y="348805"/>
                  </a:lnTo>
                  <a:lnTo>
                    <a:pt x="0" y="344996"/>
                  </a:lnTo>
                  <a:lnTo>
                    <a:pt x="6001" y="357664"/>
                  </a:lnTo>
                  <a:lnTo>
                    <a:pt x="23813" y="363664"/>
                  </a:lnTo>
                  <a:lnTo>
                    <a:pt x="42100" y="350996"/>
                  </a:lnTo>
                  <a:lnTo>
                    <a:pt x="26194" y="371284"/>
                  </a:lnTo>
                  <a:lnTo>
                    <a:pt x="10858" y="367093"/>
                  </a:lnTo>
                  <a:lnTo>
                    <a:pt x="12954" y="380809"/>
                  </a:lnTo>
                  <a:lnTo>
                    <a:pt x="4286" y="371951"/>
                  </a:lnTo>
                  <a:lnTo>
                    <a:pt x="9334" y="401574"/>
                  </a:lnTo>
                  <a:lnTo>
                    <a:pt x="35433" y="412051"/>
                  </a:lnTo>
                  <a:lnTo>
                    <a:pt x="32194" y="420338"/>
                  </a:lnTo>
                  <a:lnTo>
                    <a:pt x="58198" y="414147"/>
                  </a:lnTo>
                  <a:lnTo>
                    <a:pt x="64198" y="419005"/>
                  </a:lnTo>
                  <a:lnTo>
                    <a:pt x="85630" y="398335"/>
                  </a:lnTo>
                  <a:lnTo>
                    <a:pt x="93059" y="397002"/>
                  </a:lnTo>
                  <a:lnTo>
                    <a:pt x="91154" y="384619"/>
                  </a:lnTo>
                  <a:lnTo>
                    <a:pt x="104775" y="393763"/>
                  </a:lnTo>
                  <a:lnTo>
                    <a:pt x="110776" y="370332"/>
                  </a:lnTo>
                  <a:lnTo>
                    <a:pt x="127921" y="395097"/>
                  </a:lnTo>
                  <a:lnTo>
                    <a:pt x="128302" y="397955"/>
                  </a:lnTo>
                  <a:lnTo>
                    <a:pt x="134874" y="392144"/>
                  </a:lnTo>
                  <a:lnTo>
                    <a:pt x="134493" y="372237"/>
                  </a:lnTo>
                  <a:lnTo>
                    <a:pt x="148019" y="365284"/>
                  </a:lnTo>
                  <a:lnTo>
                    <a:pt x="150304" y="351663"/>
                  </a:lnTo>
                  <a:lnTo>
                    <a:pt x="143732" y="334613"/>
                  </a:lnTo>
                  <a:lnTo>
                    <a:pt x="151829" y="332804"/>
                  </a:lnTo>
                  <a:lnTo>
                    <a:pt x="155353" y="323945"/>
                  </a:lnTo>
                  <a:lnTo>
                    <a:pt x="142208" y="310705"/>
                  </a:lnTo>
                  <a:lnTo>
                    <a:pt x="144875" y="294989"/>
                  </a:lnTo>
                  <a:lnTo>
                    <a:pt x="139922" y="282416"/>
                  </a:lnTo>
                  <a:lnTo>
                    <a:pt x="141827" y="271653"/>
                  </a:lnTo>
                  <a:lnTo>
                    <a:pt x="138303" y="260318"/>
                  </a:lnTo>
                  <a:lnTo>
                    <a:pt x="151829" y="239554"/>
                  </a:lnTo>
                  <a:lnTo>
                    <a:pt x="162687" y="233934"/>
                  </a:lnTo>
                  <a:lnTo>
                    <a:pt x="178594" y="237077"/>
                  </a:lnTo>
                  <a:lnTo>
                    <a:pt x="182023" y="232696"/>
                  </a:lnTo>
                  <a:lnTo>
                    <a:pt x="181261" y="222599"/>
                  </a:lnTo>
                  <a:lnTo>
                    <a:pt x="173927" y="218122"/>
                  </a:lnTo>
                  <a:lnTo>
                    <a:pt x="188976" y="196120"/>
                  </a:lnTo>
                  <a:lnTo>
                    <a:pt x="191357" y="180975"/>
                  </a:lnTo>
                  <a:lnTo>
                    <a:pt x="188595" y="168402"/>
                  </a:lnTo>
                  <a:lnTo>
                    <a:pt x="207169" y="166497"/>
                  </a:lnTo>
                  <a:lnTo>
                    <a:pt x="206026" y="157067"/>
                  </a:lnTo>
                  <a:lnTo>
                    <a:pt x="224600" y="142589"/>
                  </a:lnTo>
                  <a:lnTo>
                    <a:pt x="226981" y="134398"/>
                  </a:lnTo>
                  <a:lnTo>
                    <a:pt x="222694" y="126873"/>
                  </a:lnTo>
                  <a:lnTo>
                    <a:pt x="243173" y="108013"/>
                  </a:lnTo>
                  <a:lnTo>
                    <a:pt x="255937" y="111061"/>
                  </a:lnTo>
                  <a:lnTo>
                    <a:pt x="260985" y="104775"/>
                  </a:lnTo>
                  <a:lnTo>
                    <a:pt x="259842" y="93440"/>
                  </a:lnTo>
                  <a:lnTo>
                    <a:pt x="296609" y="99155"/>
                  </a:lnTo>
                  <a:lnTo>
                    <a:pt x="303562" y="95345"/>
                  </a:lnTo>
                  <a:lnTo>
                    <a:pt x="299275" y="87154"/>
                  </a:lnTo>
                  <a:lnTo>
                    <a:pt x="305086" y="85249"/>
                  </a:lnTo>
                  <a:lnTo>
                    <a:pt x="303562" y="76486"/>
                  </a:lnTo>
                  <a:lnTo>
                    <a:pt x="310801" y="76200"/>
                  </a:lnTo>
                  <a:lnTo>
                    <a:pt x="318230" y="75819"/>
                  </a:lnTo>
                  <a:lnTo>
                    <a:pt x="323279" y="66389"/>
                  </a:lnTo>
                  <a:lnTo>
                    <a:pt x="330994" y="67627"/>
                  </a:lnTo>
                  <a:lnTo>
                    <a:pt x="345377" y="85915"/>
                  </a:lnTo>
                  <a:lnTo>
                    <a:pt x="361569" y="89059"/>
                  </a:lnTo>
                  <a:lnTo>
                    <a:pt x="373571" y="81534"/>
                  </a:lnTo>
                  <a:lnTo>
                    <a:pt x="389858" y="85915"/>
                  </a:lnTo>
                  <a:lnTo>
                    <a:pt x="396811" y="91630"/>
                  </a:lnTo>
                  <a:lnTo>
                    <a:pt x="403765" y="80296"/>
                  </a:lnTo>
                  <a:lnTo>
                    <a:pt x="413861" y="78962"/>
                  </a:lnTo>
                  <a:lnTo>
                    <a:pt x="411480" y="65722"/>
                  </a:lnTo>
                  <a:lnTo>
                    <a:pt x="423863" y="47530"/>
                  </a:lnTo>
                  <a:lnTo>
                    <a:pt x="438626" y="48768"/>
                  </a:lnTo>
                  <a:lnTo>
                    <a:pt x="454438" y="41243"/>
                  </a:lnTo>
                  <a:lnTo>
                    <a:pt x="463391" y="50673"/>
                  </a:lnTo>
                  <a:lnTo>
                    <a:pt x="476536" y="51244"/>
                  </a:lnTo>
                  <a:lnTo>
                    <a:pt x="479965" y="59436"/>
                  </a:lnTo>
                  <a:lnTo>
                    <a:pt x="469963" y="68294"/>
                  </a:lnTo>
                  <a:lnTo>
                    <a:pt x="473964" y="74390"/>
                  </a:lnTo>
                  <a:lnTo>
                    <a:pt x="476536" y="78391"/>
                  </a:lnTo>
                  <a:lnTo>
                    <a:pt x="484632" y="67056"/>
                  </a:lnTo>
                  <a:lnTo>
                    <a:pt x="497396" y="61341"/>
                  </a:lnTo>
                  <a:lnTo>
                    <a:pt x="499300" y="54388"/>
                  </a:lnTo>
                  <a:lnTo>
                    <a:pt x="513302" y="63246"/>
                  </a:lnTo>
                  <a:lnTo>
                    <a:pt x="514064" y="50673"/>
                  </a:lnTo>
                  <a:lnTo>
                    <a:pt x="514159" y="50578"/>
                  </a:lnTo>
                  <a:lnTo>
                    <a:pt x="487966" y="44101"/>
                  </a:lnTo>
                  <a:lnTo>
                    <a:pt x="516827" y="3314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29" name="Freeform: Shape 2819">
              <a:extLst>
                <a:ext uri="{FF2B5EF4-FFF2-40B4-BE49-F238E27FC236}">
                  <a16:creationId xmlns:a16="http://schemas.microsoft.com/office/drawing/2014/main" id="{CF1FBC1A-CFCC-5A46-A9A1-D02D344BCDD5}"/>
                </a:ext>
              </a:extLst>
            </p:cNvPr>
            <p:cNvSpPr/>
            <p:nvPr/>
          </p:nvSpPr>
          <p:spPr>
            <a:xfrm>
              <a:off x="2096547" y="2507106"/>
              <a:ext cx="182879" cy="66103"/>
            </a:xfrm>
            <a:custGeom>
              <a:avLst/>
              <a:gdLst>
                <a:gd name="connsiteX0" fmla="*/ 144209 w 182879"/>
                <a:gd name="connsiteY0" fmla="*/ 30385 h 66103"/>
                <a:gd name="connsiteX1" fmla="*/ 182880 w 182879"/>
                <a:gd name="connsiteY1" fmla="*/ 39719 h 66103"/>
                <a:gd name="connsiteX2" fmla="*/ 128016 w 182879"/>
                <a:gd name="connsiteY2" fmla="*/ 66104 h 66103"/>
                <a:gd name="connsiteX3" fmla="*/ 100013 w 182879"/>
                <a:gd name="connsiteY3" fmla="*/ 58103 h 66103"/>
                <a:gd name="connsiteX4" fmla="*/ 101346 w 182879"/>
                <a:gd name="connsiteY4" fmla="*/ 50863 h 66103"/>
                <a:gd name="connsiteX5" fmla="*/ 60388 w 182879"/>
                <a:gd name="connsiteY5" fmla="*/ 50863 h 66103"/>
                <a:gd name="connsiteX6" fmla="*/ 37624 w 182879"/>
                <a:gd name="connsiteY6" fmla="*/ 45625 h 66103"/>
                <a:gd name="connsiteX7" fmla="*/ 78867 w 182879"/>
                <a:gd name="connsiteY7" fmla="*/ 35624 h 66103"/>
                <a:gd name="connsiteX8" fmla="*/ 34290 w 182879"/>
                <a:gd name="connsiteY8" fmla="*/ 38957 h 66103"/>
                <a:gd name="connsiteX9" fmla="*/ 13525 w 182879"/>
                <a:gd name="connsiteY9" fmla="*/ 36290 h 66103"/>
                <a:gd name="connsiteX10" fmla="*/ 0 w 182879"/>
                <a:gd name="connsiteY10" fmla="*/ 20479 h 66103"/>
                <a:gd name="connsiteX11" fmla="*/ 35338 w 182879"/>
                <a:gd name="connsiteY11" fmla="*/ 20479 h 66103"/>
                <a:gd name="connsiteX12" fmla="*/ 37243 w 182879"/>
                <a:gd name="connsiteY12" fmla="*/ 953 h 66103"/>
                <a:gd name="connsiteX13" fmla="*/ 88106 w 182879"/>
                <a:gd name="connsiteY13" fmla="*/ 28384 h 66103"/>
                <a:gd name="connsiteX14" fmla="*/ 98679 w 182879"/>
                <a:gd name="connsiteY14" fmla="*/ 0 h 66103"/>
                <a:gd name="connsiteX15" fmla="*/ 106299 w 182879"/>
                <a:gd name="connsiteY15" fmla="*/ 21336 h 66103"/>
                <a:gd name="connsiteX16" fmla="*/ 126778 w 182879"/>
                <a:gd name="connsiteY16" fmla="*/ 8001 h 66103"/>
                <a:gd name="connsiteX17" fmla="*/ 144209 w 182879"/>
                <a:gd name="connsiteY17" fmla="*/ 30385 h 6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2879" h="66103">
                  <a:moveTo>
                    <a:pt x="144209" y="30385"/>
                  </a:moveTo>
                  <a:lnTo>
                    <a:pt x="182880" y="39719"/>
                  </a:lnTo>
                  <a:lnTo>
                    <a:pt x="128016" y="66104"/>
                  </a:lnTo>
                  <a:lnTo>
                    <a:pt x="100013" y="58103"/>
                  </a:lnTo>
                  <a:lnTo>
                    <a:pt x="101346" y="50863"/>
                  </a:lnTo>
                  <a:lnTo>
                    <a:pt x="60388" y="50863"/>
                  </a:lnTo>
                  <a:lnTo>
                    <a:pt x="37624" y="45625"/>
                  </a:lnTo>
                  <a:lnTo>
                    <a:pt x="78867" y="35624"/>
                  </a:lnTo>
                  <a:lnTo>
                    <a:pt x="34290" y="38957"/>
                  </a:lnTo>
                  <a:lnTo>
                    <a:pt x="13525" y="36290"/>
                  </a:lnTo>
                  <a:lnTo>
                    <a:pt x="0" y="20479"/>
                  </a:lnTo>
                  <a:lnTo>
                    <a:pt x="35338" y="20479"/>
                  </a:lnTo>
                  <a:lnTo>
                    <a:pt x="37243" y="953"/>
                  </a:lnTo>
                  <a:lnTo>
                    <a:pt x="88106" y="28384"/>
                  </a:lnTo>
                  <a:lnTo>
                    <a:pt x="98679" y="0"/>
                  </a:lnTo>
                  <a:lnTo>
                    <a:pt x="106299" y="21336"/>
                  </a:lnTo>
                  <a:lnTo>
                    <a:pt x="126778" y="8001"/>
                  </a:lnTo>
                  <a:lnTo>
                    <a:pt x="144209" y="3038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0" name="Freeform: Shape 2820">
              <a:extLst>
                <a:ext uri="{FF2B5EF4-FFF2-40B4-BE49-F238E27FC236}">
                  <a16:creationId xmlns:a16="http://schemas.microsoft.com/office/drawing/2014/main" id="{C0B88F39-1FD5-BAF2-E15E-E45FF3D24E31}"/>
                </a:ext>
              </a:extLst>
            </p:cNvPr>
            <p:cNvSpPr/>
            <p:nvPr/>
          </p:nvSpPr>
          <p:spPr>
            <a:xfrm>
              <a:off x="1955863" y="2532157"/>
              <a:ext cx="224694" cy="138207"/>
            </a:xfrm>
            <a:custGeom>
              <a:avLst/>
              <a:gdLst>
                <a:gd name="connsiteX0" fmla="*/ 0 w 224694"/>
                <a:gd name="connsiteY0" fmla="*/ 21146 h 138207"/>
                <a:gd name="connsiteX1" fmla="*/ 0 w 224694"/>
                <a:gd name="connsiteY1" fmla="*/ 21146 h 138207"/>
                <a:gd name="connsiteX2" fmla="*/ 20098 w 224694"/>
                <a:gd name="connsiteY2" fmla="*/ 9239 h 138207"/>
                <a:gd name="connsiteX3" fmla="*/ 32385 w 224694"/>
                <a:gd name="connsiteY3" fmla="*/ 15907 h 138207"/>
                <a:gd name="connsiteX4" fmla="*/ 30671 w 224694"/>
                <a:gd name="connsiteY4" fmla="*/ 2286 h 138207"/>
                <a:gd name="connsiteX5" fmla="*/ 62103 w 224694"/>
                <a:gd name="connsiteY5" fmla="*/ 7906 h 138207"/>
                <a:gd name="connsiteX6" fmla="*/ 34957 w 224694"/>
                <a:gd name="connsiteY6" fmla="*/ 19812 h 138207"/>
                <a:gd name="connsiteX7" fmla="*/ 55436 w 224694"/>
                <a:gd name="connsiteY7" fmla="*/ 19145 h 138207"/>
                <a:gd name="connsiteX8" fmla="*/ 67056 w 224694"/>
                <a:gd name="connsiteY8" fmla="*/ 31718 h 138207"/>
                <a:gd name="connsiteX9" fmla="*/ 77248 w 224694"/>
                <a:gd name="connsiteY9" fmla="*/ 10573 h 138207"/>
                <a:gd name="connsiteX10" fmla="*/ 91154 w 224694"/>
                <a:gd name="connsiteY10" fmla="*/ 18574 h 138207"/>
                <a:gd name="connsiteX11" fmla="*/ 114205 w 224694"/>
                <a:gd name="connsiteY11" fmla="*/ 46292 h 138207"/>
                <a:gd name="connsiteX12" fmla="*/ 111252 w 224694"/>
                <a:gd name="connsiteY12" fmla="*/ 0 h 138207"/>
                <a:gd name="connsiteX13" fmla="*/ 146971 w 224694"/>
                <a:gd name="connsiteY13" fmla="*/ 13240 h 138207"/>
                <a:gd name="connsiteX14" fmla="*/ 137636 w 224694"/>
                <a:gd name="connsiteY14" fmla="*/ 27813 h 138207"/>
                <a:gd name="connsiteX15" fmla="*/ 151829 w 224694"/>
                <a:gd name="connsiteY15" fmla="*/ 17240 h 138207"/>
                <a:gd name="connsiteX16" fmla="*/ 163068 w 224694"/>
                <a:gd name="connsiteY16" fmla="*/ 35719 h 138207"/>
                <a:gd name="connsiteX17" fmla="*/ 181261 w 224694"/>
                <a:gd name="connsiteY17" fmla="*/ 36385 h 138207"/>
                <a:gd name="connsiteX18" fmla="*/ 182594 w 224694"/>
                <a:gd name="connsiteY18" fmla="*/ 41720 h 138207"/>
                <a:gd name="connsiteX19" fmla="*/ 213074 w 224694"/>
                <a:gd name="connsiteY19" fmla="*/ 50292 h 138207"/>
                <a:gd name="connsiteX20" fmla="*/ 224695 w 224694"/>
                <a:gd name="connsiteY20" fmla="*/ 63532 h 138207"/>
                <a:gd name="connsiteX21" fmla="*/ 200692 w 224694"/>
                <a:gd name="connsiteY21" fmla="*/ 67913 h 138207"/>
                <a:gd name="connsiteX22" fmla="*/ 206312 w 224694"/>
                <a:gd name="connsiteY22" fmla="*/ 56674 h 138207"/>
                <a:gd name="connsiteX23" fmla="*/ 178975 w 224694"/>
                <a:gd name="connsiteY23" fmla="*/ 57531 h 138207"/>
                <a:gd name="connsiteX24" fmla="*/ 164116 w 224694"/>
                <a:gd name="connsiteY24" fmla="*/ 64199 h 138207"/>
                <a:gd name="connsiteX25" fmla="*/ 166688 w 224694"/>
                <a:gd name="connsiteY25" fmla="*/ 78105 h 138207"/>
                <a:gd name="connsiteX26" fmla="*/ 153162 w 224694"/>
                <a:gd name="connsiteY26" fmla="*/ 81343 h 138207"/>
                <a:gd name="connsiteX27" fmla="*/ 150876 w 224694"/>
                <a:gd name="connsiteY27" fmla="*/ 101917 h 138207"/>
                <a:gd name="connsiteX28" fmla="*/ 140018 w 224694"/>
                <a:gd name="connsiteY28" fmla="*/ 101917 h 138207"/>
                <a:gd name="connsiteX29" fmla="*/ 121920 w 224694"/>
                <a:gd name="connsiteY29" fmla="*/ 138208 h 138207"/>
                <a:gd name="connsiteX30" fmla="*/ 113633 w 224694"/>
                <a:gd name="connsiteY30" fmla="*/ 127349 h 138207"/>
                <a:gd name="connsiteX31" fmla="*/ 98012 w 224694"/>
                <a:gd name="connsiteY31" fmla="*/ 127825 h 138207"/>
                <a:gd name="connsiteX32" fmla="*/ 111157 w 224694"/>
                <a:gd name="connsiteY32" fmla="*/ 111538 h 138207"/>
                <a:gd name="connsiteX33" fmla="*/ 88773 w 224694"/>
                <a:gd name="connsiteY33" fmla="*/ 120872 h 138207"/>
                <a:gd name="connsiteX34" fmla="*/ 74962 w 224694"/>
                <a:gd name="connsiteY34" fmla="*/ 115157 h 138207"/>
                <a:gd name="connsiteX35" fmla="*/ 68009 w 224694"/>
                <a:gd name="connsiteY35" fmla="*/ 101251 h 138207"/>
                <a:gd name="connsiteX36" fmla="*/ 96584 w 224694"/>
                <a:gd name="connsiteY36" fmla="*/ 90106 h 138207"/>
                <a:gd name="connsiteX37" fmla="*/ 62865 w 224694"/>
                <a:gd name="connsiteY37" fmla="*/ 90964 h 138207"/>
                <a:gd name="connsiteX38" fmla="*/ 57436 w 224694"/>
                <a:gd name="connsiteY38" fmla="*/ 80105 h 138207"/>
                <a:gd name="connsiteX39" fmla="*/ 85154 w 224694"/>
                <a:gd name="connsiteY39" fmla="*/ 78105 h 138207"/>
                <a:gd name="connsiteX40" fmla="*/ 100679 w 224694"/>
                <a:gd name="connsiteY40" fmla="*/ 68771 h 138207"/>
                <a:gd name="connsiteX41" fmla="*/ 131064 w 224694"/>
                <a:gd name="connsiteY41" fmla="*/ 65532 h 138207"/>
                <a:gd name="connsiteX42" fmla="*/ 116205 w 224694"/>
                <a:gd name="connsiteY42" fmla="*/ 53626 h 138207"/>
                <a:gd name="connsiteX43" fmla="*/ 94107 w 224694"/>
                <a:gd name="connsiteY43" fmla="*/ 64199 h 138207"/>
                <a:gd name="connsiteX44" fmla="*/ 93059 w 224694"/>
                <a:gd name="connsiteY44" fmla="*/ 48292 h 138207"/>
                <a:gd name="connsiteX45" fmla="*/ 80201 w 224694"/>
                <a:gd name="connsiteY45" fmla="*/ 66866 h 138207"/>
                <a:gd name="connsiteX46" fmla="*/ 45911 w 224694"/>
                <a:gd name="connsiteY46" fmla="*/ 74104 h 138207"/>
                <a:gd name="connsiteX47" fmla="*/ 49816 w 224694"/>
                <a:gd name="connsiteY47" fmla="*/ 60865 h 138207"/>
                <a:gd name="connsiteX48" fmla="*/ 24765 w 224694"/>
                <a:gd name="connsiteY48" fmla="*/ 56864 h 138207"/>
                <a:gd name="connsiteX49" fmla="*/ 0 w 224694"/>
                <a:gd name="connsiteY49" fmla="*/ 21146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24694" h="138207">
                  <a:moveTo>
                    <a:pt x="0" y="21146"/>
                  </a:moveTo>
                  <a:lnTo>
                    <a:pt x="0" y="21146"/>
                  </a:lnTo>
                  <a:lnTo>
                    <a:pt x="20098" y="9239"/>
                  </a:lnTo>
                  <a:lnTo>
                    <a:pt x="32385" y="15907"/>
                  </a:lnTo>
                  <a:lnTo>
                    <a:pt x="30671" y="2286"/>
                  </a:lnTo>
                  <a:lnTo>
                    <a:pt x="62103" y="7906"/>
                  </a:lnTo>
                  <a:lnTo>
                    <a:pt x="34957" y="19812"/>
                  </a:lnTo>
                  <a:lnTo>
                    <a:pt x="55436" y="19145"/>
                  </a:lnTo>
                  <a:lnTo>
                    <a:pt x="67056" y="31718"/>
                  </a:lnTo>
                  <a:lnTo>
                    <a:pt x="77248" y="10573"/>
                  </a:lnTo>
                  <a:lnTo>
                    <a:pt x="91154" y="18574"/>
                  </a:lnTo>
                  <a:lnTo>
                    <a:pt x="114205" y="46292"/>
                  </a:lnTo>
                  <a:lnTo>
                    <a:pt x="111252" y="0"/>
                  </a:lnTo>
                  <a:lnTo>
                    <a:pt x="146971" y="13240"/>
                  </a:lnTo>
                  <a:lnTo>
                    <a:pt x="137636" y="27813"/>
                  </a:lnTo>
                  <a:lnTo>
                    <a:pt x="151829" y="17240"/>
                  </a:lnTo>
                  <a:lnTo>
                    <a:pt x="163068" y="35719"/>
                  </a:lnTo>
                  <a:lnTo>
                    <a:pt x="181261" y="36385"/>
                  </a:lnTo>
                  <a:lnTo>
                    <a:pt x="182594" y="41720"/>
                  </a:lnTo>
                  <a:lnTo>
                    <a:pt x="213074" y="50292"/>
                  </a:lnTo>
                  <a:lnTo>
                    <a:pt x="224695" y="63532"/>
                  </a:lnTo>
                  <a:lnTo>
                    <a:pt x="200692" y="67913"/>
                  </a:lnTo>
                  <a:lnTo>
                    <a:pt x="206312" y="56674"/>
                  </a:lnTo>
                  <a:lnTo>
                    <a:pt x="178975" y="57531"/>
                  </a:lnTo>
                  <a:lnTo>
                    <a:pt x="164116" y="64199"/>
                  </a:lnTo>
                  <a:lnTo>
                    <a:pt x="166688" y="78105"/>
                  </a:lnTo>
                  <a:lnTo>
                    <a:pt x="153162" y="81343"/>
                  </a:lnTo>
                  <a:lnTo>
                    <a:pt x="150876" y="101917"/>
                  </a:lnTo>
                  <a:lnTo>
                    <a:pt x="140018" y="101917"/>
                  </a:lnTo>
                  <a:lnTo>
                    <a:pt x="121920" y="138208"/>
                  </a:lnTo>
                  <a:lnTo>
                    <a:pt x="113633" y="127349"/>
                  </a:lnTo>
                  <a:lnTo>
                    <a:pt x="98012" y="127825"/>
                  </a:lnTo>
                  <a:lnTo>
                    <a:pt x="111157" y="111538"/>
                  </a:lnTo>
                  <a:lnTo>
                    <a:pt x="88773" y="120872"/>
                  </a:lnTo>
                  <a:lnTo>
                    <a:pt x="74962" y="115157"/>
                  </a:lnTo>
                  <a:lnTo>
                    <a:pt x="68009" y="101251"/>
                  </a:lnTo>
                  <a:lnTo>
                    <a:pt x="96584" y="90106"/>
                  </a:lnTo>
                  <a:lnTo>
                    <a:pt x="62865" y="90964"/>
                  </a:lnTo>
                  <a:lnTo>
                    <a:pt x="57436" y="80105"/>
                  </a:lnTo>
                  <a:lnTo>
                    <a:pt x="85154" y="78105"/>
                  </a:lnTo>
                  <a:lnTo>
                    <a:pt x="100679" y="68771"/>
                  </a:lnTo>
                  <a:lnTo>
                    <a:pt x="131064" y="65532"/>
                  </a:lnTo>
                  <a:lnTo>
                    <a:pt x="116205" y="53626"/>
                  </a:lnTo>
                  <a:lnTo>
                    <a:pt x="94107" y="64199"/>
                  </a:lnTo>
                  <a:lnTo>
                    <a:pt x="93059" y="48292"/>
                  </a:lnTo>
                  <a:lnTo>
                    <a:pt x="80201" y="66866"/>
                  </a:lnTo>
                  <a:lnTo>
                    <a:pt x="45911" y="74104"/>
                  </a:lnTo>
                  <a:lnTo>
                    <a:pt x="49816" y="60865"/>
                  </a:lnTo>
                  <a:lnTo>
                    <a:pt x="24765" y="56864"/>
                  </a:lnTo>
                  <a:lnTo>
                    <a:pt x="0" y="2114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1" name="Freeform: Shape 2821">
              <a:extLst>
                <a:ext uri="{FF2B5EF4-FFF2-40B4-BE49-F238E27FC236}">
                  <a16:creationId xmlns:a16="http://schemas.microsoft.com/office/drawing/2014/main" id="{88349B76-D2C6-0DB2-C8DD-73DD23AAF608}"/>
                </a:ext>
              </a:extLst>
            </p:cNvPr>
            <p:cNvSpPr/>
            <p:nvPr/>
          </p:nvSpPr>
          <p:spPr>
            <a:xfrm>
              <a:off x="2161889" y="2603023"/>
              <a:ext cx="76771" cy="40957"/>
            </a:xfrm>
            <a:custGeom>
              <a:avLst/>
              <a:gdLst>
                <a:gd name="connsiteX0" fmla="*/ 39624 w 76771"/>
                <a:gd name="connsiteY0" fmla="*/ 11144 h 40957"/>
                <a:gd name="connsiteX1" fmla="*/ 39624 w 76771"/>
                <a:gd name="connsiteY1" fmla="*/ 11144 h 40957"/>
                <a:gd name="connsiteX2" fmla="*/ 50863 w 76771"/>
                <a:gd name="connsiteY2" fmla="*/ 16478 h 40957"/>
                <a:gd name="connsiteX3" fmla="*/ 76771 w 76771"/>
                <a:gd name="connsiteY3" fmla="*/ 17145 h 40957"/>
                <a:gd name="connsiteX4" fmla="*/ 52864 w 76771"/>
                <a:gd name="connsiteY4" fmla="*/ 33052 h 40957"/>
                <a:gd name="connsiteX5" fmla="*/ 30671 w 76771"/>
                <a:gd name="connsiteY5" fmla="*/ 40958 h 40957"/>
                <a:gd name="connsiteX6" fmla="*/ 35147 w 76771"/>
                <a:gd name="connsiteY6" fmla="*/ 26765 h 40957"/>
                <a:gd name="connsiteX7" fmla="*/ 0 w 76771"/>
                <a:gd name="connsiteY7" fmla="*/ 28861 h 40957"/>
                <a:gd name="connsiteX8" fmla="*/ 10477 w 76771"/>
                <a:gd name="connsiteY8" fmla="*/ 15716 h 40957"/>
                <a:gd name="connsiteX9" fmla="*/ 1333 w 76771"/>
                <a:gd name="connsiteY9" fmla="*/ 5715 h 40957"/>
                <a:gd name="connsiteX10" fmla="*/ 36957 w 76771"/>
                <a:gd name="connsiteY10" fmla="*/ 0 h 40957"/>
                <a:gd name="connsiteX11" fmla="*/ 39624 w 76771"/>
                <a:gd name="connsiteY11" fmla="*/ 11144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771" h="40957">
                  <a:moveTo>
                    <a:pt x="39624" y="11144"/>
                  </a:moveTo>
                  <a:lnTo>
                    <a:pt x="39624" y="11144"/>
                  </a:lnTo>
                  <a:lnTo>
                    <a:pt x="50863" y="16478"/>
                  </a:lnTo>
                  <a:lnTo>
                    <a:pt x="76771" y="17145"/>
                  </a:lnTo>
                  <a:lnTo>
                    <a:pt x="52864" y="33052"/>
                  </a:lnTo>
                  <a:lnTo>
                    <a:pt x="30671" y="40958"/>
                  </a:lnTo>
                  <a:lnTo>
                    <a:pt x="35147" y="26765"/>
                  </a:lnTo>
                  <a:lnTo>
                    <a:pt x="0" y="28861"/>
                  </a:lnTo>
                  <a:lnTo>
                    <a:pt x="10477" y="15716"/>
                  </a:lnTo>
                  <a:lnTo>
                    <a:pt x="1333" y="5715"/>
                  </a:lnTo>
                  <a:lnTo>
                    <a:pt x="36957" y="0"/>
                  </a:lnTo>
                  <a:lnTo>
                    <a:pt x="39624" y="1114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2" name="Freeform: Shape 2822">
              <a:extLst>
                <a:ext uri="{FF2B5EF4-FFF2-40B4-BE49-F238E27FC236}">
                  <a16:creationId xmlns:a16="http://schemas.microsoft.com/office/drawing/2014/main" id="{1B00ECB7-3EEB-06B5-F5FB-ADCA2F778D4D}"/>
                </a:ext>
              </a:extLst>
            </p:cNvPr>
            <p:cNvSpPr/>
            <p:nvPr/>
          </p:nvSpPr>
          <p:spPr>
            <a:xfrm>
              <a:off x="2182082" y="2900108"/>
              <a:ext cx="19907" cy="12763"/>
            </a:xfrm>
            <a:custGeom>
              <a:avLst/>
              <a:gdLst>
                <a:gd name="connsiteX0" fmla="*/ 0 w 19907"/>
                <a:gd name="connsiteY0" fmla="*/ 9620 h 12763"/>
                <a:gd name="connsiteX1" fmla="*/ 19907 w 19907"/>
                <a:gd name="connsiteY1" fmla="*/ 0 h 12763"/>
                <a:gd name="connsiteX2" fmla="*/ 13526 w 19907"/>
                <a:gd name="connsiteY2" fmla="*/ 12763 h 12763"/>
                <a:gd name="connsiteX3" fmla="*/ 0 w 19907"/>
                <a:gd name="connsiteY3" fmla="*/ 9620 h 12763"/>
              </a:gdLst>
              <a:ahLst/>
              <a:cxnLst>
                <a:cxn ang="0">
                  <a:pos x="connsiteX0" y="connsiteY0"/>
                </a:cxn>
                <a:cxn ang="0">
                  <a:pos x="connsiteX1" y="connsiteY1"/>
                </a:cxn>
                <a:cxn ang="0">
                  <a:pos x="connsiteX2" y="connsiteY2"/>
                </a:cxn>
                <a:cxn ang="0">
                  <a:pos x="connsiteX3" y="connsiteY3"/>
                </a:cxn>
              </a:cxnLst>
              <a:rect l="l" t="t" r="r" b="b"/>
              <a:pathLst>
                <a:path w="19907" h="12763">
                  <a:moveTo>
                    <a:pt x="0" y="9620"/>
                  </a:moveTo>
                  <a:lnTo>
                    <a:pt x="19907" y="0"/>
                  </a:lnTo>
                  <a:lnTo>
                    <a:pt x="13526" y="12763"/>
                  </a:lnTo>
                  <a:lnTo>
                    <a:pt x="0" y="962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3" name="Freeform: Shape 2823">
              <a:extLst>
                <a:ext uri="{FF2B5EF4-FFF2-40B4-BE49-F238E27FC236}">
                  <a16:creationId xmlns:a16="http://schemas.microsoft.com/office/drawing/2014/main" id="{E60FB0DD-C7DA-D826-0F4C-71E1B1B5CEE4}"/>
                </a:ext>
              </a:extLst>
            </p:cNvPr>
            <p:cNvSpPr/>
            <p:nvPr/>
          </p:nvSpPr>
          <p:spPr>
            <a:xfrm>
              <a:off x="2197608" y="2910014"/>
              <a:ext cx="10191" cy="11239"/>
            </a:xfrm>
            <a:custGeom>
              <a:avLst/>
              <a:gdLst>
                <a:gd name="connsiteX0" fmla="*/ 5239 w 10191"/>
                <a:gd name="connsiteY0" fmla="*/ 11239 h 11239"/>
                <a:gd name="connsiteX1" fmla="*/ 5239 w 10191"/>
                <a:gd name="connsiteY1" fmla="*/ 11239 h 11239"/>
                <a:gd name="connsiteX2" fmla="*/ 0 w 10191"/>
                <a:gd name="connsiteY2" fmla="*/ 7811 h 11239"/>
                <a:gd name="connsiteX3" fmla="*/ 4286 w 10191"/>
                <a:gd name="connsiteY3" fmla="*/ 1238 h 11239"/>
                <a:gd name="connsiteX4" fmla="*/ 10192 w 10191"/>
                <a:gd name="connsiteY4" fmla="*/ 0 h 11239"/>
                <a:gd name="connsiteX5" fmla="*/ 5239 w 10191"/>
                <a:gd name="connsiteY5" fmla="*/ 11239 h 1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1" h="11239">
                  <a:moveTo>
                    <a:pt x="5239" y="11239"/>
                  </a:moveTo>
                  <a:lnTo>
                    <a:pt x="5239" y="11239"/>
                  </a:lnTo>
                  <a:lnTo>
                    <a:pt x="0" y="7811"/>
                  </a:lnTo>
                  <a:lnTo>
                    <a:pt x="4286" y="1238"/>
                  </a:lnTo>
                  <a:lnTo>
                    <a:pt x="10192" y="0"/>
                  </a:lnTo>
                  <a:lnTo>
                    <a:pt x="5239" y="11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4" name="Freeform: Shape 2824">
              <a:extLst>
                <a:ext uri="{FF2B5EF4-FFF2-40B4-BE49-F238E27FC236}">
                  <a16:creationId xmlns:a16="http://schemas.microsoft.com/office/drawing/2014/main" id="{1C69823D-B8F6-1D94-8085-33BABE8E9F80}"/>
                </a:ext>
              </a:extLst>
            </p:cNvPr>
            <p:cNvSpPr/>
            <p:nvPr/>
          </p:nvSpPr>
          <p:spPr>
            <a:xfrm>
              <a:off x="2134171" y="2923825"/>
              <a:ext cx="4953" cy="6667"/>
            </a:xfrm>
            <a:custGeom>
              <a:avLst/>
              <a:gdLst>
                <a:gd name="connsiteX0" fmla="*/ 4286 w 4953"/>
                <a:gd name="connsiteY0" fmla="*/ 6667 h 6667"/>
                <a:gd name="connsiteX1" fmla="*/ 0 w 4953"/>
                <a:gd name="connsiteY1" fmla="*/ 0 h 6667"/>
                <a:gd name="connsiteX2" fmla="*/ 4953 w 4953"/>
                <a:gd name="connsiteY2" fmla="*/ 667 h 6667"/>
                <a:gd name="connsiteX3" fmla="*/ 4286 w 4953"/>
                <a:gd name="connsiteY3" fmla="*/ 6667 h 6667"/>
              </a:gdLst>
              <a:ahLst/>
              <a:cxnLst>
                <a:cxn ang="0">
                  <a:pos x="connsiteX0" y="connsiteY0"/>
                </a:cxn>
                <a:cxn ang="0">
                  <a:pos x="connsiteX1" y="connsiteY1"/>
                </a:cxn>
                <a:cxn ang="0">
                  <a:pos x="connsiteX2" y="connsiteY2"/>
                </a:cxn>
                <a:cxn ang="0">
                  <a:pos x="connsiteX3" y="connsiteY3"/>
                </a:cxn>
              </a:cxnLst>
              <a:rect l="l" t="t" r="r" b="b"/>
              <a:pathLst>
                <a:path w="4953" h="6667">
                  <a:moveTo>
                    <a:pt x="4286" y="6667"/>
                  </a:moveTo>
                  <a:lnTo>
                    <a:pt x="0" y="0"/>
                  </a:lnTo>
                  <a:lnTo>
                    <a:pt x="4953" y="667"/>
                  </a:lnTo>
                  <a:lnTo>
                    <a:pt x="4286" y="66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5" name="Freeform: Shape 2825">
              <a:extLst>
                <a:ext uri="{FF2B5EF4-FFF2-40B4-BE49-F238E27FC236}">
                  <a16:creationId xmlns:a16="http://schemas.microsoft.com/office/drawing/2014/main" id="{842F01D0-11AE-5223-2490-BAEC45F74675}"/>
                </a:ext>
              </a:extLst>
            </p:cNvPr>
            <p:cNvSpPr/>
            <p:nvPr/>
          </p:nvSpPr>
          <p:spPr>
            <a:xfrm>
              <a:off x="2115026" y="2931540"/>
              <a:ext cx="19145" cy="7048"/>
            </a:xfrm>
            <a:custGeom>
              <a:avLst/>
              <a:gdLst>
                <a:gd name="connsiteX0" fmla="*/ 7239 w 19145"/>
                <a:gd name="connsiteY0" fmla="*/ 7049 h 7048"/>
                <a:gd name="connsiteX1" fmla="*/ 7239 w 19145"/>
                <a:gd name="connsiteY1" fmla="*/ 7049 h 7048"/>
                <a:gd name="connsiteX2" fmla="*/ 0 w 19145"/>
                <a:gd name="connsiteY2" fmla="*/ 2762 h 7048"/>
                <a:gd name="connsiteX3" fmla="*/ 6953 w 19145"/>
                <a:gd name="connsiteY3" fmla="*/ 0 h 7048"/>
                <a:gd name="connsiteX4" fmla="*/ 19145 w 19145"/>
                <a:gd name="connsiteY4" fmla="*/ 1143 h 7048"/>
                <a:gd name="connsiteX5" fmla="*/ 13525 w 19145"/>
                <a:gd name="connsiteY5" fmla="*/ 5906 h 7048"/>
                <a:gd name="connsiteX6" fmla="*/ 7239 w 19145"/>
                <a:gd name="connsiteY6" fmla="*/ 7049 h 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 h="7048">
                  <a:moveTo>
                    <a:pt x="7239" y="7049"/>
                  </a:moveTo>
                  <a:lnTo>
                    <a:pt x="7239" y="7049"/>
                  </a:lnTo>
                  <a:lnTo>
                    <a:pt x="0" y="2762"/>
                  </a:lnTo>
                  <a:lnTo>
                    <a:pt x="6953" y="0"/>
                  </a:lnTo>
                  <a:lnTo>
                    <a:pt x="19145" y="1143"/>
                  </a:lnTo>
                  <a:lnTo>
                    <a:pt x="13525" y="5906"/>
                  </a:lnTo>
                  <a:lnTo>
                    <a:pt x="7239" y="704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6" name="Freeform: Shape 2826">
              <a:extLst>
                <a:ext uri="{FF2B5EF4-FFF2-40B4-BE49-F238E27FC236}">
                  <a16:creationId xmlns:a16="http://schemas.microsoft.com/office/drawing/2014/main" id="{DCE852BA-CAFB-A022-3342-678812D89EAC}"/>
                </a:ext>
              </a:extLst>
            </p:cNvPr>
            <p:cNvSpPr/>
            <p:nvPr/>
          </p:nvSpPr>
          <p:spPr>
            <a:xfrm>
              <a:off x="2030825" y="2973641"/>
              <a:ext cx="15335" cy="10382"/>
            </a:xfrm>
            <a:custGeom>
              <a:avLst/>
              <a:gdLst>
                <a:gd name="connsiteX0" fmla="*/ 0 w 15335"/>
                <a:gd name="connsiteY0" fmla="*/ 9811 h 10382"/>
                <a:gd name="connsiteX1" fmla="*/ 4286 w 15335"/>
                <a:gd name="connsiteY1" fmla="*/ 0 h 10382"/>
                <a:gd name="connsiteX2" fmla="*/ 15335 w 15335"/>
                <a:gd name="connsiteY2" fmla="*/ 10382 h 10382"/>
                <a:gd name="connsiteX3" fmla="*/ 0 w 15335"/>
                <a:gd name="connsiteY3" fmla="*/ 9811 h 10382"/>
              </a:gdLst>
              <a:ahLst/>
              <a:cxnLst>
                <a:cxn ang="0">
                  <a:pos x="connsiteX0" y="connsiteY0"/>
                </a:cxn>
                <a:cxn ang="0">
                  <a:pos x="connsiteX1" y="connsiteY1"/>
                </a:cxn>
                <a:cxn ang="0">
                  <a:pos x="connsiteX2" y="connsiteY2"/>
                </a:cxn>
                <a:cxn ang="0">
                  <a:pos x="connsiteX3" y="connsiteY3"/>
                </a:cxn>
              </a:cxnLst>
              <a:rect l="l" t="t" r="r" b="b"/>
              <a:pathLst>
                <a:path w="15335" h="10382">
                  <a:moveTo>
                    <a:pt x="0" y="9811"/>
                  </a:moveTo>
                  <a:lnTo>
                    <a:pt x="4286" y="0"/>
                  </a:lnTo>
                  <a:lnTo>
                    <a:pt x="15335" y="10382"/>
                  </a:lnTo>
                  <a:lnTo>
                    <a:pt x="0" y="981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7" name="Freeform: Shape 2827">
              <a:extLst>
                <a:ext uri="{FF2B5EF4-FFF2-40B4-BE49-F238E27FC236}">
                  <a16:creationId xmlns:a16="http://schemas.microsoft.com/office/drawing/2014/main" id="{0708AE9F-70ED-7C9C-3BFF-06A93F76DB9B}"/>
                </a:ext>
              </a:extLst>
            </p:cNvPr>
            <p:cNvSpPr/>
            <p:nvPr/>
          </p:nvSpPr>
          <p:spPr>
            <a:xfrm>
              <a:off x="1906809" y="3129184"/>
              <a:ext cx="17430" cy="9144"/>
            </a:xfrm>
            <a:custGeom>
              <a:avLst/>
              <a:gdLst>
                <a:gd name="connsiteX0" fmla="*/ 17431 w 17430"/>
                <a:gd name="connsiteY0" fmla="*/ 3810 h 9144"/>
                <a:gd name="connsiteX1" fmla="*/ 9715 w 17430"/>
                <a:gd name="connsiteY1" fmla="*/ 8858 h 9144"/>
                <a:gd name="connsiteX2" fmla="*/ 0 w 17430"/>
                <a:gd name="connsiteY2" fmla="*/ 9144 h 9144"/>
                <a:gd name="connsiteX3" fmla="*/ 12382 w 17430"/>
                <a:gd name="connsiteY3" fmla="*/ 0 h 9144"/>
                <a:gd name="connsiteX4" fmla="*/ 17431 w 17430"/>
                <a:gd name="connsiteY4" fmla="*/ 3810 h 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0" h="9144">
                  <a:moveTo>
                    <a:pt x="17431" y="3810"/>
                  </a:moveTo>
                  <a:lnTo>
                    <a:pt x="9715" y="8858"/>
                  </a:lnTo>
                  <a:lnTo>
                    <a:pt x="0" y="9144"/>
                  </a:lnTo>
                  <a:lnTo>
                    <a:pt x="12382" y="0"/>
                  </a:lnTo>
                  <a:lnTo>
                    <a:pt x="17431" y="381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8" name="Freeform: Shape 2828">
              <a:extLst>
                <a:ext uri="{FF2B5EF4-FFF2-40B4-BE49-F238E27FC236}">
                  <a16:creationId xmlns:a16="http://schemas.microsoft.com/office/drawing/2014/main" id="{8C91CA4A-FC06-CE36-03FD-C47D13DFF8A8}"/>
                </a:ext>
              </a:extLst>
            </p:cNvPr>
            <p:cNvSpPr/>
            <p:nvPr/>
          </p:nvSpPr>
          <p:spPr>
            <a:xfrm>
              <a:off x="1859089" y="3168618"/>
              <a:ext cx="13525" cy="15716"/>
            </a:xfrm>
            <a:custGeom>
              <a:avLst/>
              <a:gdLst>
                <a:gd name="connsiteX0" fmla="*/ 13525 w 13525"/>
                <a:gd name="connsiteY0" fmla="*/ 0 h 15716"/>
                <a:gd name="connsiteX1" fmla="*/ 8096 w 13525"/>
                <a:gd name="connsiteY1" fmla="*/ 15716 h 15716"/>
                <a:gd name="connsiteX2" fmla="*/ 0 w 13525"/>
                <a:gd name="connsiteY2" fmla="*/ 10668 h 15716"/>
                <a:gd name="connsiteX3" fmla="*/ 13525 w 13525"/>
                <a:gd name="connsiteY3" fmla="*/ 0 h 15716"/>
              </a:gdLst>
              <a:ahLst/>
              <a:cxnLst>
                <a:cxn ang="0">
                  <a:pos x="connsiteX0" y="connsiteY0"/>
                </a:cxn>
                <a:cxn ang="0">
                  <a:pos x="connsiteX1" y="connsiteY1"/>
                </a:cxn>
                <a:cxn ang="0">
                  <a:pos x="connsiteX2" y="connsiteY2"/>
                </a:cxn>
                <a:cxn ang="0">
                  <a:pos x="connsiteX3" y="connsiteY3"/>
                </a:cxn>
              </a:cxnLst>
              <a:rect l="l" t="t" r="r" b="b"/>
              <a:pathLst>
                <a:path w="13525" h="15716">
                  <a:moveTo>
                    <a:pt x="13525" y="0"/>
                  </a:moveTo>
                  <a:lnTo>
                    <a:pt x="8096" y="15716"/>
                  </a:lnTo>
                  <a:lnTo>
                    <a:pt x="0" y="10668"/>
                  </a:lnTo>
                  <a:lnTo>
                    <a:pt x="1352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39" name="Freeform: Shape 2829">
              <a:extLst>
                <a:ext uri="{FF2B5EF4-FFF2-40B4-BE49-F238E27FC236}">
                  <a16:creationId xmlns:a16="http://schemas.microsoft.com/office/drawing/2014/main" id="{37F930DC-C972-5C92-3B4C-DBC375D6E378}"/>
                </a:ext>
              </a:extLst>
            </p:cNvPr>
            <p:cNvSpPr/>
            <p:nvPr/>
          </p:nvSpPr>
          <p:spPr>
            <a:xfrm>
              <a:off x="2079593" y="2942209"/>
              <a:ext cx="22669" cy="12954"/>
            </a:xfrm>
            <a:custGeom>
              <a:avLst/>
              <a:gdLst>
                <a:gd name="connsiteX0" fmla="*/ 22669 w 22669"/>
                <a:gd name="connsiteY0" fmla="*/ 0 h 12954"/>
                <a:gd name="connsiteX1" fmla="*/ 18383 w 22669"/>
                <a:gd name="connsiteY1" fmla="*/ 12954 h 12954"/>
                <a:gd name="connsiteX2" fmla="*/ 0 w 22669"/>
                <a:gd name="connsiteY2" fmla="*/ 10954 h 12954"/>
                <a:gd name="connsiteX3" fmla="*/ 22669 w 22669"/>
                <a:gd name="connsiteY3" fmla="*/ 0 h 12954"/>
              </a:gdLst>
              <a:ahLst/>
              <a:cxnLst>
                <a:cxn ang="0">
                  <a:pos x="connsiteX0" y="connsiteY0"/>
                </a:cxn>
                <a:cxn ang="0">
                  <a:pos x="connsiteX1" y="connsiteY1"/>
                </a:cxn>
                <a:cxn ang="0">
                  <a:pos x="connsiteX2" y="connsiteY2"/>
                </a:cxn>
                <a:cxn ang="0">
                  <a:pos x="connsiteX3" y="connsiteY3"/>
                </a:cxn>
              </a:cxnLst>
              <a:rect l="l" t="t" r="r" b="b"/>
              <a:pathLst>
                <a:path w="22669" h="12954">
                  <a:moveTo>
                    <a:pt x="22669" y="0"/>
                  </a:moveTo>
                  <a:lnTo>
                    <a:pt x="18383" y="12954"/>
                  </a:lnTo>
                  <a:lnTo>
                    <a:pt x="0" y="10954"/>
                  </a:lnTo>
                  <a:lnTo>
                    <a:pt x="2266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0" name="Freeform: Shape 2830">
              <a:extLst>
                <a:ext uri="{FF2B5EF4-FFF2-40B4-BE49-F238E27FC236}">
                  <a16:creationId xmlns:a16="http://schemas.microsoft.com/office/drawing/2014/main" id="{7F30FD54-40DB-522B-452F-E782C419AD89}"/>
                </a:ext>
              </a:extLst>
            </p:cNvPr>
            <p:cNvSpPr/>
            <p:nvPr/>
          </p:nvSpPr>
          <p:spPr>
            <a:xfrm>
              <a:off x="1810321" y="3433222"/>
              <a:ext cx="76771" cy="77628"/>
            </a:xfrm>
            <a:custGeom>
              <a:avLst/>
              <a:gdLst>
                <a:gd name="connsiteX0" fmla="*/ 73724 w 76771"/>
                <a:gd name="connsiteY0" fmla="*/ 23336 h 77628"/>
                <a:gd name="connsiteX1" fmla="*/ 73914 w 76771"/>
                <a:gd name="connsiteY1" fmla="*/ 19050 h 77628"/>
                <a:gd name="connsiteX2" fmla="*/ 76772 w 76771"/>
                <a:gd name="connsiteY2" fmla="*/ 14383 h 77628"/>
                <a:gd name="connsiteX3" fmla="*/ 76772 w 76771"/>
                <a:gd name="connsiteY3" fmla="*/ 7144 h 77628"/>
                <a:gd name="connsiteX4" fmla="*/ 67723 w 76771"/>
                <a:gd name="connsiteY4" fmla="*/ 0 h 77628"/>
                <a:gd name="connsiteX5" fmla="*/ 48101 w 76771"/>
                <a:gd name="connsiteY5" fmla="*/ 5715 h 77628"/>
                <a:gd name="connsiteX6" fmla="*/ 42481 w 76771"/>
                <a:gd name="connsiteY6" fmla="*/ 13621 h 77628"/>
                <a:gd name="connsiteX7" fmla="*/ 42767 w 76771"/>
                <a:gd name="connsiteY7" fmla="*/ 20098 h 77628"/>
                <a:gd name="connsiteX8" fmla="*/ 45053 w 76771"/>
                <a:gd name="connsiteY8" fmla="*/ 29051 h 77628"/>
                <a:gd name="connsiteX9" fmla="*/ 34576 w 76771"/>
                <a:gd name="connsiteY9" fmla="*/ 34100 h 77628"/>
                <a:gd name="connsiteX10" fmla="*/ 31909 w 76771"/>
                <a:gd name="connsiteY10" fmla="*/ 22765 h 77628"/>
                <a:gd name="connsiteX11" fmla="*/ 37338 w 76771"/>
                <a:gd name="connsiteY11" fmla="*/ 12002 h 77628"/>
                <a:gd name="connsiteX12" fmla="*/ 27623 w 76771"/>
                <a:gd name="connsiteY12" fmla="*/ 15050 h 77628"/>
                <a:gd name="connsiteX13" fmla="*/ 17907 w 76771"/>
                <a:gd name="connsiteY13" fmla="*/ 39053 h 77628"/>
                <a:gd name="connsiteX14" fmla="*/ 5334 w 76771"/>
                <a:gd name="connsiteY14" fmla="*/ 50959 h 77628"/>
                <a:gd name="connsiteX15" fmla="*/ 15335 w 76771"/>
                <a:gd name="connsiteY15" fmla="*/ 49149 h 77628"/>
                <a:gd name="connsiteX16" fmla="*/ 17907 w 76771"/>
                <a:gd name="connsiteY16" fmla="*/ 53721 h 77628"/>
                <a:gd name="connsiteX17" fmla="*/ 2477 w 76771"/>
                <a:gd name="connsiteY17" fmla="*/ 56674 h 77628"/>
                <a:gd name="connsiteX18" fmla="*/ 0 w 76771"/>
                <a:gd name="connsiteY18" fmla="*/ 57912 h 77628"/>
                <a:gd name="connsiteX19" fmla="*/ 0 w 76771"/>
                <a:gd name="connsiteY19" fmla="*/ 58007 h 77628"/>
                <a:gd name="connsiteX20" fmla="*/ 2667 w 76771"/>
                <a:gd name="connsiteY20" fmla="*/ 63151 h 77628"/>
                <a:gd name="connsiteX21" fmla="*/ 7715 w 76771"/>
                <a:gd name="connsiteY21" fmla="*/ 61532 h 77628"/>
                <a:gd name="connsiteX22" fmla="*/ 10573 w 76771"/>
                <a:gd name="connsiteY22" fmla="*/ 63913 h 77628"/>
                <a:gd name="connsiteX23" fmla="*/ 21431 w 76771"/>
                <a:gd name="connsiteY23" fmla="*/ 60198 h 77628"/>
                <a:gd name="connsiteX24" fmla="*/ 25908 w 76771"/>
                <a:gd name="connsiteY24" fmla="*/ 55055 h 77628"/>
                <a:gd name="connsiteX25" fmla="*/ 29337 w 76771"/>
                <a:gd name="connsiteY25" fmla="*/ 58293 h 77628"/>
                <a:gd name="connsiteX26" fmla="*/ 34004 w 76771"/>
                <a:gd name="connsiteY26" fmla="*/ 55626 h 77628"/>
                <a:gd name="connsiteX27" fmla="*/ 35719 w 76771"/>
                <a:gd name="connsiteY27" fmla="*/ 61246 h 77628"/>
                <a:gd name="connsiteX28" fmla="*/ 41529 w 76771"/>
                <a:gd name="connsiteY28" fmla="*/ 61246 h 77628"/>
                <a:gd name="connsiteX29" fmla="*/ 47911 w 76771"/>
                <a:gd name="connsiteY29" fmla="*/ 65532 h 77628"/>
                <a:gd name="connsiteX30" fmla="*/ 45625 w 76771"/>
                <a:gd name="connsiteY30" fmla="*/ 76867 h 77628"/>
                <a:gd name="connsiteX31" fmla="*/ 52959 w 76771"/>
                <a:gd name="connsiteY31" fmla="*/ 77629 h 77628"/>
                <a:gd name="connsiteX32" fmla="*/ 55531 w 76771"/>
                <a:gd name="connsiteY32" fmla="*/ 71723 h 77628"/>
                <a:gd name="connsiteX33" fmla="*/ 52578 w 76771"/>
                <a:gd name="connsiteY33" fmla="*/ 67913 h 77628"/>
                <a:gd name="connsiteX34" fmla="*/ 58579 w 76771"/>
                <a:gd name="connsiteY34" fmla="*/ 57150 h 77628"/>
                <a:gd name="connsiteX35" fmla="*/ 51054 w 76771"/>
                <a:gd name="connsiteY35" fmla="*/ 47816 h 77628"/>
                <a:gd name="connsiteX36" fmla="*/ 54959 w 76771"/>
                <a:gd name="connsiteY36" fmla="*/ 44006 h 77628"/>
                <a:gd name="connsiteX37" fmla="*/ 61531 w 76771"/>
                <a:gd name="connsiteY37" fmla="*/ 46387 h 77628"/>
                <a:gd name="connsiteX38" fmla="*/ 69056 w 76771"/>
                <a:gd name="connsiteY38" fmla="*/ 44006 h 77628"/>
                <a:gd name="connsiteX39" fmla="*/ 66675 w 76771"/>
                <a:gd name="connsiteY39" fmla="*/ 39148 h 77628"/>
                <a:gd name="connsiteX40" fmla="*/ 74295 w 76771"/>
                <a:gd name="connsiteY40" fmla="*/ 34290 h 77628"/>
                <a:gd name="connsiteX41" fmla="*/ 74486 w 76771"/>
                <a:gd name="connsiteY41" fmla="*/ 31052 h 77628"/>
                <a:gd name="connsiteX42" fmla="*/ 65723 w 76771"/>
                <a:gd name="connsiteY42" fmla="*/ 28194 h 77628"/>
                <a:gd name="connsiteX43" fmla="*/ 66866 w 76771"/>
                <a:gd name="connsiteY43" fmla="*/ 22479 h 77628"/>
                <a:gd name="connsiteX44" fmla="*/ 73724 w 76771"/>
                <a:gd name="connsiteY44" fmla="*/ 23336 h 7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6771" h="77628">
                  <a:moveTo>
                    <a:pt x="73724" y="23336"/>
                  </a:moveTo>
                  <a:lnTo>
                    <a:pt x="73914" y="19050"/>
                  </a:lnTo>
                  <a:lnTo>
                    <a:pt x="76772" y="14383"/>
                  </a:lnTo>
                  <a:lnTo>
                    <a:pt x="76772" y="7144"/>
                  </a:lnTo>
                  <a:lnTo>
                    <a:pt x="67723" y="0"/>
                  </a:lnTo>
                  <a:lnTo>
                    <a:pt x="48101" y="5715"/>
                  </a:lnTo>
                  <a:lnTo>
                    <a:pt x="42481" y="13621"/>
                  </a:lnTo>
                  <a:lnTo>
                    <a:pt x="42767" y="20098"/>
                  </a:lnTo>
                  <a:lnTo>
                    <a:pt x="45053" y="29051"/>
                  </a:lnTo>
                  <a:lnTo>
                    <a:pt x="34576" y="34100"/>
                  </a:lnTo>
                  <a:lnTo>
                    <a:pt x="31909" y="22765"/>
                  </a:lnTo>
                  <a:lnTo>
                    <a:pt x="37338" y="12002"/>
                  </a:lnTo>
                  <a:lnTo>
                    <a:pt x="27623" y="15050"/>
                  </a:lnTo>
                  <a:lnTo>
                    <a:pt x="17907" y="39053"/>
                  </a:lnTo>
                  <a:lnTo>
                    <a:pt x="5334" y="50959"/>
                  </a:lnTo>
                  <a:lnTo>
                    <a:pt x="15335" y="49149"/>
                  </a:lnTo>
                  <a:lnTo>
                    <a:pt x="17907" y="53721"/>
                  </a:lnTo>
                  <a:lnTo>
                    <a:pt x="2477" y="56674"/>
                  </a:lnTo>
                  <a:lnTo>
                    <a:pt x="0" y="57912"/>
                  </a:lnTo>
                  <a:lnTo>
                    <a:pt x="0" y="58007"/>
                  </a:lnTo>
                  <a:lnTo>
                    <a:pt x="2667" y="63151"/>
                  </a:lnTo>
                  <a:lnTo>
                    <a:pt x="7715" y="61532"/>
                  </a:lnTo>
                  <a:lnTo>
                    <a:pt x="10573" y="63913"/>
                  </a:lnTo>
                  <a:lnTo>
                    <a:pt x="21431" y="60198"/>
                  </a:lnTo>
                  <a:lnTo>
                    <a:pt x="25908" y="55055"/>
                  </a:lnTo>
                  <a:lnTo>
                    <a:pt x="29337" y="58293"/>
                  </a:lnTo>
                  <a:lnTo>
                    <a:pt x="34004" y="55626"/>
                  </a:lnTo>
                  <a:lnTo>
                    <a:pt x="35719" y="61246"/>
                  </a:lnTo>
                  <a:lnTo>
                    <a:pt x="41529" y="61246"/>
                  </a:lnTo>
                  <a:lnTo>
                    <a:pt x="47911" y="65532"/>
                  </a:lnTo>
                  <a:lnTo>
                    <a:pt x="45625" y="76867"/>
                  </a:lnTo>
                  <a:lnTo>
                    <a:pt x="52959" y="77629"/>
                  </a:lnTo>
                  <a:lnTo>
                    <a:pt x="55531" y="71723"/>
                  </a:lnTo>
                  <a:lnTo>
                    <a:pt x="52578" y="67913"/>
                  </a:lnTo>
                  <a:lnTo>
                    <a:pt x="58579" y="57150"/>
                  </a:lnTo>
                  <a:lnTo>
                    <a:pt x="51054" y="47816"/>
                  </a:lnTo>
                  <a:lnTo>
                    <a:pt x="54959" y="44006"/>
                  </a:lnTo>
                  <a:lnTo>
                    <a:pt x="61531" y="46387"/>
                  </a:lnTo>
                  <a:lnTo>
                    <a:pt x="69056" y="44006"/>
                  </a:lnTo>
                  <a:lnTo>
                    <a:pt x="66675" y="39148"/>
                  </a:lnTo>
                  <a:lnTo>
                    <a:pt x="74295" y="34290"/>
                  </a:lnTo>
                  <a:lnTo>
                    <a:pt x="74486" y="31052"/>
                  </a:lnTo>
                  <a:lnTo>
                    <a:pt x="65723" y="28194"/>
                  </a:lnTo>
                  <a:lnTo>
                    <a:pt x="66866" y="22479"/>
                  </a:lnTo>
                  <a:lnTo>
                    <a:pt x="73724" y="2333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1" name="Freeform: Shape 2831">
              <a:extLst>
                <a:ext uri="{FF2B5EF4-FFF2-40B4-BE49-F238E27FC236}">
                  <a16:creationId xmlns:a16="http://schemas.microsoft.com/office/drawing/2014/main" id="{34E9D3DE-7CD5-9DE6-B273-B52E70057C34}"/>
                </a:ext>
              </a:extLst>
            </p:cNvPr>
            <p:cNvSpPr/>
            <p:nvPr/>
          </p:nvSpPr>
          <p:spPr>
            <a:xfrm>
              <a:off x="2112073" y="3686397"/>
              <a:ext cx="29432" cy="42767"/>
            </a:xfrm>
            <a:custGeom>
              <a:avLst/>
              <a:gdLst>
                <a:gd name="connsiteX0" fmla="*/ 15431 w 29432"/>
                <a:gd name="connsiteY0" fmla="*/ 31813 h 42767"/>
                <a:gd name="connsiteX1" fmla="*/ 21336 w 29432"/>
                <a:gd name="connsiteY1" fmla="*/ 24193 h 42767"/>
                <a:gd name="connsiteX2" fmla="*/ 24479 w 29432"/>
                <a:gd name="connsiteY2" fmla="*/ 28956 h 42767"/>
                <a:gd name="connsiteX3" fmla="*/ 29337 w 29432"/>
                <a:gd name="connsiteY3" fmla="*/ 25146 h 42767"/>
                <a:gd name="connsiteX4" fmla="*/ 29432 w 29432"/>
                <a:gd name="connsiteY4" fmla="*/ 24955 h 42767"/>
                <a:gd name="connsiteX5" fmla="*/ 27051 w 29432"/>
                <a:gd name="connsiteY5" fmla="*/ 18479 h 42767"/>
                <a:gd name="connsiteX6" fmla="*/ 19812 w 29432"/>
                <a:gd name="connsiteY6" fmla="*/ 12382 h 42767"/>
                <a:gd name="connsiteX7" fmla="*/ 15145 w 29432"/>
                <a:gd name="connsiteY7" fmla="*/ 0 h 42767"/>
                <a:gd name="connsiteX8" fmla="*/ 8763 w 29432"/>
                <a:gd name="connsiteY8" fmla="*/ 1429 h 42767"/>
                <a:gd name="connsiteX9" fmla="*/ 10858 w 29432"/>
                <a:gd name="connsiteY9" fmla="*/ 8382 h 42767"/>
                <a:gd name="connsiteX10" fmla="*/ 3715 w 29432"/>
                <a:gd name="connsiteY10" fmla="*/ 7144 h 42767"/>
                <a:gd name="connsiteX11" fmla="*/ 0 w 29432"/>
                <a:gd name="connsiteY11" fmla="*/ 13811 h 42767"/>
                <a:gd name="connsiteX12" fmla="*/ 2762 w 29432"/>
                <a:gd name="connsiteY12" fmla="*/ 18574 h 42767"/>
                <a:gd name="connsiteX13" fmla="*/ 0 w 29432"/>
                <a:gd name="connsiteY13" fmla="*/ 23146 h 42767"/>
                <a:gd name="connsiteX14" fmla="*/ 1810 w 29432"/>
                <a:gd name="connsiteY14" fmla="*/ 27241 h 42767"/>
                <a:gd name="connsiteX15" fmla="*/ 1810 w 29432"/>
                <a:gd name="connsiteY15" fmla="*/ 27432 h 42767"/>
                <a:gd name="connsiteX16" fmla="*/ 2286 w 29432"/>
                <a:gd name="connsiteY16" fmla="*/ 27337 h 42767"/>
                <a:gd name="connsiteX17" fmla="*/ 15716 w 29432"/>
                <a:gd name="connsiteY17" fmla="*/ 42767 h 42767"/>
                <a:gd name="connsiteX18" fmla="*/ 16954 w 29432"/>
                <a:gd name="connsiteY18" fmla="*/ 35338 h 42767"/>
                <a:gd name="connsiteX19" fmla="*/ 15431 w 29432"/>
                <a:gd name="connsiteY19" fmla="*/ 31813 h 4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32" h="42767">
                  <a:moveTo>
                    <a:pt x="15431" y="31813"/>
                  </a:moveTo>
                  <a:lnTo>
                    <a:pt x="21336" y="24193"/>
                  </a:lnTo>
                  <a:lnTo>
                    <a:pt x="24479" y="28956"/>
                  </a:lnTo>
                  <a:lnTo>
                    <a:pt x="29337" y="25146"/>
                  </a:lnTo>
                  <a:lnTo>
                    <a:pt x="29432" y="24955"/>
                  </a:lnTo>
                  <a:lnTo>
                    <a:pt x="27051" y="18479"/>
                  </a:lnTo>
                  <a:lnTo>
                    <a:pt x="19812" y="12382"/>
                  </a:lnTo>
                  <a:lnTo>
                    <a:pt x="15145" y="0"/>
                  </a:lnTo>
                  <a:lnTo>
                    <a:pt x="8763" y="1429"/>
                  </a:lnTo>
                  <a:lnTo>
                    <a:pt x="10858" y="8382"/>
                  </a:lnTo>
                  <a:lnTo>
                    <a:pt x="3715" y="7144"/>
                  </a:lnTo>
                  <a:lnTo>
                    <a:pt x="0" y="13811"/>
                  </a:lnTo>
                  <a:lnTo>
                    <a:pt x="2762" y="18574"/>
                  </a:lnTo>
                  <a:lnTo>
                    <a:pt x="0" y="23146"/>
                  </a:lnTo>
                  <a:lnTo>
                    <a:pt x="1810" y="27241"/>
                  </a:lnTo>
                  <a:lnTo>
                    <a:pt x="1810" y="27432"/>
                  </a:lnTo>
                  <a:lnTo>
                    <a:pt x="2286" y="27337"/>
                  </a:lnTo>
                  <a:lnTo>
                    <a:pt x="15716" y="42767"/>
                  </a:lnTo>
                  <a:lnTo>
                    <a:pt x="16954" y="35338"/>
                  </a:lnTo>
                  <a:lnTo>
                    <a:pt x="15431" y="3181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2" name="Freeform: Shape 2832">
              <a:extLst>
                <a:ext uri="{FF2B5EF4-FFF2-40B4-BE49-F238E27FC236}">
                  <a16:creationId xmlns:a16="http://schemas.microsoft.com/office/drawing/2014/main" id="{DF09020A-BE97-82F1-BA74-62716E65FABC}"/>
                </a:ext>
              </a:extLst>
            </p:cNvPr>
            <p:cNvSpPr/>
            <p:nvPr/>
          </p:nvSpPr>
          <p:spPr>
            <a:xfrm>
              <a:off x="2270569" y="3566953"/>
              <a:ext cx="70770" cy="75533"/>
            </a:xfrm>
            <a:custGeom>
              <a:avLst/>
              <a:gdLst>
                <a:gd name="connsiteX0" fmla="*/ 18955 w 70770"/>
                <a:gd name="connsiteY0" fmla="*/ 26289 h 75533"/>
                <a:gd name="connsiteX1" fmla="*/ 29432 w 70770"/>
                <a:gd name="connsiteY1" fmla="*/ 35814 h 75533"/>
                <a:gd name="connsiteX2" fmla="*/ 33623 w 70770"/>
                <a:gd name="connsiteY2" fmla="*/ 48768 h 75533"/>
                <a:gd name="connsiteX3" fmla="*/ 29051 w 70770"/>
                <a:gd name="connsiteY3" fmla="*/ 59722 h 75533"/>
                <a:gd name="connsiteX4" fmla="*/ 31337 w 70770"/>
                <a:gd name="connsiteY4" fmla="*/ 66865 h 75533"/>
                <a:gd name="connsiteX5" fmla="*/ 29813 w 70770"/>
                <a:gd name="connsiteY5" fmla="*/ 72104 h 75533"/>
                <a:gd name="connsiteX6" fmla="*/ 34766 w 70770"/>
                <a:gd name="connsiteY6" fmla="*/ 75533 h 75533"/>
                <a:gd name="connsiteX7" fmla="*/ 38291 w 70770"/>
                <a:gd name="connsiteY7" fmla="*/ 68294 h 75533"/>
                <a:gd name="connsiteX8" fmla="*/ 43339 w 70770"/>
                <a:gd name="connsiteY8" fmla="*/ 64961 h 75533"/>
                <a:gd name="connsiteX9" fmla="*/ 44482 w 70770"/>
                <a:gd name="connsiteY9" fmla="*/ 61151 h 75533"/>
                <a:gd name="connsiteX10" fmla="*/ 48006 w 70770"/>
                <a:gd name="connsiteY10" fmla="*/ 57340 h 75533"/>
                <a:gd name="connsiteX11" fmla="*/ 45244 w 70770"/>
                <a:gd name="connsiteY11" fmla="*/ 49721 h 75533"/>
                <a:gd name="connsiteX12" fmla="*/ 51054 w 70770"/>
                <a:gd name="connsiteY12" fmla="*/ 47339 h 75533"/>
                <a:gd name="connsiteX13" fmla="*/ 53816 w 70770"/>
                <a:gd name="connsiteY13" fmla="*/ 52578 h 75533"/>
                <a:gd name="connsiteX14" fmla="*/ 58865 w 70770"/>
                <a:gd name="connsiteY14" fmla="*/ 48292 h 75533"/>
                <a:gd name="connsiteX15" fmla="*/ 63818 w 70770"/>
                <a:gd name="connsiteY15" fmla="*/ 53530 h 75533"/>
                <a:gd name="connsiteX16" fmla="*/ 70771 w 70770"/>
                <a:gd name="connsiteY16" fmla="*/ 50673 h 75533"/>
                <a:gd name="connsiteX17" fmla="*/ 67723 w 70770"/>
                <a:gd name="connsiteY17" fmla="*/ 46387 h 75533"/>
                <a:gd name="connsiteX18" fmla="*/ 67723 w 70770"/>
                <a:gd name="connsiteY18" fmla="*/ 39624 h 75533"/>
                <a:gd name="connsiteX19" fmla="*/ 61151 w 70770"/>
                <a:gd name="connsiteY19" fmla="*/ 36767 h 75533"/>
                <a:gd name="connsiteX20" fmla="*/ 60770 w 70770"/>
                <a:gd name="connsiteY20" fmla="*/ 26289 h 75533"/>
                <a:gd name="connsiteX21" fmla="*/ 55340 w 70770"/>
                <a:gd name="connsiteY21" fmla="*/ 28194 h 75533"/>
                <a:gd name="connsiteX22" fmla="*/ 50673 w 70770"/>
                <a:gd name="connsiteY22" fmla="*/ 24384 h 75533"/>
                <a:gd name="connsiteX23" fmla="*/ 53816 w 70770"/>
                <a:gd name="connsiteY23" fmla="*/ 16288 h 75533"/>
                <a:gd name="connsiteX24" fmla="*/ 51816 w 70770"/>
                <a:gd name="connsiteY24" fmla="*/ 9144 h 75533"/>
                <a:gd name="connsiteX25" fmla="*/ 46387 w 70770"/>
                <a:gd name="connsiteY25" fmla="*/ 12859 h 75533"/>
                <a:gd name="connsiteX26" fmla="*/ 41815 w 70770"/>
                <a:gd name="connsiteY26" fmla="*/ 5715 h 75533"/>
                <a:gd name="connsiteX27" fmla="*/ 34481 w 70770"/>
                <a:gd name="connsiteY27" fmla="*/ 8572 h 75533"/>
                <a:gd name="connsiteX28" fmla="*/ 22860 w 70770"/>
                <a:gd name="connsiteY28" fmla="*/ 0 h 75533"/>
                <a:gd name="connsiteX29" fmla="*/ 3905 w 70770"/>
                <a:gd name="connsiteY29" fmla="*/ 1429 h 75533"/>
                <a:gd name="connsiteX30" fmla="*/ 0 w 70770"/>
                <a:gd name="connsiteY30" fmla="*/ 6667 h 75533"/>
                <a:gd name="connsiteX31" fmla="*/ 0 w 70770"/>
                <a:gd name="connsiteY31" fmla="*/ 7049 h 75533"/>
                <a:gd name="connsiteX32" fmla="*/ 7715 w 70770"/>
                <a:gd name="connsiteY32" fmla="*/ 7620 h 75533"/>
                <a:gd name="connsiteX33" fmla="*/ 18955 w 70770"/>
                <a:gd name="connsiteY33" fmla="*/ 26289 h 7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0770" h="75533">
                  <a:moveTo>
                    <a:pt x="18955" y="26289"/>
                  </a:moveTo>
                  <a:lnTo>
                    <a:pt x="29432" y="35814"/>
                  </a:lnTo>
                  <a:lnTo>
                    <a:pt x="33623" y="48768"/>
                  </a:lnTo>
                  <a:lnTo>
                    <a:pt x="29051" y="59722"/>
                  </a:lnTo>
                  <a:lnTo>
                    <a:pt x="31337" y="66865"/>
                  </a:lnTo>
                  <a:lnTo>
                    <a:pt x="29813" y="72104"/>
                  </a:lnTo>
                  <a:lnTo>
                    <a:pt x="34766" y="75533"/>
                  </a:lnTo>
                  <a:lnTo>
                    <a:pt x="38291" y="68294"/>
                  </a:lnTo>
                  <a:lnTo>
                    <a:pt x="43339" y="64961"/>
                  </a:lnTo>
                  <a:lnTo>
                    <a:pt x="44482" y="61151"/>
                  </a:lnTo>
                  <a:lnTo>
                    <a:pt x="48006" y="57340"/>
                  </a:lnTo>
                  <a:lnTo>
                    <a:pt x="45244" y="49721"/>
                  </a:lnTo>
                  <a:lnTo>
                    <a:pt x="51054" y="47339"/>
                  </a:lnTo>
                  <a:lnTo>
                    <a:pt x="53816" y="52578"/>
                  </a:lnTo>
                  <a:lnTo>
                    <a:pt x="58865" y="48292"/>
                  </a:lnTo>
                  <a:lnTo>
                    <a:pt x="63818" y="53530"/>
                  </a:lnTo>
                  <a:lnTo>
                    <a:pt x="70771" y="50673"/>
                  </a:lnTo>
                  <a:lnTo>
                    <a:pt x="67723" y="46387"/>
                  </a:lnTo>
                  <a:lnTo>
                    <a:pt x="67723" y="39624"/>
                  </a:lnTo>
                  <a:lnTo>
                    <a:pt x="61151" y="36767"/>
                  </a:lnTo>
                  <a:lnTo>
                    <a:pt x="60770" y="26289"/>
                  </a:lnTo>
                  <a:lnTo>
                    <a:pt x="55340" y="28194"/>
                  </a:lnTo>
                  <a:lnTo>
                    <a:pt x="50673" y="24384"/>
                  </a:lnTo>
                  <a:lnTo>
                    <a:pt x="53816" y="16288"/>
                  </a:lnTo>
                  <a:lnTo>
                    <a:pt x="51816" y="9144"/>
                  </a:lnTo>
                  <a:lnTo>
                    <a:pt x="46387" y="12859"/>
                  </a:lnTo>
                  <a:lnTo>
                    <a:pt x="41815" y="5715"/>
                  </a:lnTo>
                  <a:lnTo>
                    <a:pt x="34481" y="8572"/>
                  </a:lnTo>
                  <a:lnTo>
                    <a:pt x="22860" y="0"/>
                  </a:lnTo>
                  <a:lnTo>
                    <a:pt x="3905" y="1429"/>
                  </a:lnTo>
                  <a:lnTo>
                    <a:pt x="0" y="6667"/>
                  </a:lnTo>
                  <a:lnTo>
                    <a:pt x="0" y="7049"/>
                  </a:lnTo>
                  <a:lnTo>
                    <a:pt x="7715" y="7620"/>
                  </a:lnTo>
                  <a:lnTo>
                    <a:pt x="18955" y="2628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3" name="Freeform: Shape 2833">
              <a:extLst>
                <a:ext uri="{FF2B5EF4-FFF2-40B4-BE49-F238E27FC236}">
                  <a16:creationId xmlns:a16="http://schemas.microsoft.com/office/drawing/2014/main" id="{DA62C579-52A2-A3AD-F1F7-11D1857B963F}"/>
                </a:ext>
              </a:extLst>
            </p:cNvPr>
            <p:cNvSpPr/>
            <p:nvPr/>
          </p:nvSpPr>
          <p:spPr>
            <a:xfrm>
              <a:off x="2018823" y="3862514"/>
              <a:ext cx="14097" cy="9906"/>
            </a:xfrm>
            <a:custGeom>
              <a:avLst/>
              <a:gdLst>
                <a:gd name="connsiteX0" fmla="*/ 0 w 14097"/>
                <a:gd name="connsiteY0" fmla="*/ 0 h 9906"/>
                <a:gd name="connsiteX1" fmla="*/ 14097 w 14097"/>
                <a:gd name="connsiteY1" fmla="*/ 4953 h 9906"/>
                <a:gd name="connsiteX2" fmla="*/ 7715 w 14097"/>
                <a:gd name="connsiteY2" fmla="*/ 9906 h 9906"/>
                <a:gd name="connsiteX3" fmla="*/ 0 w 14097"/>
                <a:gd name="connsiteY3" fmla="*/ 0 h 9906"/>
              </a:gdLst>
              <a:ahLst/>
              <a:cxnLst>
                <a:cxn ang="0">
                  <a:pos x="connsiteX0" y="connsiteY0"/>
                </a:cxn>
                <a:cxn ang="0">
                  <a:pos x="connsiteX1" y="connsiteY1"/>
                </a:cxn>
                <a:cxn ang="0">
                  <a:pos x="connsiteX2" y="connsiteY2"/>
                </a:cxn>
                <a:cxn ang="0">
                  <a:pos x="connsiteX3" y="connsiteY3"/>
                </a:cxn>
              </a:cxnLst>
              <a:rect l="l" t="t" r="r" b="b"/>
              <a:pathLst>
                <a:path w="14097" h="9906">
                  <a:moveTo>
                    <a:pt x="0" y="0"/>
                  </a:moveTo>
                  <a:lnTo>
                    <a:pt x="14097" y="4953"/>
                  </a:lnTo>
                  <a:lnTo>
                    <a:pt x="7715" y="9906"/>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4" name="Freeform: Shape 2834">
              <a:extLst>
                <a:ext uri="{FF2B5EF4-FFF2-40B4-BE49-F238E27FC236}">
                  <a16:creationId xmlns:a16="http://schemas.microsoft.com/office/drawing/2014/main" id="{10C99DA5-57B5-0413-3BAC-5694493EA719}"/>
                </a:ext>
              </a:extLst>
            </p:cNvPr>
            <p:cNvSpPr/>
            <p:nvPr/>
          </p:nvSpPr>
          <p:spPr>
            <a:xfrm>
              <a:off x="2149983" y="3716305"/>
              <a:ext cx="51054" cy="37433"/>
            </a:xfrm>
            <a:custGeom>
              <a:avLst/>
              <a:gdLst>
                <a:gd name="connsiteX0" fmla="*/ 51054 w 51054"/>
                <a:gd name="connsiteY0" fmla="*/ 15240 h 37433"/>
                <a:gd name="connsiteX1" fmla="*/ 46387 w 51054"/>
                <a:gd name="connsiteY1" fmla="*/ 7334 h 37433"/>
                <a:gd name="connsiteX2" fmla="*/ 41243 w 51054"/>
                <a:gd name="connsiteY2" fmla="*/ 7049 h 37433"/>
                <a:gd name="connsiteX3" fmla="*/ 36195 w 51054"/>
                <a:gd name="connsiteY3" fmla="*/ 0 h 37433"/>
                <a:gd name="connsiteX4" fmla="*/ 26003 w 51054"/>
                <a:gd name="connsiteY4" fmla="*/ 3810 h 37433"/>
                <a:gd name="connsiteX5" fmla="*/ 19621 w 51054"/>
                <a:gd name="connsiteY5" fmla="*/ 1619 h 37433"/>
                <a:gd name="connsiteX6" fmla="*/ 16478 w 51054"/>
                <a:gd name="connsiteY6" fmla="*/ 7049 h 37433"/>
                <a:gd name="connsiteX7" fmla="*/ 12859 w 51054"/>
                <a:gd name="connsiteY7" fmla="*/ 4763 h 37433"/>
                <a:gd name="connsiteX8" fmla="*/ 5810 w 51054"/>
                <a:gd name="connsiteY8" fmla="*/ 6477 h 37433"/>
                <a:gd name="connsiteX9" fmla="*/ 5810 w 51054"/>
                <a:gd name="connsiteY9" fmla="*/ 6668 h 37433"/>
                <a:gd name="connsiteX10" fmla="*/ 6382 w 51054"/>
                <a:gd name="connsiteY10" fmla="*/ 15240 h 37433"/>
                <a:gd name="connsiteX11" fmla="*/ 1238 w 51054"/>
                <a:gd name="connsiteY11" fmla="*/ 13049 h 37433"/>
                <a:gd name="connsiteX12" fmla="*/ 0 w 51054"/>
                <a:gd name="connsiteY12" fmla="*/ 19717 h 37433"/>
                <a:gd name="connsiteX13" fmla="*/ 2857 w 51054"/>
                <a:gd name="connsiteY13" fmla="*/ 23241 h 37433"/>
                <a:gd name="connsiteX14" fmla="*/ 762 w 51054"/>
                <a:gd name="connsiteY14" fmla="*/ 28004 h 37433"/>
                <a:gd name="connsiteX15" fmla="*/ 4381 w 51054"/>
                <a:gd name="connsiteY15" fmla="*/ 35052 h 37433"/>
                <a:gd name="connsiteX16" fmla="*/ 7429 w 51054"/>
                <a:gd name="connsiteY16" fmla="*/ 32766 h 37433"/>
                <a:gd name="connsiteX17" fmla="*/ 10763 w 51054"/>
                <a:gd name="connsiteY17" fmla="*/ 37433 h 37433"/>
                <a:gd name="connsiteX18" fmla="*/ 25813 w 51054"/>
                <a:gd name="connsiteY18" fmla="*/ 35624 h 37433"/>
                <a:gd name="connsiteX19" fmla="*/ 30956 w 51054"/>
                <a:gd name="connsiteY19" fmla="*/ 28956 h 37433"/>
                <a:gd name="connsiteX20" fmla="*/ 43815 w 51054"/>
                <a:gd name="connsiteY20" fmla="*/ 30861 h 37433"/>
                <a:gd name="connsiteX21" fmla="*/ 45625 w 51054"/>
                <a:gd name="connsiteY21" fmla="*/ 25432 h 37433"/>
                <a:gd name="connsiteX22" fmla="*/ 49054 w 51054"/>
                <a:gd name="connsiteY22" fmla="*/ 26003 h 37433"/>
                <a:gd name="connsiteX23" fmla="*/ 48958 w 51054"/>
                <a:gd name="connsiteY23" fmla="*/ 25813 h 37433"/>
                <a:gd name="connsiteX24" fmla="*/ 51054 w 51054"/>
                <a:gd name="connsiteY24" fmla="*/ 15240 h 3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054" h="37433">
                  <a:moveTo>
                    <a:pt x="51054" y="15240"/>
                  </a:moveTo>
                  <a:lnTo>
                    <a:pt x="46387" y="7334"/>
                  </a:lnTo>
                  <a:lnTo>
                    <a:pt x="41243" y="7049"/>
                  </a:lnTo>
                  <a:lnTo>
                    <a:pt x="36195" y="0"/>
                  </a:lnTo>
                  <a:lnTo>
                    <a:pt x="26003" y="3810"/>
                  </a:lnTo>
                  <a:lnTo>
                    <a:pt x="19621" y="1619"/>
                  </a:lnTo>
                  <a:lnTo>
                    <a:pt x="16478" y="7049"/>
                  </a:lnTo>
                  <a:lnTo>
                    <a:pt x="12859" y="4763"/>
                  </a:lnTo>
                  <a:lnTo>
                    <a:pt x="5810" y="6477"/>
                  </a:lnTo>
                  <a:lnTo>
                    <a:pt x="5810" y="6668"/>
                  </a:lnTo>
                  <a:lnTo>
                    <a:pt x="6382" y="15240"/>
                  </a:lnTo>
                  <a:lnTo>
                    <a:pt x="1238" y="13049"/>
                  </a:lnTo>
                  <a:lnTo>
                    <a:pt x="0" y="19717"/>
                  </a:lnTo>
                  <a:lnTo>
                    <a:pt x="2857" y="23241"/>
                  </a:lnTo>
                  <a:lnTo>
                    <a:pt x="762" y="28004"/>
                  </a:lnTo>
                  <a:lnTo>
                    <a:pt x="4381" y="35052"/>
                  </a:lnTo>
                  <a:lnTo>
                    <a:pt x="7429" y="32766"/>
                  </a:lnTo>
                  <a:lnTo>
                    <a:pt x="10763" y="37433"/>
                  </a:lnTo>
                  <a:lnTo>
                    <a:pt x="25813" y="35624"/>
                  </a:lnTo>
                  <a:lnTo>
                    <a:pt x="30956" y="28956"/>
                  </a:lnTo>
                  <a:lnTo>
                    <a:pt x="43815" y="30861"/>
                  </a:lnTo>
                  <a:lnTo>
                    <a:pt x="45625" y="25432"/>
                  </a:lnTo>
                  <a:lnTo>
                    <a:pt x="49054" y="26003"/>
                  </a:lnTo>
                  <a:lnTo>
                    <a:pt x="48958" y="25813"/>
                  </a:lnTo>
                  <a:lnTo>
                    <a:pt x="51054" y="1524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5" name="Freeform: Shape 2835">
              <a:extLst>
                <a:ext uri="{FF2B5EF4-FFF2-40B4-BE49-F238E27FC236}">
                  <a16:creationId xmlns:a16="http://schemas.microsoft.com/office/drawing/2014/main" id="{36EB8921-06DF-4AB0-30E1-39A2043EC3EF}"/>
                </a:ext>
              </a:extLst>
            </p:cNvPr>
            <p:cNvSpPr/>
            <p:nvPr/>
          </p:nvSpPr>
          <p:spPr>
            <a:xfrm>
              <a:off x="1857089" y="3524948"/>
              <a:ext cx="17049" cy="19431"/>
            </a:xfrm>
            <a:custGeom>
              <a:avLst/>
              <a:gdLst>
                <a:gd name="connsiteX0" fmla="*/ 16859 w 17049"/>
                <a:gd name="connsiteY0" fmla="*/ 8382 h 19431"/>
                <a:gd name="connsiteX1" fmla="*/ 12763 w 17049"/>
                <a:gd name="connsiteY1" fmla="*/ 8096 h 19431"/>
                <a:gd name="connsiteX2" fmla="*/ 9334 w 17049"/>
                <a:gd name="connsiteY2" fmla="*/ 4763 h 19431"/>
                <a:gd name="connsiteX3" fmla="*/ 9715 w 17049"/>
                <a:gd name="connsiteY3" fmla="*/ 667 h 19431"/>
                <a:gd name="connsiteX4" fmla="*/ 4477 w 17049"/>
                <a:gd name="connsiteY4" fmla="*/ 0 h 19431"/>
                <a:gd name="connsiteX5" fmla="*/ 0 w 17049"/>
                <a:gd name="connsiteY5" fmla="*/ 8382 h 19431"/>
                <a:gd name="connsiteX6" fmla="*/ 3715 w 17049"/>
                <a:gd name="connsiteY6" fmla="*/ 11716 h 19431"/>
                <a:gd name="connsiteX7" fmla="*/ 1810 w 17049"/>
                <a:gd name="connsiteY7" fmla="*/ 16097 h 19431"/>
                <a:gd name="connsiteX8" fmla="*/ 6286 w 17049"/>
                <a:gd name="connsiteY8" fmla="*/ 19431 h 19431"/>
                <a:gd name="connsiteX9" fmla="*/ 12573 w 17049"/>
                <a:gd name="connsiteY9" fmla="*/ 18383 h 19431"/>
                <a:gd name="connsiteX10" fmla="*/ 12573 w 17049"/>
                <a:gd name="connsiteY10" fmla="*/ 18288 h 19431"/>
                <a:gd name="connsiteX11" fmla="*/ 17050 w 17049"/>
                <a:gd name="connsiteY11" fmla="*/ 12192 h 19431"/>
                <a:gd name="connsiteX12" fmla="*/ 16859 w 17049"/>
                <a:gd name="connsiteY12" fmla="*/ 8382 h 1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49" h="19431">
                  <a:moveTo>
                    <a:pt x="16859" y="8382"/>
                  </a:moveTo>
                  <a:lnTo>
                    <a:pt x="12763" y="8096"/>
                  </a:lnTo>
                  <a:lnTo>
                    <a:pt x="9334" y="4763"/>
                  </a:lnTo>
                  <a:lnTo>
                    <a:pt x="9715" y="667"/>
                  </a:lnTo>
                  <a:lnTo>
                    <a:pt x="4477" y="0"/>
                  </a:lnTo>
                  <a:lnTo>
                    <a:pt x="0" y="8382"/>
                  </a:lnTo>
                  <a:lnTo>
                    <a:pt x="3715" y="11716"/>
                  </a:lnTo>
                  <a:lnTo>
                    <a:pt x="1810" y="16097"/>
                  </a:lnTo>
                  <a:lnTo>
                    <a:pt x="6286" y="19431"/>
                  </a:lnTo>
                  <a:lnTo>
                    <a:pt x="12573" y="18383"/>
                  </a:lnTo>
                  <a:lnTo>
                    <a:pt x="12573" y="18288"/>
                  </a:lnTo>
                  <a:lnTo>
                    <a:pt x="17050" y="12192"/>
                  </a:lnTo>
                  <a:lnTo>
                    <a:pt x="16859" y="838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6" name="Freeform: Shape 2836">
              <a:extLst>
                <a:ext uri="{FF2B5EF4-FFF2-40B4-BE49-F238E27FC236}">
                  <a16:creationId xmlns:a16="http://schemas.microsoft.com/office/drawing/2014/main" id="{E6CE4C7C-CC09-49B5-DFC4-3388B484776A}"/>
                </a:ext>
              </a:extLst>
            </p:cNvPr>
            <p:cNvSpPr/>
            <p:nvPr/>
          </p:nvSpPr>
          <p:spPr>
            <a:xfrm>
              <a:off x="2160650" y="3351688"/>
              <a:ext cx="115157" cy="71723"/>
            </a:xfrm>
            <a:custGeom>
              <a:avLst/>
              <a:gdLst>
                <a:gd name="connsiteX0" fmla="*/ 66199 w 115157"/>
                <a:gd name="connsiteY0" fmla="*/ 71723 h 71723"/>
                <a:gd name="connsiteX1" fmla="*/ 70009 w 115157"/>
                <a:gd name="connsiteY1" fmla="*/ 68008 h 71723"/>
                <a:gd name="connsiteX2" fmla="*/ 75057 w 115157"/>
                <a:gd name="connsiteY2" fmla="*/ 69342 h 71723"/>
                <a:gd name="connsiteX3" fmla="*/ 75248 w 115157"/>
                <a:gd name="connsiteY3" fmla="*/ 64199 h 71723"/>
                <a:gd name="connsiteX4" fmla="*/ 86487 w 115157"/>
                <a:gd name="connsiteY4" fmla="*/ 61055 h 71723"/>
                <a:gd name="connsiteX5" fmla="*/ 87821 w 115157"/>
                <a:gd name="connsiteY5" fmla="*/ 65342 h 71723"/>
                <a:gd name="connsiteX6" fmla="*/ 93440 w 115157"/>
                <a:gd name="connsiteY6" fmla="*/ 66675 h 71723"/>
                <a:gd name="connsiteX7" fmla="*/ 95822 w 115157"/>
                <a:gd name="connsiteY7" fmla="*/ 59627 h 71723"/>
                <a:gd name="connsiteX8" fmla="*/ 91154 w 115157"/>
                <a:gd name="connsiteY8" fmla="*/ 56198 h 71723"/>
                <a:gd name="connsiteX9" fmla="*/ 94012 w 115157"/>
                <a:gd name="connsiteY9" fmla="*/ 51054 h 71723"/>
                <a:gd name="connsiteX10" fmla="*/ 93631 w 115157"/>
                <a:gd name="connsiteY10" fmla="*/ 44577 h 71723"/>
                <a:gd name="connsiteX11" fmla="*/ 100965 w 115157"/>
                <a:gd name="connsiteY11" fmla="*/ 41339 h 71723"/>
                <a:gd name="connsiteX12" fmla="*/ 103918 w 115157"/>
                <a:gd name="connsiteY12" fmla="*/ 36767 h 71723"/>
                <a:gd name="connsiteX13" fmla="*/ 110300 w 115157"/>
                <a:gd name="connsiteY13" fmla="*/ 38671 h 71723"/>
                <a:gd name="connsiteX14" fmla="*/ 115157 w 115157"/>
                <a:gd name="connsiteY14" fmla="*/ 32480 h 71723"/>
                <a:gd name="connsiteX15" fmla="*/ 108585 w 115157"/>
                <a:gd name="connsiteY15" fmla="*/ 30385 h 71723"/>
                <a:gd name="connsiteX16" fmla="*/ 110681 w 115157"/>
                <a:gd name="connsiteY16" fmla="*/ 21431 h 71723"/>
                <a:gd name="connsiteX17" fmla="*/ 110681 w 115157"/>
                <a:gd name="connsiteY17" fmla="*/ 21431 h 71723"/>
                <a:gd name="connsiteX18" fmla="*/ 108585 w 115157"/>
                <a:gd name="connsiteY18" fmla="*/ 21717 h 71723"/>
                <a:gd name="connsiteX19" fmla="*/ 102965 w 115157"/>
                <a:gd name="connsiteY19" fmla="*/ 17145 h 71723"/>
                <a:gd name="connsiteX20" fmla="*/ 92678 w 115157"/>
                <a:gd name="connsiteY20" fmla="*/ 8858 h 71723"/>
                <a:gd name="connsiteX21" fmla="*/ 80867 w 115157"/>
                <a:gd name="connsiteY21" fmla="*/ 6953 h 71723"/>
                <a:gd name="connsiteX22" fmla="*/ 77629 w 115157"/>
                <a:gd name="connsiteY22" fmla="*/ 0 h 71723"/>
                <a:gd name="connsiteX23" fmla="*/ 72581 w 115157"/>
                <a:gd name="connsiteY23" fmla="*/ 762 h 71723"/>
                <a:gd name="connsiteX24" fmla="*/ 68866 w 115157"/>
                <a:gd name="connsiteY24" fmla="*/ 5620 h 71723"/>
                <a:gd name="connsiteX25" fmla="*/ 46482 w 115157"/>
                <a:gd name="connsiteY25" fmla="*/ 2381 h 71723"/>
                <a:gd name="connsiteX26" fmla="*/ 41815 w 115157"/>
                <a:gd name="connsiteY26" fmla="*/ 5620 h 71723"/>
                <a:gd name="connsiteX27" fmla="*/ 36957 w 115157"/>
                <a:gd name="connsiteY27" fmla="*/ 286 h 71723"/>
                <a:gd name="connsiteX28" fmla="*/ 32766 w 115157"/>
                <a:gd name="connsiteY28" fmla="*/ 3143 h 71723"/>
                <a:gd name="connsiteX29" fmla="*/ 21717 w 115157"/>
                <a:gd name="connsiteY29" fmla="*/ 762 h 71723"/>
                <a:gd name="connsiteX30" fmla="*/ 4667 w 115157"/>
                <a:gd name="connsiteY30" fmla="*/ 10192 h 71723"/>
                <a:gd name="connsiteX31" fmla="*/ 191 w 115157"/>
                <a:gd name="connsiteY31" fmla="*/ 10478 h 71723"/>
                <a:gd name="connsiteX32" fmla="*/ 0 w 115157"/>
                <a:gd name="connsiteY32" fmla="*/ 10478 h 71723"/>
                <a:gd name="connsiteX33" fmla="*/ 3239 w 115157"/>
                <a:gd name="connsiteY33" fmla="*/ 33052 h 71723"/>
                <a:gd name="connsiteX34" fmla="*/ 3524 w 115157"/>
                <a:gd name="connsiteY34" fmla="*/ 33147 h 71723"/>
                <a:gd name="connsiteX35" fmla="*/ 18479 w 115157"/>
                <a:gd name="connsiteY35" fmla="*/ 38100 h 71723"/>
                <a:gd name="connsiteX36" fmla="*/ 31623 w 115157"/>
                <a:gd name="connsiteY36" fmla="*/ 37433 h 71723"/>
                <a:gd name="connsiteX37" fmla="*/ 37529 w 115157"/>
                <a:gd name="connsiteY37" fmla="*/ 43910 h 71723"/>
                <a:gd name="connsiteX38" fmla="*/ 33719 w 115157"/>
                <a:gd name="connsiteY38" fmla="*/ 48196 h 71723"/>
                <a:gd name="connsiteX39" fmla="*/ 34671 w 115157"/>
                <a:gd name="connsiteY39" fmla="*/ 57817 h 71723"/>
                <a:gd name="connsiteX40" fmla="*/ 38862 w 115157"/>
                <a:gd name="connsiteY40" fmla="*/ 55626 h 71723"/>
                <a:gd name="connsiteX41" fmla="*/ 40672 w 115157"/>
                <a:gd name="connsiteY41" fmla="*/ 60198 h 71723"/>
                <a:gd name="connsiteX42" fmla="*/ 47244 w 115157"/>
                <a:gd name="connsiteY42" fmla="*/ 61532 h 71723"/>
                <a:gd name="connsiteX43" fmla="*/ 50102 w 115157"/>
                <a:gd name="connsiteY43" fmla="*/ 64199 h 71723"/>
                <a:gd name="connsiteX44" fmla="*/ 48387 w 115157"/>
                <a:gd name="connsiteY44" fmla="*/ 69342 h 71723"/>
                <a:gd name="connsiteX45" fmla="*/ 61722 w 115157"/>
                <a:gd name="connsiteY45" fmla="*/ 69056 h 71723"/>
                <a:gd name="connsiteX46" fmla="*/ 66199 w 115157"/>
                <a:gd name="connsiteY46" fmla="*/ 71723 h 7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5157" h="71723">
                  <a:moveTo>
                    <a:pt x="66199" y="71723"/>
                  </a:moveTo>
                  <a:lnTo>
                    <a:pt x="70009" y="68008"/>
                  </a:lnTo>
                  <a:lnTo>
                    <a:pt x="75057" y="69342"/>
                  </a:lnTo>
                  <a:lnTo>
                    <a:pt x="75248" y="64199"/>
                  </a:lnTo>
                  <a:lnTo>
                    <a:pt x="86487" y="61055"/>
                  </a:lnTo>
                  <a:lnTo>
                    <a:pt x="87821" y="65342"/>
                  </a:lnTo>
                  <a:lnTo>
                    <a:pt x="93440" y="66675"/>
                  </a:lnTo>
                  <a:lnTo>
                    <a:pt x="95822" y="59627"/>
                  </a:lnTo>
                  <a:lnTo>
                    <a:pt x="91154" y="56198"/>
                  </a:lnTo>
                  <a:lnTo>
                    <a:pt x="94012" y="51054"/>
                  </a:lnTo>
                  <a:lnTo>
                    <a:pt x="93631" y="44577"/>
                  </a:lnTo>
                  <a:lnTo>
                    <a:pt x="100965" y="41339"/>
                  </a:lnTo>
                  <a:lnTo>
                    <a:pt x="103918" y="36767"/>
                  </a:lnTo>
                  <a:lnTo>
                    <a:pt x="110300" y="38671"/>
                  </a:lnTo>
                  <a:lnTo>
                    <a:pt x="115157" y="32480"/>
                  </a:lnTo>
                  <a:lnTo>
                    <a:pt x="108585" y="30385"/>
                  </a:lnTo>
                  <a:lnTo>
                    <a:pt x="110681" y="21431"/>
                  </a:lnTo>
                  <a:lnTo>
                    <a:pt x="110681" y="21431"/>
                  </a:lnTo>
                  <a:lnTo>
                    <a:pt x="108585" y="21717"/>
                  </a:lnTo>
                  <a:lnTo>
                    <a:pt x="102965" y="17145"/>
                  </a:lnTo>
                  <a:lnTo>
                    <a:pt x="92678" y="8858"/>
                  </a:lnTo>
                  <a:lnTo>
                    <a:pt x="80867" y="6953"/>
                  </a:lnTo>
                  <a:lnTo>
                    <a:pt x="77629" y="0"/>
                  </a:lnTo>
                  <a:lnTo>
                    <a:pt x="72581" y="762"/>
                  </a:lnTo>
                  <a:lnTo>
                    <a:pt x="68866" y="5620"/>
                  </a:lnTo>
                  <a:lnTo>
                    <a:pt x="46482" y="2381"/>
                  </a:lnTo>
                  <a:lnTo>
                    <a:pt x="41815" y="5620"/>
                  </a:lnTo>
                  <a:lnTo>
                    <a:pt x="36957" y="286"/>
                  </a:lnTo>
                  <a:lnTo>
                    <a:pt x="32766" y="3143"/>
                  </a:lnTo>
                  <a:lnTo>
                    <a:pt x="21717" y="762"/>
                  </a:lnTo>
                  <a:lnTo>
                    <a:pt x="4667" y="10192"/>
                  </a:lnTo>
                  <a:lnTo>
                    <a:pt x="191" y="10478"/>
                  </a:lnTo>
                  <a:lnTo>
                    <a:pt x="0" y="10478"/>
                  </a:lnTo>
                  <a:lnTo>
                    <a:pt x="3239" y="33052"/>
                  </a:lnTo>
                  <a:lnTo>
                    <a:pt x="3524" y="33147"/>
                  </a:lnTo>
                  <a:lnTo>
                    <a:pt x="18479" y="38100"/>
                  </a:lnTo>
                  <a:lnTo>
                    <a:pt x="31623" y="37433"/>
                  </a:lnTo>
                  <a:lnTo>
                    <a:pt x="37529" y="43910"/>
                  </a:lnTo>
                  <a:lnTo>
                    <a:pt x="33719" y="48196"/>
                  </a:lnTo>
                  <a:lnTo>
                    <a:pt x="34671" y="57817"/>
                  </a:lnTo>
                  <a:lnTo>
                    <a:pt x="38862" y="55626"/>
                  </a:lnTo>
                  <a:lnTo>
                    <a:pt x="40672" y="60198"/>
                  </a:lnTo>
                  <a:lnTo>
                    <a:pt x="47244" y="61532"/>
                  </a:lnTo>
                  <a:lnTo>
                    <a:pt x="50102" y="64199"/>
                  </a:lnTo>
                  <a:lnTo>
                    <a:pt x="48387" y="69342"/>
                  </a:lnTo>
                  <a:lnTo>
                    <a:pt x="61722" y="69056"/>
                  </a:lnTo>
                  <a:lnTo>
                    <a:pt x="66199" y="7172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7" name="Freeform: Shape 2837">
              <a:extLst>
                <a:ext uri="{FF2B5EF4-FFF2-40B4-BE49-F238E27FC236}">
                  <a16:creationId xmlns:a16="http://schemas.microsoft.com/office/drawing/2014/main" id="{59839F9C-CC28-C20B-026C-7710BBFA39F2}"/>
                </a:ext>
              </a:extLst>
            </p:cNvPr>
            <p:cNvSpPr/>
            <p:nvPr/>
          </p:nvSpPr>
          <p:spPr>
            <a:xfrm>
              <a:off x="2159603" y="3307397"/>
              <a:ext cx="143636" cy="66008"/>
            </a:xfrm>
            <a:custGeom>
              <a:avLst/>
              <a:gdLst>
                <a:gd name="connsiteX0" fmla="*/ 109823 w 143636"/>
                <a:gd name="connsiteY0" fmla="*/ 16097 h 66008"/>
                <a:gd name="connsiteX1" fmla="*/ 100489 w 143636"/>
                <a:gd name="connsiteY1" fmla="*/ 5715 h 66008"/>
                <a:gd name="connsiteX2" fmla="*/ 92773 w 143636"/>
                <a:gd name="connsiteY2" fmla="*/ 4667 h 66008"/>
                <a:gd name="connsiteX3" fmla="*/ 85820 w 143636"/>
                <a:gd name="connsiteY3" fmla="*/ 0 h 66008"/>
                <a:gd name="connsiteX4" fmla="*/ 70104 w 143636"/>
                <a:gd name="connsiteY4" fmla="*/ 4286 h 66008"/>
                <a:gd name="connsiteX5" fmla="*/ 68008 w 143636"/>
                <a:gd name="connsiteY5" fmla="*/ 23336 h 66008"/>
                <a:gd name="connsiteX6" fmla="*/ 44196 w 143636"/>
                <a:gd name="connsiteY6" fmla="*/ 23336 h 66008"/>
                <a:gd name="connsiteX7" fmla="*/ 32385 w 143636"/>
                <a:gd name="connsiteY7" fmla="*/ 9144 h 66008"/>
                <a:gd name="connsiteX8" fmla="*/ 14859 w 143636"/>
                <a:gd name="connsiteY8" fmla="*/ 14192 h 66008"/>
                <a:gd name="connsiteX9" fmla="*/ 0 w 143636"/>
                <a:gd name="connsiteY9" fmla="*/ 47244 h 66008"/>
                <a:gd name="connsiteX10" fmla="*/ 1048 w 143636"/>
                <a:gd name="connsiteY10" fmla="*/ 54769 h 66008"/>
                <a:gd name="connsiteX11" fmla="*/ 1238 w 143636"/>
                <a:gd name="connsiteY11" fmla="*/ 54769 h 66008"/>
                <a:gd name="connsiteX12" fmla="*/ 5715 w 143636"/>
                <a:gd name="connsiteY12" fmla="*/ 54483 h 66008"/>
                <a:gd name="connsiteX13" fmla="*/ 22765 w 143636"/>
                <a:gd name="connsiteY13" fmla="*/ 45053 h 66008"/>
                <a:gd name="connsiteX14" fmla="*/ 33814 w 143636"/>
                <a:gd name="connsiteY14" fmla="*/ 47434 h 66008"/>
                <a:gd name="connsiteX15" fmla="*/ 38005 w 143636"/>
                <a:gd name="connsiteY15" fmla="*/ 44577 h 66008"/>
                <a:gd name="connsiteX16" fmla="*/ 42863 w 143636"/>
                <a:gd name="connsiteY16" fmla="*/ 49911 h 66008"/>
                <a:gd name="connsiteX17" fmla="*/ 47530 w 143636"/>
                <a:gd name="connsiteY17" fmla="*/ 46672 h 66008"/>
                <a:gd name="connsiteX18" fmla="*/ 69913 w 143636"/>
                <a:gd name="connsiteY18" fmla="*/ 49911 h 66008"/>
                <a:gd name="connsiteX19" fmla="*/ 73628 w 143636"/>
                <a:gd name="connsiteY19" fmla="*/ 45053 h 66008"/>
                <a:gd name="connsiteX20" fmla="*/ 78676 w 143636"/>
                <a:gd name="connsiteY20" fmla="*/ 44291 h 66008"/>
                <a:gd name="connsiteX21" fmla="*/ 81915 w 143636"/>
                <a:gd name="connsiteY21" fmla="*/ 51245 h 66008"/>
                <a:gd name="connsiteX22" fmla="*/ 93726 w 143636"/>
                <a:gd name="connsiteY22" fmla="*/ 53150 h 66008"/>
                <a:gd name="connsiteX23" fmla="*/ 104013 w 143636"/>
                <a:gd name="connsiteY23" fmla="*/ 61436 h 66008"/>
                <a:gd name="connsiteX24" fmla="*/ 109633 w 143636"/>
                <a:gd name="connsiteY24" fmla="*/ 66008 h 66008"/>
                <a:gd name="connsiteX25" fmla="*/ 116776 w 143636"/>
                <a:gd name="connsiteY25" fmla="*/ 64960 h 66008"/>
                <a:gd name="connsiteX26" fmla="*/ 120015 w 143636"/>
                <a:gd name="connsiteY26" fmla="*/ 59531 h 66008"/>
                <a:gd name="connsiteX27" fmla="*/ 125063 w 143636"/>
                <a:gd name="connsiteY27" fmla="*/ 63341 h 66008"/>
                <a:gd name="connsiteX28" fmla="*/ 127825 w 143636"/>
                <a:gd name="connsiteY28" fmla="*/ 60388 h 66008"/>
                <a:gd name="connsiteX29" fmla="*/ 132016 w 143636"/>
                <a:gd name="connsiteY29" fmla="*/ 61722 h 66008"/>
                <a:gd name="connsiteX30" fmla="*/ 135922 w 143636"/>
                <a:gd name="connsiteY30" fmla="*/ 55531 h 66008"/>
                <a:gd name="connsiteX31" fmla="*/ 142303 w 143636"/>
                <a:gd name="connsiteY31" fmla="*/ 52673 h 66008"/>
                <a:gd name="connsiteX32" fmla="*/ 143637 w 143636"/>
                <a:gd name="connsiteY32" fmla="*/ 45529 h 66008"/>
                <a:gd name="connsiteX33" fmla="*/ 137922 w 143636"/>
                <a:gd name="connsiteY33" fmla="*/ 34385 h 66008"/>
                <a:gd name="connsiteX34" fmla="*/ 132016 w 143636"/>
                <a:gd name="connsiteY34" fmla="*/ 31909 h 66008"/>
                <a:gd name="connsiteX35" fmla="*/ 137922 w 143636"/>
                <a:gd name="connsiteY35" fmla="*/ 22955 h 66008"/>
                <a:gd name="connsiteX36" fmla="*/ 129921 w 143636"/>
                <a:gd name="connsiteY36" fmla="*/ 15716 h 66008"/>
                <a:gd name="connsiteX37" fmla="*/ 125349 w 143636"/>
                <a:gd name="connsiteY37" fmla="*/ 14288 h 66008"/>
                <a:gd name="connsiteX38" fmla="*/ 125254 w 143636"/>
                <a:gd name="connsiteY38" fmla="*/ 14288 h 66008"/>
                <a:gd name="connsiteX39" fmla="*/ 125349 w 143636"/>
                <a:gd name="connsiteY39" fmla="*/ 14288 h 66008"/>
                <a:gd name="connsiteX40" fmla="*/ 117538 w 143636"/>
                <a:gd name="connsiteY40" fmla="*/ 11811 h 66008"/>
                <a:gd name="connsiteX41" fmla="*/ 109823 w 143636"/>
                <a:gd name="connsiteY41" fmla="*/ 16097 h 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3636" h="66008">
                  <a:moveTo>
                    <a:pt x="109823" y="16097"/>
                  </a:moveTo>
                  <a:lnTo>
                    <a:pt x="100489" y="5715"/>
                  </a:lnTo>
                  <a:lnTo>
                    <a:pt x="92773" y="4667"/>
                  </a:lnTo>
                  <a:lnTo>
                    <a:pt x="85820" y="0"/>
                  </a:lnTo>
                  <a:lnTo>
                    <a:pt x="70104" y="4286"/>
                  </a:lnTo>
                  <a:lnTo>
                    <a:pt x="68008" y="23336"/>
                  </a:lnTo>
                  <a:lnTo>
                    <a:pt x="44196" y="23336"/>
                  </a:lnTo>
                  <a:lnTo>
                    <a:pt x="32385" y="9144"/>
                  </a:lnTo>
                  <a:lnTo>
                    <a:pt x="14859" y="14192"/>
                  </a:lnTo>
                  <a:lnTo>
                    <a:pt x="0" y="47244"/>
                  </a:lnTo>
                  <a:lnTo>
                    <a:pt x="1048" y="54769"/>
                  </a:lnTo>
                  <a:lnTo>
                    <a:pt x="1238" y="54769"/>
                  </a:lnTo>
                  <a:lnTo>
                    <a:pt x="5715" y="54483"/>
                  </a:lnTo>
                  <a:lnTo>
                    <a:pt x="22765" y="45053"/>
                  </a:lnTo>
                  <a:lnTo>
                    <a:pt x="33814" y="47434"/>
                  </a:lnTo>
                  <a:lnTo>
                    <a:pt x="38005" y="44577"/>
                  </a:lnTo>
                  <a:lnTo>
                    <a:pt x="42863" y="49911"/>
                  </a:lnTo>
                  <a:lnTo>
                    <a:pt x="47530" y="46672"/>
                  </a:lnTo>
                  <a:lnTo>
                    <a:pt x="69913" y="49911"/>
                  </a:lnTo>
                  <a:lnTo>
                    <a:pt x="73628" y="45053"/>
                  </a:lnTo>
                  <a:lnTo>
                    <a:pt x="78676" y="44291"/>
                  </a:lnTo>
                  <a:lnTo>
                    <a:pt x="81915" y="51245"/>
                  </a:lnTo>
                  <a:lnTo>
                    <a:pt x="93726" y="53150"/>
                  </a:lnTo>
                  <a:lnTo>
                    <a:pt x="104013" y="61436"/>
                  </a:lnTo>
                  <a:lnTo>
                    <a:pt x="109633" y="66008"/>
                  </a:lnTo>
                  <a:lnTo>
                    <a:pt x="116776" y="64960"/>
                  </a:lnTo>
                  <a:lnTo>
                    <a:pt x="120015" y="59531"/>
                  </a:lnTo>
                  <a:lnTo>
                    <a:pt x="125063" y="63341"/>
                  </a:lnTo>
                  <a:lnTo>
                    <a:pt x="127825" y="60388"/>
                  </a:lnTo>
                  <a:lnTo>
                    <a:pt x="132016" y="61722"/>
                  </a:lnTo>
                  <a:lnTo>
                    <a:pt x="135922" y="55531"/>
                  </a:lnTo>
                  <a:lnTo>
                    <a:pt x="142303" y="52673"/>
                  </a:lnTo>
                  <a:lnTo>
                    <a:pt x="143637" y="45529"/>
                  </a:lnTo>
                  <a:lnTo>
                    <a:pt x="137922" y="34385"/>
                  </a:lnTo>
                  <a:lnTo>
                    <a:pt x="132016" y="31909"/>
                  </a:lnTo>
                  <a:lnTo>
                    <a:pt x="137922" y="22955"/>
                  </a:lnTo>
                  <a:lnTo>
                    <a:pt x="129921" y="15716"/>
                  </a:lnTo>
                  <a:lnTo>
                    <a:pt x="125349" y="14288"/>
                  </a:lnTo>
                  <a:lnTo>
                    <a:pt x="125254" y="14288"/>
                  </a:lnTo>
                  <a:lnTo>
                    <a:pt x="125349" y="14288"/>
                  </a:lnTo>
                  <a:lnTo>
                    <a:pt x="117538" y="11811"/>
                  </a:lnTo>
                  <a:lnTo>
                    <a:pt x="109823" y="1609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8" name="Freeform: Shape 2838">
              <a:extLst>
                <a:ext uri="{FF2B5EF4-FFF2-40B4-BE49-F238E27FC236}">
                  <a16:creationId xmlns:a16="http://schemas.microsoft.com/office/drawing/2014/main" id="{59903026-B2F7-613D-7B7E-ECD56BA33C18}"/>
                </a:ext>
              </a:extLst>
            </p:cNvPr>
            <p:cNvSpPr/>
            <p:nvPr/>
          </p:nvSpPr>
          <p:spPr>
            <a:xfrm>
              <a:off x="1908429" y="3743928"/>
              <a:ext cx="30575" cy="55626"/>
            </a:xfrm>
            <a:custGeom>
              <a:avLst/>
              <a:gdLst>
                <a:gd name="connsiteX0" fmla="*/ 19050 w 30575"/>
                <a:gd name="connsiteY0" fmla="*/ 0 h 55626"/>
                <a:gd name="connsiteX1" fmla="*/ 19050 w 30575"/>
                <a:gd name="connsiteY1" fmla="*/ 0 h 55626"/>
                <a:gd name="connsiteX2" fmla="*/ 30575 w 30575"/>
                <a:gd name="connsiteY2" fmla="*/ 17526 h 55626"/>
                <a:gd name="connsiteX3" fmla="*/ 26670 w 30575"/>
                <a:gd name="connsiteY3" fmla="*/ 46292 h 55626"/>
                <a:gd name="connsiteX4" fmla="*/ 11144 w 30575"/>
                <a:gd name="connsiteY4" fmla="*/ 55626 h 55626"/>
                <a:gd name="connsiteX5" fmla="*/ 1524 w 30575"/>
                <a:gd name="connsiteY5" fmla="*/ 52292 h 55626"/>
                <a:gd name="connsiteX6" fmla="*/ 6096 w 30575"/>
                <a:gd name="connsiteY6" fmla="*/ 33814 h 55626"/>
                <a:gd name="connsiteX7" fmla="*/ 0 w 30575"/>
                <a:gd name="connsiteY7" fmla="*/ 7049 h 55626"/>
                <a:gd name="connsiteX8" fmla="*/ 6953 w 30575"/>
                <a:gd name="connsiteY8" fmla="*/ 11240 h 55626"/>
                <a:gd name="connsiteX9" fmla="*/ 19050 w 30575"/>
                <a:gd name="connsiteY9" fmla="*/ 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75" h="55626">
                  <a:moveTo>
                    <a:pt x="19050" y="0"/>
                  </a:moveTo>
                  <a:lnTo>
                    <a:pt x="19050" y="0"/>
                  </a:lnTo>
                  <a:lnTo>
                    <a:pt x="30575" y="17526"/>
                  </a:lnTo>
                  <a:lnTo>
                    <a:pt x="26670" y="46292"/>
                  </a:lnTo>
                  <a:lnTo>
                    <a:pt x="11144" y="55626"/>
                  </a:lnTo>
                  <a:lnTo>
                    <a:pt x="1524" y="52292"/>
                  </a:lnTo>
                  <a:lnTo>
                    <a:pt x="6096" y="33814"/>
                  </a:lnTo>
                  <a:lnTo>
                    <a:pt x="0" y="7049"/>
                  </a:lnTo>
                  <a:lnTo>
                    <a:pt x="6953" y="11240"/>
                  </a:lnTo>
                  <a:lnTo>
                    <a:pt x="1905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49" name="Freeform: Shape 2839">
              <a:extLst>
                <a:ext uri="{FF2B5EF4-FFF2-40B4-BE49-F238E27FC236}">
                  <a16:creationId xmlns:a16="http://schemas.microsoft.com/office/drawing/2014/main" id="{361D5156-5CBB-0A05-3CDB-41AB0EE3D7DB}"/>
                </a:ext>
              </a:extLst>
            </p:cNvPr>
            <p:cNvSpPr/>
            <p:nvPr/>
          </p:nvSpPr>
          <p:spPr>
            <a:xfrm>
              <a:off x="1990153" y="3813746"/>
              <a:ext cx="63436" cy="35909"/>
            </a:xfrm>
            <a:custGeom>
              <a:avLst/>
              <a:gdLst>
                <a:gd name="connsiteX0" fmla="*/ 63436 w 63436"/>
                <a:gd name="connsiteY0" fmla="*/ 0 h 35909"/>
                <a:gd name="connsiteX1" fmla="*/ 63436 w 63436"/>
                <a:gd name="connsiteY1" fmla="*/ 0 h 35909"/>
                <a:gd name="connsiteX2" fmla="*/ 52864 w 63436"/>
                <a:gd name="connsiteY2" fmla="*/ 17145 h 35909"/>
                <a:gd name="connsiteX3" fmla="*/ 52864 w 63436"/>
                <a:gd name="connsiteY3" fmla="*/ 35909 h 35909"/>
                <a:gd name="connsiteX4" fmla="*/ 26479 w 63436"/>
                <a:gd name="connsiteY4" fmla="*/ 24670 h 35909"/>
                <a:gd name="connsiteX5" fmla="*/ 0 w 63436"/>
                <a:gd name="connsiteY5" fmla="*/ 10096 h 35909"/>
                <a:gd name="connsiteX6" fmla="*/ 17907 w 63436"/>
                <a:gd name="connsiteY6" fmla="*/ 762 h 35909"/>
                <a:gd name="connsiteX7" fmla="*/ 26765 w 63436"/>
                <a:gd name="connsiteY7" fmla="*/ 6382 h 35909"/>
                <a:gd name="connsiteX8" fmla="*/ 63436 w 63436"/>
                <a:gd name="connsiteY8" fmla="*/ 0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36" h="35909">
                  <a:moveTo>
                    <a:pt x="63436" y="0"/>
                  </a:moveTo>
                  <a:lnTo>
                    <a:pt x="63436" y="0"/>
                  </a:lnTo>
                  <a:lnTo>
                    <a:pt x="52864" y="17145"/>
                  </a:lnTo>
                  <a:lnTo>
                    <a:pt x="52864" y="35909"/>
                  </a:lnTo>
                  <a:lnTo>
                    <a:pt x="26479" y="24670"/>
                  </a:lnTo>
                  <a:lnTo>
                    <a:pt x="0" y="10096"/>
                  </a:lnTo>
                  <a:lnTo>
                    <a:pt x="17907" y="762"/>
                  </a:lnTo>
                  <a:lnTo>
                    <a:pt x="26765" y="6382"/>
                  </a:lnTo>
                  <a:lnTo>
                    <a:pt x="63436"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0" name="Freeform: Shape 2840">
              <a:extLst>
                <a:ext uri="{FF2B5EF4-FFF2-40B4-BE49-F238E27FC236}">
                  <a16:creationId xmlns:a16="http://schemas.microsoft.com/office/drawing/2014/main" id="{4EC5D0FD-4F6F-7CC2-A086-FF8CDD126A61}"/>
                </a:ext>
              </a:extLst>
            </p:cNvPr>
            <p:cNvSpPr/>
            <p:nvPr/>
          </p:nvSpPr>
          <p:spPr>
            <a:xfrm>
              <a:off x="1875662" y="3600100"/>
              <a:ext cx="235362" cy="220027"/>
            </a:xfrm>
            <a:custGeom>
              <a:avLst/>
              <a:gdLst>
                <a:gd name="connsiteX0" fmla="*/ 110014 w 235362"/>
                <a:gd name="connsiteY0" fmla="*/ 0 h 220027"/>
                <a:gd name="connsiteX1" fmla="*/ 101251 w 235362"/>
                <a:gd name="connsiteY1" fmla="*/ 3524 h 220027"/>
                <a:gd name="connsiteX2" fmla="*/ 89630 w 235362"/>
                <a:gd name="connsiteY2" fmla="*/ 3524 h 220027"/>
                <a:gd name="connsiteX3" fmla="*/ 86487 w 235362"/>
                <a:gd name="connsiteY3" fmla="*/ 9525 h 220027"/>
                <a:gd name="connsiteX4" fmla="*/ 76200 w 235362"/>
                <a:gd name="connsiteY4" fmla="*/ 6572 h 220027"/>
                <a:gd name="connsiteX5" fmla="*/ 76200 w 235362"/>
                <a:gd name="connsiteY5" fmla="*/ 6572 h 220027"/>
                <a:gd name="connsiteX6" fmla="*/ 75248 w 235362"/>
                <a:gd name="connsiteY6" fmla="*/ 9430 h 220027"/>
                <a:gd name="connsiteX7" fmla="*/ 76200 w 235362"/>
                <a:gd name="connsiteY7" fmla="*/ 14669 h 220027"/>
                <a:gd name="connsiteX8" fmla="*/ 70295 w 235362"/>
                <a:gd name="connsiteY8" fmla="*/ 12478 h 220027"/>
                <a:gd name="connsiteX9" fmla="*/ 68104 w 235362"/>
                <a:gd name="connsiteY9" fmla="*/ 14192 h 220027"/>
                <a:gd name="connsiteX10" fmla="*/ 71438 w 235362"/>
                <a:gd name="connsiteY10" fmla="*/ 19907 h 220027"/>
                <a:gd name="connsiteX11" fmla="*/ 67532 w 235362"/>
                <a:gd name="connsiteY11" fmla="*/ 23432 h 220027"/>
                <a:gd name="connsiteX12" fmla="*/ 65246 w 235362"/>
                <a:gd name="connsiteY12" fmla="*/ 18479 h 220027"/>
                <a:gd name="connsiteX13" fmla="*/ 58293 w 235362"/>
                <a:gd name="connsiteY13" fmla="*/ 20383 h 220027"/>
                <a:gd name="connsiteX14" fmla="*/ 55912 w 235362"/>
                <a:gd name="connsiteY14" fmla="*/ 14383 h 220027"/>
                <a:gd name="connsiteX15" fmla="*/ 51911 w 235362"/>
                <a:gd name="connsiteY15" fmla="*/ 15812 h 220027"/>
                <a:gd name="connsiteX16" fmla="*/ 52483 w 235362"/>
                <a:gd name="connsiteY16" fmla="*/ 20860 h 220027"/>
                <a:gd name="connsiteX17" fmla="*/ 48387 w 235362"/>
                <a:gd name="connsiteY17" fmla="*/ 24860 h 220027"/>
                <a:gd name="connsiteX18" fmla="*/ 47625 w 235362"/>
                <a:gd name="connsiteY18" fmla="*/ 31814 h 220027"/>
                <a:gd name="connsiteX19" fmla="*/ 41815 w 235362"/>
                <a:gd name="connsiteY19" fmla="*/ 28766 h 220027"/>
                <a:gd name="connsiteX20" fmla="*/ 42577 w 235362"/>
                <a:gd name="connsiteY20" fmla="*/ 24193 h 220027"/>
                <a:gd name="connsiteX21" fmla="*/ 36385 w 235362"/>
                <a:gd name="connsiteY21" fmla="*/ 21526 h 220027"/>
                <a:gd name="connsiteX22" fmla="*/ 36004 w 235362"/>
                <a:gd name="connsiteY22" fmla="*/ 15812 h 220027"/>
                <a:gd name="connsiteX23" fmla="*/ 28289 w 235362"/>
                <a:gd name="connsiteY23" fmla="*/ 20383 h 220027"/>
                <a:gd name="connsiteX24" fmla="*/ 30004 w 235362"/>
                <a:gd name="connsiteY24" fmla="*/ 23432 h 220027"/>
                <a:gd name="connsiteX25" fmla="*/ 24765 w 235362"/>
                <a:gd name="connsiteY25" fmla="*/ 30194 h 220027"/>
                <a:gd name="connsiteX26" fmla="*/ 18955 w 235362"/>
                <a:gd name="connsiteY26" fmla="*/ 27242 h 220027"/>
                <a:gd name="connsiteX27" fmla="*/ 15145 w 235362"/>
                <a:gd name="connsiteY27" fmla="*/ 29908 h 220027"/>
                <a:gd name="connsiteX28" fmla="*/ 8954 w 235362"/>
                <a:gd name="connsiteY28" fmla="*/ 30861 h 220027"/>
                <a:gd name="connsiteX29" fmla="*/ 7429 w 235362"/>
                <a:gd name="connsiteY29" fmla="*/ 28670 h 220027"/>
                <a:gd name="connsiteX30" fmla="*/ 7334 w 235362"/>
                <a:gd name="connsiteY30" fmla="*/ 28766 h 220027"/>
                <a:gd name="connsiteX31" fmla="*/ 2096 w 235362"/>
                <a:gd name="connsiteY31" fmla="*/ 33052 h 220027"/>
                <a:gd name="connsiteX32" fmla="*/ 6763 w 235362"/>
                <a:gd name="connsiteY32" fmla="*/ 36576 h 220027"/>
                <a:gd name="connsiteX33" fmla="*/ 7334 w 235362"/>
                <a:gd name="connsiteY33" fmla="*/ 39719 h 220027"/>
                <a:gd name="connsiteX34" fmla="*/ 11621 w 235362"/>
                <a:gd name="connsiteY34" fmla="*/ 43529 h 220027"/>
                <a:gd name="connsiteX35" fmla="*/ 0 w 235362"/>
                <a:gd name="connsiteY35" fmla="*/ 48577 h 220027"/>
                <a:gd name="connsiteX36" fmla="*/ 1524 w 235362"/>
                <a:gd name="connsiteY36" fmla="*/ 53340 h 220027"/>
                <a:gd name="connsiteX37" fmla="*/ 8192 w 235362"/>
                <a:gd name="connsiteY37" fmla="*/ 55245 h 220027"/>
                <a:gd name="connsiteX38" fmla="*/ 9144 w 235362"/>
                <a:gd name="connsiteY38" fmla="*/ 60008 h 220027"/>
                <a:gd name="connsiteX39" fmla="*/ 3334 w 235362"/>
                <a:gd name="connsiteY39" fmla="*/ 63151 h 220027"/>
                <a:gd name="connsiteX40" fmla="*/ 5239 w 235362"/>
                <a:gd name="connsiteY40" fmla="*/ 68580 h 220027"/>
                <a:gd name="connsiteX41" fmla="*/ 12573 w 235362"/>
                <a:gd name="connsiteY41" fmla="*/ 72676 h 220027"/>
                <a:gd name="connsiteX42" fmla="*/ 19145 w 235362"/>
                <a:gd name="connsiteY42" fmla="*/ 69818 h 220027"/>
                <a:gd name="connsiteX43" fmla="*/ 20574 w 235362"/>
                <a:gd name="connsiteY43" fmla="*/ 74295 h 220027"/>
                <a:gd name="connsiteX44" fmla="*/ 17240 w 235362"/>
                <a:gd name="connsiteY44" fmla="*/ 82391 h 220027"/>
                <a:gd name="connsiteX45" fmla="*/ 42196 w 235362"/>
                <a:gd name="connsiteY45" fmla="*/ 66008 h 220027"/>
                <a:gd name="connsiteX46" fmla="*/ 68675 w 235362"/>
                <a:gd name="connsiteY46" fmla="*/ 76200 h 220027"/>
                <a:gd name="connsiteX47" fmla="*/ 76581 w 235362"/>
                <a:gd name="connsiteY47" fmla="*/ 102680 h 220027"/>
                <a:gd name="connsiteX48" fmla="*/ 89630 w 235362"/>
                <a:gd name="connsiteY48" fmla="*/ 111442 h 220027"/>
                <a:gd name="connsiteX49" fmla="*/ 127064 w 235362"/>
                <a:gd name="connsiteY49" fmla="*/ 144685 h 220027"/>
                <a:gd name="connsiteX50" fmla="*/ 138113 w 235362"/>
                <a:gd name="connsiteY50" fmla="*/ 145828 h 220027"/>
                <a:gd name="connsiteX51" fmla="*/ 146875 w 235362"/>
                <a:gd name="connsiteY51" fmla="*/ 154876 h 220027"/>
                <a:gd name="connsiteX52" fmla="*/ 160782 w 235362"/>
                <a:gd name="connsiteY52" fmla="*/ 156686 h 220027"/>
                <a:gd name="connsiteX53" fmla="*/ 166402 w 235362"/>
                <a:gd name="connsiteY53" fmla="*/ 166307 h 220027"/>
                <a:gd name="connsiteX54" fmla="*/ 178879 w 235362"/>
                <a:gd name="connsiteY54" fmla="*/ 173641 h 220027"/>
                <a:gd name="connsiteX55" fmla="*/ 189833 w 235362"/>
                <a:gd name="connsiteY55" fmla="*/ 198692 h 220027"/>
                <a:gd name="connsiteX56" fmla="*/ 178213 w 235362"/>
                <a:gd name="connsiteY56" fmla="*/ 219266 h 220027"/>
                <a:gd name="connsiteX57" fmla="*/ 191738 w 235362"/>
                <a:gd name="connsiteY57" fmla="*/ 220027 h 220027"/>
                <a:gd name="connsiteX58" fmla="*/ 197358 w 235362"/>
                <a:gd name="connsiteY58" fmla="*/ 201263 h 220027"/>
                <a:gd name="connsiteX59" fmla="*/ 209264 w 235362"/>
                <a:gd name="connsiteY59" fmla="*/ 196406 h 220027"/>
                <a:gd name="connsiteX60" fmla="*/ 208598 w 235362"/>
                <a:gd name="connsiteY60" fmla="*/ 187833 h 220027"/>
                <a:gd name="connsiteX61" fmla="*/ 196120 w 235362"/>
                <a:gd name="connsiteY61" fmla="*/ 181927 h 220027"/>
                <a:gd name="connsiteX62" fmla="*/ 197739 w 235362"/>
                <a:gd name="connsiteY62" fmla="*/ 172117 h 220027"/>
                <a:gd name="connsiteX63" fmla="*/ 206978 w 235362"/>
                <a:gd name="connsiteY63" fmla="*/ 161734 h 220027"/>
                <a:gd name="connsiteX64" fmla="*/ 232410 w 235362"/>
                <a:gd name="connsiteY64" fmla="*/ 178880 h 220027"/>
                <a:gd name="connsiteX65" fmla="*/ 235363 w 235362"/>
                <a:gd name="connsiteY65" fmla="*/ 171450 h 220027"/>
                <a:gd name="connsiteX66" fmla="*/ 225457 w 235362"/>
                <a:gd name="connsiteY66" fmla="*/ 158496 h 220027"/>
                <a:gd name="connsiteX67" fmla="*/ 208979 w 235362"/>
                <a:gd name="connsiteY67" fmla="*/ 149161 h 220027"/>
                <a:gd name="connsiteX68" fmla="*/ 185166 w 235362"/>
                <a:gd name="connsiteY68" fmla="*/ 139351 h 220027"/>
                <a:gd name="connsiteX69" fmla="*/ 188500 w 235362"/>
                <a:gd name="connsiteY69" fmla="*/ 127540 h 220027"/>
                <a:gd name="connsiteX70" fmla="*/ 160401 w 235362"/>
                <a:gd name="connsiteY70" fmla="*/ 123444 h 220027"/>
                <a:gd name="connsiteX71" fmla="*/ 146209 w 235362"/>
                <a:gd name="connsiteY71" fmla="*/ 108775 h 220027"/>
                <a:gd name="connsiteX72" fmla="*/ 138303 w 235362"/>
                <a:gd name="connsiteY72" fmla="*/ 87630 h 220027"/>
                <a:gd name="connsiteX73" fmla="*/ 113919 w 235362"/>
                <a:gd name="connsiteY73" fmla="*/ 71247 h 220027"/>
                <a:gd name="connsiteX74" fmla="*/ 112681 w 235362"/>
                <a:gd name="connsiteY74" fmla="*/ 56198 h 220027"/>
                <a:gd name="connsiteX75" fmla="*/ 115919 w 235362"/>
                <a:gd name="connsiteY75" fmla="*/ 51435 h 220027"/>
                <a:gd name="connsiteX76" fmla="*/ 111538 w 235362"/>
                <a:gd name="connsiteY76" fmla="*/ 41148 h 220027"/>
                <a:gd name="connsiteX77" fmla="*/ 131540 w 235362"/>
                <a:gd name="connsiteY77" fmla="*/ 32575 h 220027"/>
                <a:gd name="connsiteX78" fmla="*/ 140208 w 235362"/>
                <a:gd name="connsiteY78" fmla="*/ 37338 h 220027"/>
                <a:gd name="connsiteX79" fmla="*/ 140303 w 235362"/>
                <a:gd name="connsiteY79" fmla="*/ 37338 h 220027"/>
                <a:gd name="connsiteX80" fmla="*/ 145161 w 235362"/>
                <a:gd name="connsiteY80" fmla="*/ 36576 h 220027"/>
                <a:gd name="connsiteX81" fmla="*/ 136017 w 235362"/>
                <a:gd name="connsiteY81" fmla="*/ 28289 h 220027"/>
                <a:gd name="connsiteX82" fmla="*/ 139541 w 235362"/>
                <a:gd name="connsiteY82" fmla="*/ 23717 h 220027"/>
                <a:gd name="connsiteX83" fmla="*/ 133731 w 235362"/>
                <a:gd name="connsiteY83" fmla="*/ 20383 h 220027"/>
                <a:gd name="connsiteX84" fmla="*/ 139732 w 235362"/>
                <a:gd name="connsiteY84" fmla="*/ 17717 h 220027"/>
                <a:gd name="connsiteX85" fmla="*/ 140494 w 235362"/>
                <a:gd name="connsiteY85" fmla="*/ 14097 h 220027"/>
                <a:gd name="connsiteX86" fmla="*/ 114110 w 235362"/>
                <a:gd name="connsiteY86" fmla="*/ 10192 h 220027"/>
                <a:gd name="connsiteX87" fmla="*/ 110014 w 235362"/>
                <a:gd name="connsiteY87" fmla="*/ 0 h 22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35362" h="220027">
                  <a:moveTo>
                    <a:pt x="110014" y="0"/>
                  </a:moveTo>
                  <a:lnTo>
                    <a:pt x="101251" y="3524"/>
                  </a:lnTo>
                  <a:lnTo>
                    <a:pt x="89630" y="3524"/>
                  </a:lnTo>
                  <a:lnTo>
                    <a:pt x="86487" y="9525"/>
                  </a:lnTo>
                  <a:lnTo>
                    <a:pt x="76200" y="6572"/>
                  </a:lnTo>
                  <a:lnTo>
                    <a:pt x="76200" y="6572"/>
                  </a:lnTo>
                  <a:lnTo>
                    <a:pt x="75248" y="9430"/>
                  </a:lnTo>
                  <a:lnTo>
                    <a:pt x="76200" y="14669"/>
                  </a:lnTo>
                  <a:lnTo>
                    <a:pt x="70295" y="12478"/>
                  </a:lnTo>
                  <a:lnTo>
                    <a:pt x="68104" y="14192"/>
                  </a:lnTo>
                  <a:lnTo>
                    <a:pt x="71438" y="19907"/>
                  </a:lnTo>
                  <a:lnTo>
                    <a:pt x="67532" y="23432"/>
                  </a:lnTo>
                  <a:lnTo>
                    <a:pt x="65246" y="18479"/>
                  </a:lnTo>
                  <a:lnTo>
                    <a:pt x="58293" y="20383"/>
                  </a:lnTo>
                  <a:lnTo>
                    <a:pt x="55912" y="14383"/>
                  </a:lnTo>
                  <a:lnTo>
                    <a:pt x="51911" y="15812"/>
                  </a:lnTo>
                  <a:lnTo>
                    <a:pt x="52483" y="20860"/>
                  </a:lnTo>
                  <a:lnTo>
                    <a:pt x="48387" y="24860"/>
                  </a:lnTo>
                  <a:lnTo>
                    <a:pt x="47625" y="31814"/>
                  </a:lnTo>
                  <a:lnTo>
                    <a:pt x="41815" y="28766"/>
                  </a:lnTo>
                  <a:lnTo>
                    <a:pt x="42577" y="24193"/>
                  </a:lnTo>
                  <a:lnTo>
                    <a:pt x="36385" y="21526"/>
                  </a:lnTo>
                  <a:lnTo>
                    <a:pt x="36004" y="15812"/>
                  </a:lnTo>
                  <a:lnTo>
                    <a:pt x="28289" y="20383"/>
                  </a:lnTo>
                  <a:lnTo>
                    <a:pt x="30004" y="23432"/>
                  </a:lnTo>
                  <a:lnTo>
                    <a:pt x="24765" y="30194"/>
                  </a:lnTo>
                  <a:lnTo>
                    <a:pt x="18955" y="27242"/>
                  </a:lnTo>
                  <a:lnTo>
                    <a:pt x="15145" y="29908"/>
                  </a:lnTo>
                  <a:lnTo>
                    <a:pt x="8954" y="30861"/>
                  </a:lnTo>
                  <a:lnTo>
                    <a:pt x="7429" y="28670"/>
                  </a:lnTo>
                  <a:lnTo>
                    <a:pt x="7334" y="28766"/>
                  </a:lnTo>
                  <a:lnTo>
                    <a:pt x="2096" y="33052"/>
                  </a:lnTo>
                  <a:lnTo>
                    <a:pt x="6763" y="36576"/>
                  </a:lnTo>
                  <a:lnTo>
                    <a:pt x="7334" y="39719"/>
                  </a:lnTo>
                  <a:lnTo>
                    <a:pt x="11621" y="43529"/>
                  </a:lnTo>
                  <a:lnTo>
                    <a:pt x="0" y="48577"/>
                  </a:lnTo>
                  <a:lnTo>
                    <a:pt x="1524" y="53340"/>
                  </a:lnTo>
                  <a:lnTo>
                    <a:pt x="8192" y="55245"/>
                  </a:lnTo>
                  <a:lnTo>
                    <a:pt x="9144" y="60008"/>
                  </a:lnTo>
                  <a:lnTo>
                    <a:pt x="3334" y="63151"/>
                  </a:lnTo>
                  <a:lnTo>
                    <a:pt x="5239" y="68580"/>
                  </a:lnTo>
                  <a:lnTo>
                    <a:pt x="12573" y="72676"/>
                  </a:lnTo>
                  <a:lnTo>
                    <a:pt x="19145" y="69818"/>
                  </a:lnTo>
                  <a:lnTo>
                    <a:pt x="20574" y="74295"/>
                  </a:lnTo>
                  <a:lnTo>
                    <a:pt x="17240" y="82391"/>
                  </a:lnTo>
                  <a:lnTo>
                    <a:pt x="42196" y="66008"/>
                  </a:lnTo>
                  <a:lnTo>
                    <a:pt x="68675" y="76200"/>
                  </a:lnTo>
                  <a:lnTo>
                    <a:pt x="76581" y="102680"/>
                  </a:lnTo>
                  <a:lnTo>
                    <a:pt x="89630" y="111442"/>
                  </a:lnTo>
                  <a:lnTo>
                    <a:pt x="127064" y="144685"/>
                  </a:lnTo>
                  <a:lnTo>
                    <a:pt x="138113" y="145828"/>
                  </a:lnTo>
                  <a:lnTo>
                    <a:pt x="146875" y="154876"/>
                  </a:lnTo>
                  <a:lnTo>
                    <a:pt x="160782" y="156686"/>
                  </a:lnTo>
                  <a:lnTo>
                    <a:pt x="166402" y="166307"/>
                  </a:lnTo>
                  <a:lnTo>
                    <a:pt x="178879" y="173641"/>
                  </a:lnTo>
                  <a:lnTo>
                    <a:pt x="189833" y="198692"/>
                  </a:lnTo>
                  <a:lnTo>
                    <a:pt x="178213" y="219266"/>
                  </a:lnTo>
                  <a:lnTo>
                    <a:pt x="191738" y="220027"/>
                  </a:lnTo>
                  <a:lnTo>
                    <a:pt x="197358" y="201263"/>
                  </a:lnTo>
                  <a:lnTo>
                    <a:pt x="209264" y="196406"/>
                  </a:lnTo>
                  <a:lnTo>
                    <a:pt x="208598" y="187833"/>
                  </a:lnTo>
                  <a:lnTo>
                    <a:pt x="196120" y="181927"/>
                  </a:lnTo>
                  <a:lnTo>
                    <a:pt x="197739" y="172117"/>
                  </a:lnTo>
                  <a:lnTo>
                    <a:pt x="206978" y="161734"/>
                  </a:lnTo>
                  <a:lnTo>
                    <a:pt x="232410" y="178880"/>
                  </a:lnTo>
                  <a:lnTo>
                    <a:pt x="235363" y="171450"/>
                  </a:lnTo>
                  <a:lnTo>
                    <a:pt x="225457" y="158496"/>
                  </a:lnTo>
                  <a:lnTo>
                    <a:pt x="208979" y="149161"/>
                  </a:lnTo>
                  <a:lnTo>
                    <a:pt x="185166" y="139351"/>
                  </a:lnTo>
                  <a:lnTo>
                    <a:pt x="188500" y="127540"/>
                  </a:lnTo>
                  <a:lnTo>
                    <a:pt x="160401" y="123444"/>
                  </a:lnTo>
                  <a:lnTo>
                    <a:pt x="146209" y="108775"/>
                  </a:lnTo>
                  <a:lnTo>
                    <a:pt x="138303" y="87630"/>
                  </a:lnTo>
                  <a:lnTo>
                    <a:pt x="113919" y="71247"/>
                  </a:lnTo>
                  <a:lnTo>
                    <a:pt x="112681" y="56198"/>
                  </a:lnTo>
                  <a:lnTo>
                    <a:pt x="115919" y="51435"/>
                  </a:lnTo>
                  <a:lnTo>
                    <a:pt x="111538" y="41148"/>
                  </a:lnTo>
                  <a:lnTo>
                    <a:pt x="131540" y="32575"/>
                  </a:lnTo>
                  <a:lnTo>
                    <a:pt x="140208" y="37338"/>
                  </a:lnTo>
                  <a:lnTo>
                    <a:pt x="140303" y="37338"/>
                  </a:lnTo>
                  <a:lnTo>
                    <a:pt x="145161" y="36576"/>
                  </a:lnTo>
                  <a:lnTo>
                    <a:pt x="136017" y="28289"/>
                  </a:lnTo>
                  <a:lnTo>
                    <a:pt x="139541" y="23717"/>
                  </a:lnTo>
                  <a:lnTo>
                    <a:pt x="133731" y="20383"/>
                  </a:lnTo>
                  <a:lnTo>
                    <a:pt x="139732" y="17717"/>
                  </a:lnTo>
                  <a:lnTo>
                    <a:pt x="140494" y="14097"/>
                  </a:lnTo>
                  <a:lnTo>
                    <a:pt x="114110" y="10192"/>
                  </a:lnTo>
                  <a:lnTo>
                    <a:pt x="11001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1" name="Freeform: Shape 2841">
              <a:extLst>
                <a:ext uri="{FF2B5EF4-FFF2-40B4-BE49-F238E27FC236}">
                  <a16:creationId xmlns:a16="http://schemas.microsoft.com/office/drawing/2014/main" id="{507E97A7-0FA8-5D03-642C-005133439AE8}"/>
                </a:ext>
              </a:extLst>
            </p:cNvPr>
            <p:cNvSpPr/>
            <p:nvPr/>
          </p:nvSpPr>
          <p:spPr>
            <a:xfrm>
              <a:off x="1536858" y="3381216"/>
              <a:ext cx="88487" cy="108775"/>
            </a:xfrm>
            <a:custGeom>
              <a:avLst/>
              <a:gdLst>
                <a:gd name="connsiteX0" fmla="*/ 0 w 88487"/>
                <a:gd name="connsiteY0" fmla="*/ 88583 h 108775"/>
                <a:gd name="connsiteX1" fmla="*/ 12478 w 88487"/>
                <a:gd name="connsiteY1" fmla="*/ 95250 h 108775"/>
                <a:gd name="connsiteX2" fmla="*/ 7430 w 88487"/>
                <a:gd name="connsiteY2" fmla="*/ 99536 h 108775"/>
                <a:gd name="connsiteX3" fmla="*/ 16669 w 88487"/>
                <a:gd name="connsiteY3" fmla="*/ 99536 h 108775"/>
                <a:gd name="connsiteX4" fmla="*/ 13811 w 88487"/>
                <a:gd name="connsiteY4" fmla="*/ 108775 h 108775"/>
                <a:gd name="connsiteX5" fmla="*/ 38291 w 88487"/>
                <a:gd name="connsiteY5" fmla="*/ 104680 h 108775"/>
                <a:gd name="connsiteX6" fmla="*/ 56769 w 88487"/>
                <a:gd name="connsiteY6" fmla="*/ 90868 h 108775"/>
                <a:gd name="connsiteX7" fmla="*/ 81248 w 88487"/>
                <a:gd name="connsiteY7" fmla="*/ 88583 h 108775"/>
                <a:gd name="connsiteX8" fmla="*/ 88487 w 88487"/>
                <a:gd name="connsiteY8" fmla="*/ 67056 h 108775"/>
                <a:gd name="connsiteX9" fmla="*/ 83534 w 88487"/>
                <a:gd name="connsiteY9" fmla="*/ 36290 h 108775"/>
                <a:gd name="connsiteX10" fmla="*/ 76867 w 88487"/>
                <a:gd name="connsiteY10" fmla="*/ 37719 h 108775"/>
                <a:gd name="connsiteX11" fmla="*/ 76486 w 88487"/>
                <a:gd name="connsiteY11" fmla="*/ 33338 h 108775"/>
                <a:gd name="connsiteX12" fmla="*/ 73247 w 88487"/>
                <a:gd name="connsiteY12" fmla="*/ 32671 h 108775"/>
                <a:gd name="connsiteX13" fmla="*/ 70485 w 88487"/>
                <a:gd name="connsiteY13" fmla="*/ 27242 h 108775"/>
                <a:gd name="connsiteX14" fmla="*/ 64770 w 88487"/>
                <a:gd name="connsiteY14" fmla="*/ 27242 h 108775"/>
                <a:gd name="connsiteX15" fmla="*/ 65342 w 88487"/>
                <a:gd name="connsiteY15" fmla="*/ 33147 h 108775"/>
                <a:gd name="connsiteX16" fmla="*/ 60770 w 88487"/>
                <a:gd name="connsiteY16" fmla="*/ 35433 h 108775"/>
                <a:gd name="connsiteX17" fmla="*/ 49149 w 88487"/>
                <a:gd name="connsiteY17" fmla="*/ 28861 h 108775"/>
                <a:gd name="connsiteX18" fmla="*/ 55531 w 88487"/>
                <a:gd name="connsiteY18" fmla="*/ 24003 h 108775"/>
                <a:gd name="connsiteX19" fmla="*/ 51721 w 88487"/>
                <a:gd name="connsiteY19" fmla="*/ 19050 h 108775"/>
                <a:gd name="connsiteX20" fmla="*/ 58960 w 88487"/>
                <a:gd name="connsiteY20" fmla="*/ 18097 h 108775"/>
                <a:gd name="connsiteX21" fmla="*/ 60293 w 88487"/>
                <a:gd name="connsiteY21" fmla="*/ 13525 h 108775"/>
                <a:gd name="connsiteX22" fmla="*/ 69437 w 88487"/>
                <a:gd name="connsiteY22" fmla="*/ 7620 h 108775"/>
                <a:gd name="connsiteX23" fmla="*/ 66199 w 88487"/>
                <a:gd name="connsiteY23" fmla="*/ 0 h 108775"/>
                <a:gd name="connsiteX24" fmla="*/ 60008 w 88487"/>
                <a:gd name="connsiteY24" fmla="*/ 8572 h 108775"/>
                <a:gd name="connsiteX25" fmla="*/ 56102 w 88487"/>
                <a:gd name="connsiteY25" fmla="*/ 1048 h 108775"/>
                <a:gd name="connsiteX26" fmla="*/ 35243 w 88487"/>
                <a:gd name="connsiteY26" fmla="*/ 16669 h 108775"/>
                <a:gd name="connsiteX27" fmla="*/ 46863 w 88487"/>
                <a:gd name="connsiteY27" fmla="*/ 21622 h 108775"/>
                <a:gd name="connsiteX28" fmla="*/ 38576 w 88487"/>
                <a:gd name="connsiteY28" fmla="*/ 33052 h 108775"/>
                <a:gd name="connsiteX29" fmla="*/ 10097 w 88487"/>
                <a:gd name="connsiteY29" fmla="*/ 29623 h 108775"/>
                <a:gd name="connsiteX30" fmla="*/ 17812 w 88487"/>
                <a:gd name="connsiteY30" fmla="*/ 40386 h 108775"/>
                <a:gd name="connsiteX31" fmla="*/ 7430 w 88487"/>
                <a:gd name="connsiteY31" fmla="*/ 51149 h 108775"/>
                <a:gd name="connsiteX32" fmla="*/ 30575 w 88487"/>
                <a:gd name="connsiteY32" fmla="*/ 58103 h 108775"/>
                <a:gd name="connsiteX33" fmla="*/ 10573 w 88487"/>
                <a:gd name="connsiteY33" fmla="*/ 78010 h 108775"/>
                <a:gd name="connsiteX34" fmla="*/ 34290 w 88487"/>
                <a:gd name="connsiteY34" fmla="*/ 75343 h 108775"/>
                <a:gd name="connsiteX35" fmla="*/ 14478 w 88487"/>
                <a:gd name="connsiteY35" fmla="*/ 86773 h 108775"/>
                <a:gd name="connsiteX36" fmla="*/ 0 w 88487"/>
                <a:gd name="connsiteY36" fmla="*/ 88583 h 10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8487" h="108775">
                  <a:moveTo>
                    <a:pt x="0" y="88583"/>
                  </a:moveTo>
                  <a:lnTo>
                    <a:pt x="12478" y="95250"/>
                  </a:lnTo>
                  <a:lnTo>
                    <a:pt x="7430" y="99536"/>
                  </a:lnTo>
                  <a:lnTo>
                    <a:pt x="16669" y="99536"/>
                  </a:lnTo>
                  <a:lnTo>
                    <a:pt x="13811" y="108775"/>
                  </a:lnTo>
                  <a:lnTo>
                    <a:pt x="38291" y="104680"/>
                  </a:lnTo>
                  <a:lnTo>
                    <a:pt x="56769" y="90868"/>
                  </a:lnTo>
                  <a:lnTo>
                    <a:pt x="81248" y="88583"/>
                  </a:lnTo>
                  <a:lnTo>
                    <a:pt x="88487" y="67056"/>
                  </a:lnTo>
                  <a:lnTo>
                    <a:pt x="83534" y="36290"/>
                  </a:lnTo>
                  <a:lnTo>
                    <a:pt x="76867" y="37719"/>
                  </a:lnTo>
                  <a:lnTo>
                    <a:pt x="76486" y="33338"/>
                  </a:lnTo>
                  <a:lnTo>
                    <a:pt x="73247" y="32671"/>
                  </a:lnTo>
                  <a:lnTo>
                    <a:pt x="70485" y="27242"/>
                  </a:lnTo>
                  <a:lnTo>
                    <a:pt x="64770" y="27242"/>
                  </a:lnTo>
                  <a:lnTo>
                    <a:pt x="65342" y="33147"/>
                  </a:lnTo>
                  <a:lnTo>
                    <a:pt x="60770" y="35433"/>
                  </a:lnTo>
                  <a:lnTo>
                    <a:pt x="49149" y="28861"/>
                  </a:lnTo>
                  <a:lnTo>
                    <a:pt x="55531" y="24003"/>
                  </a:lnTo>
                  <a:lnTo>
                    <a:pt x="51721" y="19050"/>
                  </a:lnTo>
                  <a:lnTo>
                    <a:pt x="58960" y="18097"/>
                  </a:lnTo>
                  <a:lnTo>
                    <a:pt x="60293" y="13525"/>
                  </a:lnTo>
                  <a:lnTo>
                    <a:pt x="69437" y="7620"/>
                  </a:lnTo>
                  <a:lnTo>
                    <a:pt x="66199" y="0"/>
                  </a:lnTo>
                  <a:lnTo>
                    <a:pt x="60008" y="8572"/>
                  </a:lnTo>
                  <a:lnTo>
                    <a:pt x="56102" y="1048"/>
                  </a:lnTo>
                  <a:lnTo>
                    <a:pt x="35243" y="16669"/>
                  </a:lnTo>
                  <a:lnTo>
                    <a:pt x="46863" y="21622"/>
                  </a:lnTo>
                  <a:lnTo>
                    <a:pt x="38576" y="33052"/>
                  </a:lnTo>
                  <a:lnTo>
                    <a:pt x="10097" y="29623"/>
                  </a:lnTo>
                  <a:lnTo>
                    <a:pt x="17812" y="40386"/>
                  </a:lnTo>
                  <a:lnTo>
                    <a:pt x="7430" y="51149"/>
                  </a:lnTo>
                  <a:lnTo>
                    <a:pt x="30575" y="58103"/>
                  </a:lnTo>
                  <a:lnTo>
                    <a:pt x="10573" y="78010"/>
                  </a:lnTo>
                  <a:lnTo>
                    <a:pt x="34290" y="75343"/>
                  </a:lnTo>
                  <a:lnTo>
                    <a:pt x="14478" y="86773"/>
                  </a:lnTo>
                  <a:lnTo>
                    <a:pt x="0" y="8858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2" name="Freeform: Shape 2842">
              <a:extLst>
                <a:ext uri="{FF2B5EF4-FFF2-40B4-BE49-F238E27FC236}">
                  <a16:creationId xmlns:a16="http://schemas.microsoft.com/office/drawing/2014/main" id="{2FC188D5-D735-2344-9CD6-30D2621D9E9F}"/>
                </a:ext>
              </a:extLst>
            </p:cNvPr>
            <p:cNvSpPr/>
            <p:nvPr/>
          </p:nvSpPr>
          <p:spPr>
            <a:xfrm>
              <a:off x="1261014" y="3043935"/>
              <a:ext cx="213550" cy="101536"/>
            </a:xfrm>
            <a:custGeom>
              <a:avLst/>
              <a:gdLst>
                <a:gd name="connsiteX0" fmla="*/ 59912 w 213550"/>
                <a:gd name="connsiteY0" fmla="*/ 86487 h 101536"/>
                <a:gd name="connsiteX1" fmla="*/ 33147 w 213550"/>
                <a:gd name="connsiteY1" fmla="*/ 86963 h 101536"/>
                <a:gd name="connsiteX2" fmla="*/ 33433 w 213550"/>
                <a:gd name="connsiteY2" fmla="*/ 78867 h 101536"/>
                <a:gd name="connsiteX3" fmla="*/ 57626 w 213550"/>
                <a:gd name="connsiteY3" fmla="*/ 71152 h 101536"/>
                <a:gd name="connsiteX4" fmla="*/ 52388 w 213550"/>
                <a:gd name="connsiteY4" fmla="*/ 65437 h 101536"/>
                <a:gd name="connsiteX5" fmla="*/ 57245 w 213550"/>
                <a:gd name="connsiteY5" fmla="*/ 60674 h 101536"/>
                <a:gd name="connsiteX6" fmla="*/ 41624 w 213550"/>
                <a:gd name="connsiteY6" fmla="*/ 53816 h 101536"/>
                <a:gd name="connsiteX7" fmla="*/ 29051 w 213550"/>
                <a:gd name="connsiteY7" fmla="*/ 62579 h 101536"/>
                <a:gd name="connsiteX8" fmla="*/ 6667 w 213550"/>
                <a:gd name="connsiteY8" fmla="*/ 53721 h 101536"/>
                <a:gd name="connsiteX9" fmla="*/ 51816 w 213550"/>
                <a:gd name="connsiteY9" fmla="*/ 45625 h 101536"/>
                <a:gd name="connsiteX10" fmla="*/ 53245 w 213550"/>
                <a:gd name="connsiteY10" fmla="*/ 34862 h 101536"/>
                <a:gd name="connsiteX11" fmla="*/ 43339 w 213550"/>
                <a:gd name="connsiteY11" fmla="*/ 38100 h 101536"/>
                <a:gd name="connsiteX12" fmla="*/ 30480 w 213550"/>
                <a:gd name="connsiteY12" fmla="*/ 29528 h 101536"/>
                <a:gd name="connsiteX13" fmla="*/ 19336 w 213550"/>
                <a:gd name="connsiteY13" fmla="*/ 36481 h 101536"/>
                <a:gd name="connsiteX14" fmla="*/ 0 w 213550"/>
                <a:gd name="connsiteY14" fmla="*/ 33528 h 101536"/>
                <a:gd name="connsiteX15" fmla="*/ 25241 w 213550"/>
                <a:gd name="connsiteY15" fmla="*/ 3143 h 101536"/>
                <a:gd name="connsiteX16" fmla="*/ 60484 w 213550"/>
                <a:gd name="connsiteY16" fmla="*/ 16574 h 101536"/>
                <a:gd name="connsiteX17" fmla="*/ 65437 w 213550"/>
                <a:gd name="connsiteY17" fmla="*/ 44005 h 101536"/>
                <a:gd name="connsiteX18" fmla="*/ 68485 w 213550"/>
                <a:gd name="connsiteY18" fmla="*/ 30575 h 101536"/>
                <a:gd name="connsiteX19" fmla="*/ 77057 w 213550"/>
                <a:gd name="connsiteY19" fmla="*/ 33814 h 101536"/>
                <a:gd name="connsiteX20" fmla="*/ 81629 w 213550"/>
                <a:gd name="connsiteY20" fmla="*/ 27908 h 101536"/>
                <a:gd name="connsiteX21" fmla="*/ 78676 w 213550"/>
                <a:gd name="connsiteY21" fmla="*/ 14478 h 101536"/>
                <a:gd name="connsiteX22" fmla="*/ 97536 w 213550"/>
                <a:gd name="connsiteY22" fmla="*/ 25717 h 101536"/>
                <a:gd name="connsiteX23" fmla="*/ 97822 w 213550"/>
                <a:gd name="connsiteY23" fmla="*/ 14954 h 101536"/>
                <a:gd name="connsiteX24" fmla="*/ 115634 w 213550"/>
                <a:gd name="connsiteY24" fmla="*/ 14954 h 101536"/>
                <a:gd name="connsiteX25" fmla="*/ 125254 w 213550"/>
                <a:gd name="connsiteY25" fmla="*/ 28384 h 101536"/>
                <a:gd name="connsiteX26" fmla="*/ 120586 w 213550"/>
                <a:gd name="connsiteY26" fmla="*/ 11811 h 101536"/>
                <a:gd name="connsiteX27" fmla="*/ 135446 w 213550"/>
                <a:gd name="connsiteY27" fmla="*/ 19812 h 101536"/>
                <a:gd name="connsiteX28" fmla="*/ 143447 w 213550"/>
                <a:gd name="connsiteY28" fmla="*/ 10192 h 101536"/>
                <a:gd name="connsiteX29" fmla="*/ 162878 w 213550"/>
                <a:gd name="connsiteY29" fmla="*/ 0 h 101536"/>
                <a:gd name="connsiteX30" fmla="*/ 178403 w 213550"/>
                <a:gd name="connsiteY30" fmla="*/ 12287 h 101536"/>
                <a:gd name="connsiteX31" fmla="*/ 194882 w 213550"/>
                <a:gd name="connsiteY31" fmla="*/ 4763 h 101536"/>
                <a:gd name="connsiteX32" fmla="*/ 213074 w 213550"/>
                <a:gd name="connsiteY32" fmla="*/ 34290 h 101536"/>
                <a:gd name="connsiteX33" fmla="*/ 205835 w 213550"/>
                <a:gd name="connsiteY33" fmla="*/ 40767 h 101536"/>
                <a:gd name="connsiteX34" fmla="*/ 213550 w 213550"/>
                <a:gd name="connsiteY34" fmla="*/ 46958 h 101536"/>
                <a:gd name="connsiteX35" fmla="*/ 201168 w 213550"/>
                <a:gd name="connsiteY35" fmla="*/ 48292 h 101536"/>
                <a:gd name="connsiteX36" fmla="*/ 204597 w 213550"/>
                <a:gd name="connsiteY36" fmla="*/ 56198 h 101536"/>
                <a:gd name="connsiteX37" fmla="*/ 195548 w 213550"/>
                <a:gd name="connsiteY37" fmla="*/ 55817 h 101536"/>
                <a:gd name="connsiteX38" fmla="*/ 194882 w 213550"/>
                <a:gd name="connsiteY38" fmla="*/ 68771 h 101536"/>
                <a:gd name="connsiteX39" fmla="*/ 181832 w 213550"/>
                <a:gd name="connsiteY39" fmla="*/ 62484 h 101536"/>
                <a:gd name="connsiteX40" fmla="*/ 174498 w 213550"/>
                <a:gd name="connsiteY40" fmla="*/ 80867 h 101536"/>
                <a:gd name="connsiteX41" fmla="*/ 147066 w 213550"/>
                <a:gd name="connsiteY41" fmla="*/ 84296 h 101536"/>
                <a:gd name="connsiteX42" fmla="*/ 112014 w 213550"/>
                <a:gd name="connsiteY42" fmla="*/ 101537 h 101536"/>
                <a:gd name="connsiteX43" fmla="*/ 59912 w 213550"/>
                <a:gd name="connsiteY43" fmla="*/ 86487 h 10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3550" h="101536">
                  <a:moveTo>
                    <a:pt x="59912" y="86487"/>
                  </a:moveTo>
                  <a:lnTo>
                    <a:pt x="33147" y="86963"/>
                  </a:lnTo>
                  <a:lnTo>
                    <a:pt x="33433" y="78867"/>
                  </a:lnTo>
                  <a:lnTo>
                    <a:pt x="57626" y="71152"/>
                  </a:lnTo>
                  <a:lnTo>
                    <a:pt x="52388" y="65437"/>
                  </a:lnTo>
                  <a:lnTo>
                    <a:pt x="57245" y="60674"/>
                  </a:lnTo>
                  <a:lnTo>
                    <a:pt x="41624" y="53816"/>
                  </a:lnTo>
                  <a:lnTo>
                    <a:pt x="29051" y="62579"/>
                  </a:lnTo>
                  <a:lnTo>
                    <a:pt x="6667" y="53721"/>
                  </a:lnTo>
                  <a:lnTo>
                    <a:pt x="51816" y="45625"/>
                  </a:lnTo>
                  <a:lnTo>
                    <a:pt x="53245" y="34862"/>
                  </a:lnTo>
                  <a:lnTo>
                    <a:pt x="43339" y="38100"/>
                  </a:lnTo>
                  <a:lnTo>
                    <a:pt x="30480" y="29528"/>
                  </a:lnTo>
                  <a:lnTo>
                    <a:pt x="19336" y="36481"/>
                  </a:lnTo>
                  <a:lnTo>
                    <a:pt x="0" y="33528"/>
                  </a:lnTo>
                  <a:lnTo>
                    <a:pt x="25241" y="3143"/>
                  </a:lnTo>
                  <a:lnTo>
                    <a:pt x="60484" y="16574"/>
                  </a:lnTo>
                  <a:lnTo>
                    <a:pt x="65437" y="44005"/>
                  </a:lnTo>
                  <a:lnTo>
                    <a:pt x="68485" y="30575"/>
                  </a:lnTo>
                  <a:lnTo>
                    <a:pt x="77057" y="33814"/>
                  </a:lnTo>
                  <a:lnTo>
                    <a:pt x="81629" y="27908"/>
                  </a:lnTo>
                  <a:lnTo>
                    <a:pt x="78676" y="14478"/>
                  </a:lnTo>
                  <a:lnTo>
                    <a:pt x="97536" y="25717"/>
                  </a:lnTo>
                  <a:lnTo>
                    <a:pt x="97822" y="14954"/>
                  </a:lnTo>
                  <a:lnTo>
                    <a:pt x="115634" y="14954"/>
                  </a:lnTo>
                  <a:lnTo>
                    <a:pt x="125254" y="28384"/>
                  </a:lnTo>
                  <a:lnTo>
                    <a:pt x="120586" y="11811"/>
                  </a:lnTo>
                  <a:lnTo>
                    <a:pt x="135446" y="19812"/>
                  </a:lnTo>
                  <a:lnTo>
                    <a:pt x="143447" y="10192"/>
                  </a:lnTo>
                  <a:lnTo>
                    <a:pt x="162878" y="0"/>
                  </a:lnTo>
                  <a:lnTo>
                    <a:pt x="178403" y="12287"/>
                  </a:lnTo>
                  <a:lnTo>
                    <a:pt x="194882" y="4763"/>
                  </a:lnTo>
                  <a:lnTo>
                    <a:pt x="213074" y="34290"/>
                  </a:lnTo>
                  <a:lnTo>
                    <a:pt x="205835" y="40767"/>
                  </a:lnTo>
                  <a:lnTo>
                    <a:pt x="213550" y="46958"/>
                  </a:lnTo>
                  <a:lnTo>
                    <a:pt x="201168" y="48292"/>
                  </a:lnTo>
                  <a:lnTo>
                    <a:pt x="204597" y="56198"/>
                  </a:lnTo>
                  <a:lnTo>
                    <a:pt x="195548" y="55817"/>
                  </a:lnTo>
                  <a:lnTo>
                    <a:pt x="194882" y="68771"/>
                  </a:lnTo>
                  <a:lnTo>
                    <a:pt x="181832" y="62484"/>
                  </a:lnTo>
                  <a:lnTo>
                    <a:pt x="174498" y="80867"/>
                  </a:lnTo>
                  <a:lnTo>
                    <a:pt x="147066" y="84296"/>
                  </a:lnTo>
                  <a:lnTo>
                    <a:pt x="112014" y="101537"/>
                  </a:lnTo>
                  <a:lnTo>
                    <a:pt x="59912" y="8648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3" name="Freeform: Shape 2843">
              <a:extLst>
                <a:ext uri="{FF2B5EF4-FFF2-40B4-BE49-F238E27FC236}">
                  <a16:creationId xmlns:a16="http://schemas.microsoft.com/office/drawing/2014/main" id="{D6401F18-CBA1-8CAD-532C-F73670A089CB}"/>
                </a:ext>
              </a:extLst>
            </p:cNvPr>
            <p:cNvSpPr/>
            <p:nvPr/>
          </p:nvSpPr>
          <p:spPr>
            <a:xfrm>
              <a:off x="2062733" y="3564381"/>
              <a:ext cx="135255" cy="69437"/>
            </a:xfrm>
            <a:custGeom>
              <a:avLst/>
              <a:gdLst>
                <a:gd name="connsiteX0" fmla="*/ 133541 w 135255"/>
                <a:gd name="connsiteY0" fmla="*/ 11716 h 69437"/>
                <a:gd name="connsiteX1" fmla="*/ 130397 w 135255"/>
                <a:gd name="connsiteY1" fmla="*/ 11716 h 69437"/>
                <a:gd name="connsiteX2" fmla="*/ 128683 w 135255"/>
                <a:gd name="connsiteY2" fmla="*/ 8573 h 69437"/>
                <a:gd name="connsiteX3" fmla="*/ 124492 w 135255"/>
                <a:gd name="connsiteY3" fmla="*/ 8573 h 69437"/>
                <a:gd name="connsiteX4" fmla="*/ 122301 w 135255"/>
                <a:gd name="connsiteY4" fmla="*/ 4477 h 69437"/>
                <a:gd name="connsiteX5" fmla="*/ 119634 w 135255"/>
                <a:gd name="connsiteY5" fmla="*/ 4953 h 69437"/>
                <a:gd name="connsiteX6" fmla="*/ 119634 w 135255"/>
                <a:gd name="connsiteY6" fmla="*/ 4953 h 69437"/>
                <a:gd name="connsiteX7" fmla="*/ 112681 w 135255"/>
                <a:gd name="connsiteY7" fmla="*/ 5906 h 69437"/>
                <a:gd name="connsiteX8" fmla="*/ 109347 w 135255"/>
                <a:gd name="connsiteY8" fmla="*/ 1905 h 69437"/>
                <a:gd name="connsiteX9" fmla="*/ 105728 w 135255"/>
                <a:gd name="connsiteY9" fmla="*/ 0 h 69437"/>
                <a:gd name="connsiteX10" fmla="*/ 99727 w 135255"/>
                <a:gd name="connsiteY10" fmla="*/ 2381 h 69437"/>
                <a:gd name="connsiteX11" fmla="*/ 93059 w 135255"/>
                <a:gd name="connsiteY11" fmla="*/ 0 h 69437"/>
                <a:gd name="connsiteX12" fmla="*/ 87535 w 135255"/>
                <a:gd name="connsiteY12" fmla="*/ 1619 h 69437"/>
                <a:gd name="connsiteX13" fmla="*/ 84392 w 135255"/>
                <a:gd name="connsiteY13" fmla="*/ 8573 h 69437"/>
                <a:gd name="connsiteX14" fmla="*/ 80296 w 135255"/>
                <a:gd name="connsiteY14" fmla="*/ 7144 h 69437"/>
                <a:gd name="connsiteX15" fmla="*/ 76676 w 135255"/>
                <a:gd name="connsiteY15" fmla="*/ 10954 h 69437"/>
                <a:gd name="connsiteX16" fmla="*/ 71819 w 135255"/>
                <a:gd name="connsiteY16" fmla="*/ 7811 h 69437"/>
                <a:gd name="connsiteX17" fmla="*/ 67913 w 135255"/>
                <a:gd name="connsiteY17" fmla="*/ 8573 h 69437"/>
                <a:gd name="connsiteX18" fmla="*/ 66961 w 135255"/>
                <a:gd name="connsiteY18" fmla="*/ 12383 h 69437"/>
                <a:gd name="connsiteX19" fmla="*/ 52673 w 135255"/>
                <a:gd name="connsiteY19" fmla="*/ 13621 h 69437"/>
                <a:gd name="connsiteX20" fmla="*/ 54959 w 135255"/>
                <a:gd name="connsiteY20" fmla="*/ 18859 h 69437"/>
                <a:gd name="connsiteX21" fmla="*/ 44577 w 135255"/>
                <a:gd name="connsiteY21" fmla="*/ 21431 h 69437"/>
                <a:gd name="connsiteX22" fmla="*/ 33719 w 135255"/>
                <a:gd name="connsiteY22" fmla="*/ 20288 h 69437"/>
                <a:gd name="connsiteX23" fmla="*/ 23622 w 135255"/>
                <a:gd name="connsiteY23" fmla="*/ 13335 h 69437"/>
                <a:gd name="connsiteX24" fmla="*/ 21622 w 135255"/>
                <a:gd name="connsiteY24" fmla="*/ 14478 h 69437"/>
                <a:gd name="connsiteX25" fmla="*/ 19336 w 135255"/>
                <a:gd name="connsiteY25" fmla="*/ 15716 h 69437"/>
                <a:gd name="connsiteX26" fmla="*/ 19622 w 135255"/>
                <a:gd name="connsiteY26" fmla="*/ 21908 h 69437"/>
                <a:gd name="connsiteX27" fmla="*/ 14764 w 135255"/>
                <a:gd name="connsiteY27" fmla="*/ 21908 h 69437"/>
                <a:gd name="connsiteX28" fmla="*/ 11621 w 135255"/>
                <a:gd name="connsiteY28" fmla="*/ 18574 h 69437"/>
                <a:gd name="connsiteX29" fmla="*/ 7810 w 135255"/>
                <a:gd name="connsiteY29" fmla="*/ 21908 h 69437"/>
                <a:gd name="connsiteX30" fmla="*/ 11811 w 135255"/>
                <a:gd name="connsiteY30" fmla="*/ 26956 h 69437"/>
                <a:gd name="connsiteX31" fmla="*/ 6382 w 135255"/>
                <a:gd name="connsiteY31" fmla="*/ 31718 h 69437"/>
                <a:gd name="connsiteX32" fmla="*/ 8954 w 135255"/>
                <a:gd name="connsiteY32" fmla="*/ 36481 h 69437"/>
                <a:gd name="connsiteX33" fmla="*/ 0 w 135255"/>
                <a:gd name="connsiteY33" fmla="*/ 42291 h 69437"/>
                <a:gd name="connsiteX34" fmla="*/ 0 w 135255"/>
                <a:gd name="connsiteY34" fmla="*/ 42291 h 69437"/>
                <a:gd name="connsiteX35" fmla="*/ 4953 w 135255"/>
                <a:gd name="connsiteY35" fmla="*/ 42100 h 69437"/>
                <a:gd name="connsiteX36" fmla="*/ 9620 w 135255"/>
                <a:gd name="connsiteY36" fmla="*/ 50959 h 69437"/>
                <a:gd name="connsiteX37" fmla="*/ 15526 w 135255"/>
                <a:gd name="connsiteY37" fmla="*/ 55150 h 69437"/>
                <a:gd name="connsiteX38" fmla="*/ 21336 w 135255"/>
                <a:gd name="connsiteY38" fmla="*/ 59150 h 69437"/>
                <a:gd name="connsiteX39" fmla="*/ 24384 w 135255"/>
                <a:gd name="connsiteY39" fmla="*/ 64484 h 69437"/>
                <a:gd name="connsiteX40" fmla="*/ 29623 w 135255"/>
                <a:gd name="connsiteY40" fmla="*/ 64675 h 69437"/>
                <a:gd name="connsiteX41" fmla="*/ 38957 w 135255"/>
                <a:gd name="connsiteY41" fmla="*/ 69437 h 69437"/>
                <a:gd name="connsiteX42" fmla="*/ 48387 w 135255"/>
                <a:gd name="connsiteY42" fmla="*/ 68485 h 69437"/>
                <a:gd name="connsiteX43" fmla="*/ 50197 w 135255"/>
                <a:gd name="connsiteY43" fmla="*/ 65151 h 69437"/>
                <a:gd name="connsiteX44" fmla="*/ 55150 w 135255"/>
                <a:gd name="connsiteY44" fmla="*/ 65627 h 69437"/>
                <a:gd name="connsiteX45" fmla="*/ 61341 w 135255"/>
                <a:gd name="connsiteY45" fmla="*/ 63722 h 69437"/>
                <a:gd name="connsiteX46" fmla="*/ 69818 w 135255"/>
                <a:gd name="connsiteY46" fmla="*/ 57912 h 69437"/>
                <a:gd name="connsiteX47" fmla="*/ 73533 w 135255"/>
                <a:gd name="connsiteY47" fmla="*/ 60484 h 69437"/>
                <a:gd name="connsiteX48" fmla="*/ 80581 w 135255"/>
                <a:gd name="connsiteY48" fmla="*/ 59150 h 69437"/>
                <a:gd name="connsiteX49" fmla="*/ 98298 w 135255"/>
                <a:gd name="connsiteY49" fmla="*/ 57531 h 69437"/>
                <a:gd name="connsiteX50" fmla="*/ 102584 w 135255"/>
                <a:gd name="connsiteY50" fmla="*/ 47054 h 69437"/>
                <a:gd name="connsiteX51" fmla="*/ 107633 w 135255"/>
                <a:gd name="connsiteY51" fmla="*/ 46101 h 69437"/>
                <a:gd name="connsiteX52" fmla="*/ 116872 w 135255"/>
                <a:gd name="connsiteY52" fmla="*/ 30766 h 69437"/>
                <a:gd name="connsiteX53" fmla="*/ 118015 w 135255"/>
                <a:gd name="connsiteY53" fmla="*/ 23622 h 69437"/>
                <a:gd name="connsiteX54" fmla="*/ 132017 w 135255"/>
                <a:gd name="connsiteY54" fmla="*/ 19336 h 69437"/>
                <a:gd name="connsiteX55" fmla="*/ 135255 w 135255"/>
                <a:gd name="connsiteY55" fmla="*/ 15907 h 69437"/>
                <a:gd name="connsiteX56" fmla="*/ 135065 w 135255"/>
                <a:gd name="connsiteY56" fmla="*/ 15240 h 69437"/>
                <a:gd name="connsiteX57" fmla="*/ 133541 w 135255"/>
                <a:gd name="connsiteY57" fmla="*/ 11716 h 6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35255" h="69437">
                  <a:moveTo>
                    <a:pt x="133541" y="11716"/>
                  </a:moveTo>
                  <a:lnTo>
                    <a:pt x="130397" y="11716"/>
                  </a:lnTo>
                  <a:lnTo>
                    <a:pt x="128683" y="8573"/>
                  </a:lnTo>
                  <a:lnTo>
                    <a:pt x="124492" y="8573"/>
                  </a:lnTo>
                  <a:lnTo>
                    <a:pt x="122301" y="4477"/>
                  </a:lnTo>
                  <a:lnTo>
                    <a:pt x="119634" y="4953"/>
                  </a:lnTo>
                  <a:lnTo>
                    <a:pt x="119634" y="4953"/>
                  </a:lnTo>
                  <a:lnTo>
                    <a:pt x="112681" y="5906"/>
                  </a:lnTo>
                  <a:lnTo>
                    <a:pt x="109347" y="1905"/>
                  </a:lnTo>
                  <a:lnTo>
                    <a:pt x="105728" y="0"/>
                  </a:lnTo>
                  <a:lnTo>
                    <a:pt x="99727" y="2381"/>
                  </a:lnTo>
                  <a:lnTo>
                    <a:pt x="93059" y="0"/>
                  </a:lnTo>
                  <a:lnTo>
                    <a:pt x="87535" y="1619"/>
                  </a:lnTo>
                  <a:lnTo>
                    <a:pt x="84392" y="8573"/>
                  </a:lnTo>
                  <a:lnTo>
                    <a:pt x="80296" y="7144"/>
                  </a:lnTo>
                  <a:lnTo>
                    <a:pt x="76676" y="10954"/>
                  </a:lnTo>
                  <a:lnTo>
                    <a:pt x="71819" y="7811"/>
                  </a:lnTo>
                  <a:lnTo>
                    <a:pt x="67913" y="8573"/>
                  </a:lnTo>
                  <a:lnTo>
                    <a:pt x="66961" y="12383"/>
                  </a:lnTo>
                  <a:lnTo>
                    <a:pt x="52673" y="13621"/>
                  </a:lnTo>
                  <a:lnTo>
                    <a:pt x="54959" y="18859"/>
                  </a:lnTo>
                  <a:lnTo>
                    <a:pt x="44577" y="21431"/>
                  </a:lnTo>
                  <a:lnTo>
                    <a:pt x="33719" y="20288"/>
                  </a:lnTo>
                  <a:lnTo>
                    <a:pt x="23622" y="13335"/>
                  </a:lnTo>
                  <a:lnTo>
                    <a:pt x="21622" y="14478"/>
                  </a:lnTo>
                  <a:lnTo>
                    <a:pt x="19336" y="15716"/>
                  </a:lnTo>
                  <a:lnTo>
                    <a:pt x="19622" y="21908"/>
                  </a:lnTo>
                  <a:lnTo>
                    <a:pt x="14764" y="21908"/>
                  </a:lnTo>
                  <a:lnTo>
                    <a:pt x="11621" y="18574"/>
                  </a:lnTo>
                  <a:lnTo>
                    <a:pt x="7810" y="21908"/>
                  </a:lnTo>
                  <a:lnTo>
                    <a:pt x="11811" y="26956"/>
                  </a:lnTo>
                  <a:lnTo>
                    <a:pt x="6382" y="31718"/>
                  </a:lnTo>
                  <a:lnTo>
                    <a:pt x="8954" y="36481"/>
                  </a:lnTo>
                  <a:lnTo>
                    <a:pt x="0" y="42291"/>
                  </a:lnTo>
                  <a:lnTo>
                    <a:pt x="0" y="42291"/>
                  </a:lnTo>
                  <a:lnTo>
                    <a:pt x="4953" y="42100"/>
                  </a:lnTo>
                  <a:lnTo>
                    <a:pt x="9620" y="50959"/>
                  </a:lnTo>
                  <a:lnTo>
                    <a:pt x="15526" y="55150"/>
                  </a:lnTo>
                  <a:lnTo>
                    <a:pt x="21336" y="59150"/>
                  </a:lnTo>
                  <a:lnTo>
                    <a:pt x="24384" y="64484"/>
                  </a:lnTo>
                  <a:lnTo>
                    <a:pt x="29623" y="64675"/>
                  </a:lnTo>
                  <a:lnTo>
                    <a:pt x="38957" y="69437"/>
                  </a:lnTo>
                  <a:lnTo>
                    <a:pt x="48387" y="68485"/>
                  </a:lnTo>
                  <a:lnTo>
                    <a:pt x="50197" y="65151"/>
                  </a:lnTo>
                  <a:lnTo>
                    <a:pt x="55150" y="65627"/>
                  </a:lnTo>
                  <a:lnTo>
                    <a:pt x="61341" y="63722"/>
                  </a:lnTo>
                  <a:lnTo>
                    <a:pt x="69818" y="57912"/>
                  </a:lnTo>
                  <a:lnTo>
                    <a:pt x="73533" y="60484"/>
                  </a:lnTo>
                  <a:lnTo>
                    <a:pt x="80581" y="59150"/>
                  </a:lnTo>
                  <a:lnTo>
                    <a:pt x="98298" y="57531"/>
                  </a:lnTo>
                  <a:lnTo>
                    <a:pt x="102584" y="47054"/>
                  </a:lnTo>
                  <a:lnTo>
                    <a:pt x="107633" y="46101"/>
                  </a:lnTo>
                  <a:lnTo>
                    <a:pt x="116872" y="30766"/>
                  </a:lnTo>
                  <a:lnTo>
                    <a:pt x="118015" y="23622"/>
                  </a:lnTo>
                  <a:lnTo>
                    <a:pt x="132017" y="19336"/>
                  </a:lnTo>
                  <a:lnTo>
                    <a:pt x="135255" y="15907"/>
                  </a:lnTo>
                  <a:lnTo>
                    <a:pt x="135065" y="15240"/>
                  </a:lnTo>
                  <a:lnTo>
                    <a:pt x="133541" y="1171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4" name="Freeform: Shape 2844">
              <a:extLst>
                <a:ext uri="{FF2B5EF4-FFF2-40B4-BE49-F238E27FC236}">
                  <a16:creationId xmlns:a16="http://schemas.microsoft.com/office/drawing/2014/main" id="{8A3E4AC5-C498-C2BE-0890-A7455DBEE41B}"/>
                </a:ext>
              </a:extLst>
            </p:cNvPr>
            <p:cNvSpPr/>
            <p:nvPr/>
          </p:nvSpPr>
          <p:spPr>
            <a:xfrm>
              <a:off x="2136552" y="3732212"/>
              <a:ext cx="135921" cy="123539"/>
            </a:xfrm>
            <a:custGeom>
              <a:avLst/>
              <a:gdLst>
                <a:gd name="connsiteX0" fmla="*/ 135922 w 135921"/>
                <a:gd name="connsiteY0" fmla="*/ 10573 h 123539"/>
                <a:gd name="connsiteX1" fmla="*/ 135160 w 135921"/>
                <a:gd name="connsiteY1" fmla="*/ 4191 h 123539"/>
                <a:gd name="connsiteX2" fmla="*/ 131064 w 135921"/>
                <a:gd name="connsiteY2" fmla="*/ 0 h 123539"/>
                <a:gd name="connsiteX3" fmla="*/ 128969 w 135921"/>
                <a:gd name="connsiteY3" fmla="*/ 0 h 123539"/>
                <a:gd name="connsiteX4" fmla="*/ 122492 w 135921"/>
                <a:gd name="connsiteY4" fmla="*/ 0 h 123539"/>
                <a:gd name="connsiteX5" fmla="*/ 126397 w 135921"/>
                <a:gd name="connsiteY5" fmla="*/ 7048 h 123539"/>
                <a:gd name="connsiteX6" fmla="*/ 124873 w 135921"/>
                <a:gd name="connsiteY6" fmla="*/ 9239 h 123539"/>
                <a:gd name="connsiteX7" fmla="*/ 107823 w 135921"/>
                <a:gd name="connsiteY7" fmla="*/ 11144 h 123539"/>
                <a:gd name="connsiteX8" fmla="*/ 102108 w 135921"/>
                <a:gd name="connsiteY8" fmla="*/ 6382 h 123539"/>
                <a:gd name="connsiteX9" fmla="*/ 98584 w 135921"/>
                <a:gd name="connsiteY9" fmla="*/ 9906 h 123539"/>
                <a:gd name="connsiteX10" fmla="*/ 93345 w 135921"/>
                <a:gd name="connsiteY10" fmla="*/ 3238 h 123539"/>
                <a:gd name="connsiteX11" fmla="*/ 85344 w 135921"/>
                <a:gd name="connsiteY11" fmla="*/ 3810 h 123539"/>
                <a:gd name="connsiteX12" fmla="*/ 82772 w 135921"/>
                <a:gd name="connsiteY12" fmla="*/ 7620 h 123539"/>
                <a:gd name="connsiteX13" fmla="*/ 69914 w 135921"/>
                <a:gd name="connsiteY13" fmla="*/ 8001 h 123539"/>
                <a:gd name="connsiteX14" fmla="*/ 67056 w 135921"/>
                <a:gd name="connsiteY14" fmla="*/ 10858 h 123539"/>
                <a:gd name="connsiteX15" fmla="*/ 62484 w 135921"/>
                <a:gd name="connsiteY15" fmla="*/ 10096 h 123539"/>
                <a:gd name="connsiteX16" fmla="*/ 59055 w 135921"/>
                <a:gd name="connsiteY16" fmla="*/ 9525 h 123539"/>
                <a:gd name="connsiteX17" fmla="*/ 57245 w 135921"/>
                <a:gd name="connsiteY17" fmla="*/ 14954 h 123539"/>
                <a:gd name="connsiteX18" fmla="*/ 44387 w 135921"/>
                <a:gd name="connsiteY18" fmla="*/ 13049 h 123539"/>
                <a:gd name="connsiteX19" fmla="*/ 39243 w 135921"/>
                <a:gd name="connsiteY19" fmla="*/ 19717 h 123539"/>
                <a:gd name="connsiteX20" fmla="*/ 24194 w 135921"/>
                <a:gd name="connsiteY20" fmla="*/ 21526 h 123539"/>
                <a:gd name="connsiteX21" fmla="*/ 23241 w 135921"/>
                <a:gd name="connsiteY21" fmla="*/ 21717 h 123539"/>
                <a:gd name="connsiteX22" fmla="*/ 24289 w 135921"/>
                <a:gd name="connsiteY22" fmla="*/ 29051 h 123539"/>
                <a:gd name="connsiteX23" fmla="*/ 19812 w 135921"/>
                <a:gd name="connsiteY23" fmla="*/ 30861 h 123539"/>
                <a:gd name="connsiteX24" fmla="*/ 16764 w 135921"/>
                <a:gd name="connsiteY24" fmla="*/ 40291 h 123539"/>
                <a:gd name="connsiteX25" fmla="*/ 11335 w 135921"/>
                <a:gd name="connsiteY25" fmla="*/ 41529 h 123539"/>
                <a:gd name="connsiteX26" fmla="*/ 12383 w 135921"/>
                <a:gd name="connsiteY26" fmla="*/ 46768 h 123539"/>
                <a:gd name="connsiteX27" fmla="*/ 6477 w 135921"/>
                <a:gd name="connsiteY27" fmla="*/ 49054 h 123539"/>
                <a:gd name="connsiteX28" fmla="*/ 3334 w 135921"/>
                <a:gd name="connsiteY28" fmla="*/ 44958 h 123539"/>
                <a:gd name="connsiteX29" fmla="*/ 0 w 135921"/>
                <a:gd name="connsiteY29" fmla="*/ 46196 h 123539"/>
                <a:gd name="connsiteX30" fmla="*/ 0 w 135921"/>
                <a:gd name="connsiteY30" fmla="*/ 46196 h 123539"/>
                <a:gd name="connsiteX31" fmla="*/ 26670 w 135921"/>
                <a:gd name="connsiteY31" fmla="*/ 80391 h 123539"/>
                <a:gd name="connsiteX32" fmla="*/ 51626 w 135921"/>
                <a:gd name="connsiteY32" fmla="*/ 75629 h 123539"/>
                <a:gd name="connsiteX33" fmla="*/ 67913 w 135921"/>
                <a:gd name="connsiteY33" fmla="*/ 83820 h 123539"/>
                <a:gd name="connsiteX34" fmla="*/ 46768 w 135921"/>
                <a:gd name="connsiteY34" fmla="*/ 82296 h 123539"/>
                <a:gd name="connsiteX35" fmla="*/ 25622 w 135921"/>
                <a:gd name="connsiteY35" fmla="*/ 90488 h 123539"/>
                <a:gd name="connsiteX36" fmla="*/ 46482 w 135921"/>
                <a:gd name="connsiteY36" fmla="*/ 109156 h 123539"/>
                <a:gd name="connsiteX37" fmla="*/ 49530 w 135921"/>
                <a:gd name="connsiteY37" fmla="*/ 123539 h 123539"/>
                <a:gd name="connsiteX38" fmla="*/ 58007 w 135921"/>
                <a:gd name="connsiteY38" fmla="*/ 114014 h 123539"/>
                <a:gd name="connsiteX39" fmla="*/ 67247 w 135921"/>
                <a:gd name="connsiteY39" fmla="*/ 122206 h 123539"/>
                <a:gd name="connsiteX40" fmla="*/ 57722 w 135921"/>
                <a:gd name="connsiteY40" fmla="*/ 96869 h 123539"/>
                <a:gd name="connsiteX41" fmla="*/ 84487 w 135921"/>
                <a:gd name="connsiteY41" fmla="*/ 82677 h 123539"/>
                <a:gd name="connsiteX42" fmla="*/ 64008 w 135921"/>
                <a:gd name="connsiteY42" fmla="*/ 70295 h 123539"/>
                <a:gd name="connsiteX43" fmla="*/ 53721 w 135921"/>
                <a:gd name="connsiteY43" fmla="*/ 68104 h 123539"/>
                <a:gd name="connsiteX44" fmla="*/ 55721 w 135921"/>
                <a:gd name="connsiteY44" fmla="*/ 58674 h 123539"/>
                <a:gd name="connsiteX45" fmla="*/ 71152 w 135921"/>
                <a:gd name="connsiteY45" fmla="*/ 59341 h 123539"/>
                <a:gd name="connsiteX46" fmla="*/ 54674 w 135921"/>
                <a:gd name="connsiteY46" fmla="*/ 42386 h 123539"/>
                <a:gd name="connsiteX47" fmla="*/ 55054 w 135921"/>
                <a:gd name="connsiteY47" fmla="*/ 30861 h 123539"/>
                <a:gd name="connsiteX48" fmla="*/ 62960 w 135921"/>
                <a:gd name="connsiteY48" fmla="*/ 24574 h 123539"/>
                <a:gd name="connsiteX49" fmla="*/ 80486 w 135921"/>
                <a:gd name="connsiteY49" fmla="*/ 38290 h 123539"/>
                <a:gd name="connsiteX50" fmla="*/ 78962 w 135921"/>
                <a:gd name="connsiteY50" fmla="*/ 21336 h 123539"/>
                <a:gd name="connsiteX51" fmla="*/ 105537 w 135921"/>
                <a:gd name="connsiteY51" fmla="*/ 17431 h 123539"/>
                <a:gd name="connsiteX52" fmla="*/ 123539 w 135921"/>
                <a:gd name="connsiteY52" fmla="*/ 24574 h 123539"/>
                <a:gd name="connsiteX53" fmla="*/ 130778 w 135921"/>
                <a:gd name="connsiteY53" fmla="*/ 19145 h 123539"/>
                <a:gd name="connsiteX54" fmla="*/ 130493 w 135921"/>
                <a:gd name="connsiteY54" fmla="*/ 13716 h 123539"/>
                <a:gd name="connsiteX55" fmla="*/ 135922 w 135921"/>
                <a:gd name="connsiteY55" fmla="*/ 10573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5921" h="123539">
                  <a:moveTo>
                    <a:pt x="135922" y="10573"/>
                  </a:moveTo>
                  <a:lnTo>
                    <a:pt x="135160" y="4191"/>
                  </a:lnTo>
                  <a:lnTo>
                    <a:pt x="131064" y="0"/>
                  </a:lnTo>
                  <a:lnTo>
                    <a:pt x="128969" y="0"/>
                  </a:lnTo>
                  <a:lnTo>
                    <a:pt x="122492" y="0"/>
                  </a:lnTo>
                  <a:lnTo>
                    <a:pt x="126397" y="7048"/>
                  </a:lnTo>
                  <a:lnTo>
                    <a:pt x="124873" y="9239"/>
                  </a:lnTo>
                  <a:lnTo>
                    <a:pt x="107823" y="11144"/>
                  </a:lnTo>
                  <a:lnTo>
                    <a:pt x="102108" y="6382"/>
                  </a:lnTo>
                  <a:lnTo>
                    <a:pt x="98584" y="9906"/>
                  </a:lnTo>
                  <a:lnTo>
                    <a:pt x="93345" y="3238"/>
                  </a:lnTo>
                  <a:lnTo>
                    <a:pt x="85344" y="3810"/>
                  </a:lnTo>
                  <a:lnTo>
                    <a:pt x="82772" y="7620"/>
                  </a:lnTo>
                  <a:lnTo>
                    <a:pt x="69914" y="8001"/>
                  </a:lnTo>
                  <a:lnTo>
                    <a:pt x="67056" y="10858"/>
                  </a:lnTo>
                  <a:lnTo>
                    <a:pt x="62484" y="10096"/>
                  </a:lnTo>
                  <a:lnTo>
                    <a:pt x="59055" y="9525"/>
                  </a:lnTo>
                  <a:lnTo>
                    <a:pt x="57245" y="14954"/>
                  </a:lnTo>
                  <a:lnTo>
                    <a:pt x="44387" y="13049"/>
                  </a:lnTo>
                  <a:lnTo>
                    <a:pt x="39243" y="19717"/>
                  </a:lnTo>
                  <a:lnTo>
                    <a:pt x="24194" y="21526"/>
                  </a:lnTo>
                  <a:lnTo>
                    <a:pt x="23241" y="21717"/>
                  </a:lnTo>
                  <a:lnTo>
                    <a:pt x="24289" y="29051"/>
                  </a:lnTo>
                  <a:lnTo>
                    <a:pt x="19812" y="30861"/>
                  </a:lnTo>
                  <a:lnTo>
                    <a:pt x="16764" y="40291"/>
                  </a:lnTo>
                  <a:lnTo>
                    <a:pt x="11335" y="41529"/>
                  </a:lnTo>
                  <a:lnTo>
                    <a:pt x="12383" y="46768"/>
                  </a:lnTo>
                  <a:lnTo>
                    <a:pt x="6477" y="49054"/>
                  </a:lnTo>
                  <a:lnTo>
                    <a:pt x="3334" y="44958"/>
                  </a:lnTo>
                  <a:lnTo>
                    <a:pt x="0" y="46196"/>
                  </a:lnTo>
                  <a:lnTo>
                    <a:pt x="0" y="46196"/>
                  </a:lnTo>
                  <a:lnTo>
                    <a:pt x="26670" y="80391"/>
                  </a:lnTo>
                  <a:lnTo>
                    <a:pt x="51626" y="75629"/>
                  </a:lnTo>
                  <a:lnTo>
                    <a:pt x="67913" y="83820"/>
                  </a:lnTo>
                  <a:lnTo>
                    <a:pt x="46768" y="82296"/>
                  </a:lnTo>
                  <a:lnTo>
                    <a:pt x="25622" y="90488"/>
                  </a:lnTo>
                  <a:lnTo>
                    <a:pt x="46482" y="109156"/>
                  </a:lnTo>
                  <a:lnTo>
                    <a:pt x="49530" y="123539"/>
                  </a:lnTo>
                  <a:lnTo>
                    <a:pt x="58007" y="114014"/>
                  </a:lnTo>
                  <a:lnTo>
                    <a:pt x="67247" y="122206"/>
                  </a:lnTo>
                  <a:lnTo>
                    <a:pt x="57722" y="96869"/>
                  </a:lnTo>
                  <a:lnTo>
                    <a:pt x="84487" y="82677"/>
                  </a:lnTo>
                  <a:lnTo>
                    <a:pt x="64008" y="70295"/>
                  </a:lnTo>
                  <a:lnTo>
                    <a:pt x="53721" y="68104"/>
                  </a:lnTo>
                  <a:lnTo>
                    <a:pt x="55721" y="58674"/>
                  </a:lnTo>
                  <a:lnTo>
                    <a:pt x="71152" y="59341"/>
                  </a:lnTo>
                  <a:lnTo>
                    <a:pt x="54674" y="42386"/>
                  </a:lnTo>
                  <a:lnTo>
                    <a:pt x="55054" y="30861"/>
                  </a:lnTo>
                  <a:lnTo>
                    <a:pt x="62960" y="24574"/>
                  </a:lnTo>
                  <a:lnTo>
                    <a:pt x="80486" y="38290"/>
                  </a:lnTo>
                  <a:lnTo>
                    <a:pt x="78962" y="21336"/>
                  </a:lnTo>
                  <a:lnTo>
                    <a:pt x="105537" y="17431"/>
                  </a:lnTo>
                  <a:lnTo>
                    <a:pt x="123539" y="24574"/>
                  </a:lnTo>
                  <a:lnTo>
                    <a:pt x="130778" y="19145"/>
                  </a:lnTo>
                  <a:lnTo>
                    <a:pt x="130493" y="13716"/>
                  </a:lnTo>
                  <a:lnTo>
                    <a:pt x="135922" y="1057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5" name="Freeform: Shape 2845">
              <a:extLst>
                <a:ext uri="{FF2B5EF4-FFF2-40B4-BE49-F238E27FC236}">
                  <a16:creationId xmlns:a16="http://schemas.microsoft.com/office/drawing/2014/main" id="{17F7FE5C-E580-CBE2-2F9B-D86F46652841}"/>
                </a:ext>
              </a:extLst>
            </p:cNvPr>
            <p:cNvSpPr/>
            <p:nvPr/>
          </p:nvSpPr>
          <p:spPr>
            <a:xfrm>
              <a:off x="2252662" y="3789743"/>
              <a:ext cx="12668" cy="14573"/>
            </a:xfrm>
            <a:custGeom>
              <a:avLst/>
              <a:gdLst>
                <a:gd name="connsiteX0" fmla="*/ 7239 w 12668"/>
                <a:gd name="connsiteY0" fmla="*/ 0 h 14573"/>
                <a:gd name="connsiteX1" fmla="*/ 12668 w 12668"/>
                <a:gd name="connsiteY1" fmla="*/ 9335 h 14573"/>
                <a:gd name="connsiteX2" fmla="*/ 8192 w 12668"/>
                <a:gd name="connsiteY2" fmla="*/ 14574 h 14573"/>
                <a:gd name="connsiteX3" fmla="*/ 0 w 12668"/>
                <a:gd name="connsiteY3" fmla="*/ 10478 h 14573"/>
                <a:gd name="connsiteX4" fmla="*/ 7239 w 12668"/>
                <a:gd name="connsiteY4" fmla="*/ 0 h 14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8" h="14573">
                  <a:moveTo>
                    <a:pt x="7239" y="0"/>
                  </a:moveTo>
                  <a:lnTo>
                    <a:pt x="12668" y="9335"/>
                  </a:lnTo>
                  <a:lnTo>
                    <a:pt x="8192" y="14574"/>
                  </a:lnTo>
                  <a:lnTo>
                    <a:pt x="0" y="10478"/>
                  </a:lnTo>
                  <a:lnTo>
                    <a:pt x="723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6" name="Freeform: Shape 2846">
              <a:extLst>
                <a:ext uri="{FF2B5EF4-FFF2-40B4-BE49-F238E27FC236}">
                  <a16:creationId xmlns:a16="http://schemas.microsoft.com/office/drawing/2014/main" id="{6F96BDD1-0D3C-5047-8224-2CFEE53781A6}"/>
                </a:ext>
              </a:extLst>
            </p:cNvPr>
            <p:cNvSpPr/>
            <p:nvPr/>
          </p:nvSpPr>
          <p:spPr>
            <a:xfrm>
              <a:off x="1862137" y="3395122"/>
              <a:ext cx="180212" cy="201644"/>
            </a:xfrm>
            <a:custGeom>
              <a:avLst/>
              <a:gdLst>
                <a:gd name="connsiteX0" fmla="*/ 178213 w 180212"/>
                <a:gd name="connsiteY0" fmla="*/ 94012 h 201644"/>
                <a:gd name="connsiteX1" fmla="*/ 172784 w 180212"/>
                <a:gd name="connsiteY1" fmla="*/ 90773 h 201644"/>
                <a:gd name="connsiteX2" fmla="*/ 171260 w 180212"/>
                <a:gd name="connsiteY2" fmla="*/ 84677 h 201644"/>
                <a:gd name="connsiteX3" fmla="*/ 174879 w 180212"/>
                <a:gd name="connsiteY3" fmla="*/ 77153 h 201644"/>
                <a:gd name="connsiteX4" fmla="*/ 169926 w 180212"/>
                <a:gd name="connsiteY4" fmla="*/ 69628 h 201644"/>
                <a:gd name="connsiteX5" fmla="*/ 172021 w 180212"/>
                <a:gd name="connsiteY5" fmla="*/ 63246 h 201644"/>
                <a:gd name="connsiteX6" fmla="*/ 160401 w 180212"/>
                <a:gd name="connsiteY6" fmla="*/ 55626 h 201644"/>
                <a:gd name="connsiteX7" fmla="*/ 165830 w 180212"/>
                <a:gd name="connsiteY7" fmla="*/ 49911 h 201644"/>
                <a:gd name="connsiteX8" fmla="*/ 168116 w 180212"/>
                <a:gd name="connsiteY8" fmla="*/ 43529 h 201644"/>
                <a:gd name="connsiteX9" fmla="*/ 164497 w 180212"/>
                <a:gd name="connsiteY9" fmla="*/ 32004 h 201644"/>
                <a:gd name="connsiteX10" fmla="*/ 164497 w 180212"/>
                <a:gd name="connsiteY10" fmla="*/ 32004 h 201644"/>
                <a:gd name="connsiteX11" fmla="*/ 158496 w 180212"/>
                <a:gd name="connsiteY11" fmla="*/ 27242 h 201644"/>
                <a:gd name="connsiteX12" fmla="*/ 161639 w 180212"/>
                <a:gd name="connsiteY12" fmla="*/ 22098 h 201644"/>
                <a:gd name="connsiteX13" fmla="*/ 146209 w 180212"/>
                <a:gd name="connsiteY13" fmla="*/ 18098 h 201644"/>
                <a:gd name="connsiteX14" fmla="*/ 153162 w 180212"/>
                <a:gd name="connsiteY14" fmla="*/ 10954 h 201644"/>
                <a:gd name="connsiteX15" fmla="*/ 145733 w 180212"/>
                <a:gd name="connsiteY15" fmla="*/ 5239 h 201644"/>
                <a:gd name="connsiteX16" fmla="*/ 140303 w 180212"/>
                <a:gd name="connsiteY16" fmla="*/ 12859 h 201644"/>
                <a:gd name="connsiteX17" fmla="*/ 130778 w 180212"/>
                <a:gd name="connsiteY17" fmla="*/ 11430 h 201644"/>
                <a:gd name="connsiteX18" fmla="*/ 122492 w 180212"/>
                <a:gd name="connsiteY18" fmla="*/ 22003 h 201644"/>
                <a:gd name="connsiteX19" fmla="*/ 98393 w 180212"/>
                <a:gd name="connsiteY19" fmla="*/ 26099 h 201644"/>
                <a:gd name="connsiteX20" fmla="*/ 79915 w 180212"/>
                <a:gd name="connsiteY20" fmla="*/ 3620 h 201644"/>
                <a:gd name="connsiteX21" fmla="*/ 69628 w 180212"/>
                <a:gd name="connsiteY21" fmla="*/ 2286 h 201644"/>
                <a:gd name="connsiteX22" fmla="*/ 56579 w 180212"/>
                <a:gd name="connsiteY22" fmla="*/ 0 h 201644"/>
                <a:gd name="connsiteX23" fmla="*/ 59912 w 180212"/>
                <a:gd name="connsiteY23" fmla="*/ 20574 h 201644"/>
                <a:gd name="connsiteX24" fmla="*/ 70485 w 180212"/>
                <a:gd name="connsiteY24" fmla="*/ 32480 h 201644"/>
                <a:gd name="connsiteX25" fmla="*/ 54007 w 180212"/>
                <a:gd name="connsiteY25" fmla="*/ 27432 h 201644"/>
                <a:gd name="connsiteX26" fmla="*/ 49340 w 180212"/>
                <a:gd name="connsiteY26" fmla="*/ 41053 h 201644"/>
                <a:gd name="connsiteX27" fmla="*/ 39052 w 180212"/>
                <a:gd name="connsiteY27" fmla="*/ 29909 h 201644"/>
                <a:gd name="connsiteX28" fmla="*/ 25337 w 180212"/>
                <a:gd name="connsiteY28" fmla="*/ 31337 h 201644"/>
                <a:gd name="connsiteX29" fmla="*/ 25337 w 180212"/>
                <a:gd name="connsiteY29" fmla="*/ 53054 h 201644"/>
                <a:gd name="connsiteX30" fmla="*/ 22479 w 180212"/>
                <a:gd name="connsiteY30" fmla="*/ 57626 h 201644"/>
                <a:gd name="connsiteX31" fmla="*/ 22479 w 180212"/>
                <a:gd name="connsiteY31" fmla="*/ 61913 h 201644"/>
                <a:gd name="connsiteX32" fmla="*/ 15621 w 180212"/>
                <a:gd name="connsiteY32" fmla="*/ 61055 h 201644"/>
                <a:gd name="connsiteX33" fmla="*/ 14478 w 180212"/>
                <a:gd name="connsiteY33" fmla="*/ 66770 h 201644"/>
                <a:gd name="connsiteX34" fmla="*/ 23241 w 180212"/>
                <a:gd name="connsiteY34" fmla="*/ 69723 h 201644"/>
                <a:gd name="connsiteX35" fmla="*/ 23241 w 180212"/>
                <a:gd name="connsiteY35" fmla="*/ 72962 h 201644"/>
                <a:gd name="connsiteX36" fmla="*/ 15621 w 180212"/>
                <a:gd name="connsiteY36" fmla="*/ 77724 h 201644"/>
                <a:gd name="connsiteX37" fmla="*/ 18002 w 180212"/>
                <a:gd name="connsiteY37" fmla="*/ 82582 h 201644"/>
                <a:gd name="connsiteX38" fmla="*/ 10477 w 180212"/>
                <a:gd name="connsiteY38" fmla="*/ 84963 h 201644"/>
                <a:gd name="connsiteX39" fmla="*/ 3905 w 180212"/>
                <a:gd name="connsiteY39" fmla="*/ 82582 h 201644"/>
                <a:gd name="connsiteX40" fmla="*/ 0 w 180212"/>
                <a:gd name="connsiteY40" fmla="*/ 86392 h 201644"/>
                <a:gd name="connsiteX41" fmla="*/ 7525 w 180212"/>
                <a:gd name="connsiteY41" fmla="*/ 95917 h 201644"/>
                <a:gd name="connsiteX42" fmla="*/ 1524 w 180212"/>
                <a:gd name="connsiteY42" fmla="*/ 106680 h 201644"/>
                <a:gd name="connsiteX43" fmla="*/ 4477 w 180212"/>
                <a:gd name="connsiteY43" fmla="*/ 110490 h 201644"/>
                <a:gd name="connsiteX44" fmla="*/ 1905 w 180212"/>
                <a:gd name="connsiteY44" fmla="*/ 116396 h 201644"/>
                <a:gd name="connsiteX45" fmla="*/ 6763 w 180212"/>
                <a:gd name="connsiteY45" fmla="*/ 117920 h 201644"/>
                <a:gd name="connsiteX46" fmla="*/ 5620 w 180212"/>
                <a:gd name="connsiteY46" fmla="*/ 121253 h 201644"/>
                <a:gd name="connsiteX47" fmla="*/ 8954 w 180212"/>
                <a:gd name="connsiteY47" fmla="*/ 123063 h 201644"/>
                <a:gd name="connsiteX48" fmla="*/ 9811 w 180212"/>
                <a:gd name="connsiteY48" fmla="*/ 126873 h 201644"/>
                <a:gd name="connsiteX49" fmla="*/ 5429 w 180212"/>
                <a:gd name="connsiteY49" fmla="*/ 131159 h 201644"/>
                <a:gd name="connsiteX50" fmla="*/ 5429 w 180212"/>
                <a:gd name="connsiteY50" fmla="*/ 135255 h 201644"/>
                <a:gd name="connsiteX51" fmla="*/ 8858 w 180212"/>
                <a:gd name="connsiteY51" fmla="*/ 138589 h 201644"/>
                <a:gd name="connsiteX52" fmla="*/ 12954 w 180212"/>
                <a:gd name="connsiteY52" fmla="*/ 138589 h 201644"/>
                <a:gd name="connsiteX53" fmla="*/ 12954 w 180212"/>
                <a:gd name="connsiteY53" fmla="*/ 142399 h 201644"/>
                <a:gd name="connsiteX54" fmla="*/ 8477 w 180212"/>
                <a:gd name="connsiteY54" fmla="*/ 148495 h 201644"/>
                <a:gd name="connsiteX55" fmla="*/ 8477 w 180212"/>
                <a:gd name="connsiteY55" fmla="*/ 148495 h 201644"/>
                <a:gd name="connsiteX56" fmla="*/ 11716 w 180212"/>
                <a:gd name="connsiteY56" fmla="*/ 147923 h 201644"/>
                <a:gd name="connsiteX57" fmla="*/ 17145 w 180212"/>
                <a:gd name="connsiteY57" fmla="*/ 157448 h 201644"/>
                <a:gd name="connsiteX58" fmla="*/ 21241 w 180212"/>
                <a:gd name="connsiteY58" fmla="*/ 153924 h 201644"/>
                <a:gd name="connsiteX59" fmla="*/ 24384 w 180212"/>
                <a:gd name="connsiteY59" fmla="*/ 156877 h 201644"/>
                <a:gd name="connsiteX60" fmla="*/ 30861 w 180212"/>
                <a:gd name="connsiteY60" fmla="*/ 154877 h 201644"/>
                <a:gd name="connsiteX61" fmla="*/ 34671 w 180212"/>
                <a:gd name="connsiteY61" fmla="*/ 158687 h 201644"/>
                <a:gd name="connsiteX62" fmla="*/ 41624 w 180212"/>
                <a:gd name="connsiteY62" fmla="*/ 157448 h 201644"/>
                <a:gd name="connsiteX63" fmla="*/ 47815 w 180212"/>
                <a:gd name="connsiteY63" fmla="*/ 160592 h 201644"/>
                <a:gd name="connsiteX64" fmla="*/ 37052 w 180212"/>
                <a:gd name="connsiteY64" fmla="*/ 170117 h 201644"/>
                <a:gd name="connsiteX65" fmla="*/ 36004 w 180212"/>
                <a:gd name="connsiteY65" fmla="*/ 176784 h 201644"/>
                <a:gd name="connsiteX66" fmla="*/ 32385 w 180212"/>
                <a:gd name="connsiteY66" fmla="*/ 181547 h 201644"/>
                <a:gd name="connsiteX67" fmla="*/ 33909 w 180212"/>
                <a:gd name="connsiteY67" fmla="*/ 185071 h 201644"/>
                <a:gd name="connsiteX68" fmla="*/ 32385 w 180212"/>
                <a:gd name="connsiteY68" fmla="*/ 191167 h 201644"/>
                <a:gd name="connsiteX69" fmla="*/ 33909 w 180212"/>
                <a:gd name="connsiteY69" fmla="*/ 194691 h 201644"/>
                <a:gd name="connsiteX70" fmla="*/ 40958 w 180212"/>
                <a:gd name="connsiteY70" fmla="*/ 194691 h 201644"/>
                <a:gd name="connsiteX71" fmla="*/ 45244 w 180212"/>
                <a:gd name="connsiteY71" fmla="*/ 193072 h 201644"/>
                <a:gd name="connsiteX72" fmla="*/ 53340 w 180212"/>
                <a:gd name="connsiteY72" fmla="*/ 194501 h 201644"/>
                <a:gd name="connsiteX73" fmla="*/ 49340 w 180212"/>
                <a:gd name="connsiteY73" fmla="*/ 190214 h 201644"/>
                <a:gd name="connsiteX74" fmla="*/ 53626 w 180212"/>
                <a:gd name="connsiteY74" fmla="*/ 187357 h 201644"/>
                <a:gd name="connsiteX75" fmla="*/ 60008 w 180212"/>
                <a:gd name="connsiteY75" fmla="*/ 192310 h 201644"/>
                <a:gd name="connsiteX76" fmla="*/ 67532 w 180212"/>
                <a:gd name="connsiteY76" fmla="*/ 192310 h 201644"/>
                <a:gd name="connsiteX77" fmla="*/ 71723 w 180212"/>
                <a:gd name="connsiteY77" fmla="*/ 195929 h 201644"/>
                <a:gd name="connsiteX78" fmla="*/ 71723 w 180212"/>
                <a:gd name="connsiteY78" fmla="*/ 195929 h 201644"/>
                <a:gd name="connsiteX79" fmla="*/ 79248 w 180212"/>
                <a:gd name="connsiteY79" fmla="*/ 192786 h 201644"/>
                <a:gd name="connsiteX80" fmla="*/ 86392 w 180212"/>
                <a:gd name="connsiteY80" fmla="*/ 201644 h 201644"/>
                <a:gd name="connsiteX81" fmla="*/ 90011 w 180212"/>
                <a:gd name="connsiteY81" fmla="*/ 194024 h 201644"/>
                <a:gd name="connsiteX82" fmla="*/ 98298 w 180212"/>
                <a:gd name="connsiteY82" fmla="*/ 195929 h 201644"/>
                <a:gd name="connsiteX83" fmla="*/ 103727 w 180212"/>
                <a:gd name="connsiteY83" fmla="*/ 200120 h 201644"/>
                <a:gd name="connsiteX84" fmla="*/ 113252 w 180212"/>
                <a:gd name="connsiteY84" fmla="*/ 194024 h 201644"/>
                <a:gd name="connsiteX85" fmla="*/ 122777 w 180212"/>
                <a:gd name="connsiteY85" fmla="*/ 194024 h 201644"/>
                <a:gd name="connsiteX86" fmla="*/ 127349 w 180212"/>
                <a:gd name="connsiteY86" fmla="*/ 189262 h 201644"/>
                <a:gd name="connsiteX87" fmla="*/ 130778 w 180212"/>
                <a:gd name="connsiteY87" fmla="*/ 193453 h 201644"/>
                <a:gd name="connsiteX88" fmla="*/ 140303 w 180212"/>
                <a:gd name="connsiteY88" fmla="*/ 197834 h 201644"/>
                <a:gd name="connsiteX89" fmla="*/ 142304 w 180212"/>
                <a:gd name="connsiteY89" fmla="*/ 192119 h 201644"/>
                <a:gd name="connsiteX90" fmla="*/ 139256 w 180212"/>
                <a:gd name="connsiteY90" fmla="*/ 189548 h 201644"/>
                <a:gd name="connsiteX91" fmla="*/ 140779 w 180212"/>
                <a:gd name="connsiteY91" fmla="*/ 185738 h 201644"/>
                <a:gd name="connsiteX92" fmla="*/ 135922 w 180212"/>
                <a:gd name="connsiteY92" fmla="*/ 180975 h 201644"/>
                <a:gd name="connsiteX93" fmla="*/ 148019 w 180212"/>
                <a:gd name="connsiteY93" fmla="*/ 175260 h 201644"/>
                <a:gd name="connsiteX94" fmla="*/ 149066 w 180212"/>
                <a:gd name="connsiteY94" fmla="*/ 169831 h 201644"/>
                <a:gd name="connsiteX95" fmla="*/ 154496 w 180212"/>
                <a:gd name="connsiteY95" fmla="*/ 171736 h 201644"/>
                <a:gd name="connsiteX96" fmla="*/ 157067 w 180212"/>
                <a:gd name="connsiteY96" fmla="*/ 165068 h 201644"/>
                <a:gd name="connsiteX97" fmla="*/ 145161 w 180212"/>
                <a:gd name="connsiteY97" fmla="*/ 158401 h 201644"/>
                <a:gd name="connsiteX98" fmla="*/ 142113 w 180212"/>
                <a:gd name="connsiteY98" fmla="*/ 152019 h 201644"/>
                <a:gd name="connsiteX99" fmla="*/ 135350 w 180212"/>
                <a:gd name="connsiteY99" fmla="*/ 151352 h 201644"/>
                <a:gd name="connsiteX100" fmla="*/ 129159 w 180212"/>
                <a:gd name="connsiteY100" fmla="*/ 143066 h 201644"/>
                <a:gd name="connsiteX101" fmla="*/ 131445 w 180212"/>
                <a:gd name="connsiteY101" fmla="*/ 138684 h 201644"/>
                <a:gd name="connsiteX102" fmla="*/ 121920 w 180212"/>
                <a:gd name="connsiteY102" fmla="*/ 129159 h 201644"/>
                <a:gd name="connsiteX103" fmla="*/ 129159 w 180212"/>
                <a:gd name="connsiteY103" fmla="*/ 127730 h 201644"/>
                <a:gd name="connsiteX104" fmla="*/ 136874 w 180212"/>
                <a:gd name="connsiteY104" fmla="*/ 122396 h 201644"/>
                <a:gd name="connsiteX105" fmla="*/ 143351 w 180212"/>
                <a:gd name="connsiteY105" fmla="*/ 123158 h 201644"/>
                <a:gd name="connsiteX106" fmla="*/ 146971 w 180212"/>
                <a:gd name="connsiteY106" fmla="*/ 116681 h 201644"/>
                <a:gd name="connsiteX107" fmla="*/ 151352 w 180212"/>
                <a:gd name="connsiteY107" fmla="*/ 117729 h 201644"/>
                <a:gd name="connsiteX108" fmla="*/ 154115 w 180212"/>
                <a:gd name="connsiteY108" fmla="*/ 113824 h 201644"/>
                <a:gd name="connsiteX109" fmla="*/ 167545 w 180212"/>
                <a:gd name="connsiteY109" fmla="*/ 112014 h 201644"/>
                <a:gd name="connsiteX110" fmla="*/ 167545 w 180212"/>
                <a:gd name="connsiteY110" fmla="*/ 105156 h 201644"/>
                <a:gd name="connsiteX111" fmla="*/ 172688 w 180212"/>
                <a:gd name="connsiteY111" fmla="*/ 111633 h 201644"/>
                <a:gd name="connsiteX112" fmla="*/ 176308 w 180212"/>
                <a:gd name="connsiteY112" fmla="*/ 113443 h 201644"/>
                <a:gd name="connsiteX113" fmla="*/ 180213 w 180212"/>
                <a:gd name="connsiteY113" fmla="*/ 100489 h 20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80212" h="201644">
                  <a:moveTo>
                    <a:pt x="178213" y="94012"/>
                  </a:moveTo>
                  <a:lnTo>
                    <a:pt x="172784" y="90773"/>
                  </a:lnTo>
                  <a:lnTo>
                    <a:pt x="171260" y="84677"/>
                  </a:lnTo>
                  <a:lnTo>
                    <a:pt x="174879" y="77153"/>
                  </a:lnTo>
                  <a:lnTo>
                    <a:pt x="169926" y="69628"/>
                  </a:lnTo>
                  <a:lnTo>
                    <a:pt x="172021" y="63246"/>
                  </a:lnTo>
                  <a:lnTo>
                    <a:pt x="160401" y="55626"/>
                  </a:lnTo>
                  <a:lnTo>
                    <a:pt x="165830" y="49911"/>
                  </a:lnTo>
                  <a:lnTo>
                    <a:pt x="168116" y="43529"/>
                  </a:lnTo>
                  <a:lnTo>
                    <a:pt x="164497" y="32004"/>
                  </a:lnTo>
                  <a:lnTo>
                    <a:pt x="164497" y="32004"/>
                  </a:lnTo>
                  <a:lnTo>
                    <a:pt x="158496" y="27242"/>
                  </a:lnTo>
                  <a:lnTo>
                    <a:pt x="161639" y="22098"/>
                  </a:lnTo>
                  <a:lnTo>
                    <a:pt x="146209" y="18098"/>
                  </a:lnTo>
                  <a:lnTo>
                    <a:pt x="153162" y="10954"/>
                  </a:lnTo>
                  <a:lnTo>
                    <a:pt x="145733" y="5239"/>
                  </a:lnTo>
                  <a:lnTo>
                    <a:pt x="140303" y="12859"/>
                  </a:lnTo>
                  <a:lnTo>
                    <a:pt x="130778" y="11430"/>
                  </a:lnTo>
                  <a:lnTo>
                    <a:pt x="122492" y="22003"/>
                  </a:lnTo>
                  <a:lnTo>
                    <a:pt x="98393" y="26099"/>
                  </a:lnTo>
                  <a:lnTo>
                    <a:pt x="79915" y="3620"/>
                  </a:lnTo>
                  <a:lnTo>
                    <a:pt x="69628" y="2286"/>
                  </a:lnTo>
                  <a:lnTo>
                    <a:pt x="56579" y="0"/>
                  </a:lnTo>
                  <a:lnTo>
                    <a:pt x="59912" y="20574"/>
                  </a:lnTo>
                  <a:lnTo>
                    <a:pt x="70485" y="32480"/>
                  </a:lnTo>
                  <a:lnTo>
                    <a:pt x="54007" y="27432"/>
                  </a:lnTo>
                  <a:lnTo>
                    <a:pt x="49340" y="41053"/>
                  </a:lnTo>
                  <a:lnTo>
                    <a:pt x="39052" y="29909"/>
                  </a:lnTo>
                  <a:lnTo>
                    <a:pt x="25337" y="31337"/>
                  </a:lnTo>
                  <a:lnTo>
                    <a:pt x="25337" y="53054"/>
                  </a:lnTo>
                  <a:lnTo>
                    <a:pt x="22479" y="57626"/>
                  </a:lnTo>
                  <a:lnTo>
                    <a:pt x="22479" y="61913"/>
                  </a:lnTo>
                  <a:lnTo>
                    <a:pt x="15621" y="61055"/>
                  </a:lnTo>
                  <a:lnTo>
                    <a:pt x="14478" y="66770"/>
                  </a:lnTo>
                  <a:lnTo>
                    <a:pt x="23241" y="69723"/>
                  </a:lnTo>
                  <a:lnTo>
                    <a:pt x="23241" y="72962"/>
                  </a:lnTo>
                  <a:lnTo>
                    <a:pt x="15621" y="77724"/>
                  </a:lnTo>
                  <a:lnTo>
                    <a:pt x="18002" y="82582"/>
                  </a:lnTo>
                  <a:lnTo>
                    <a:pt x="10477" y="84963"/>
                  </a:lnTo>
                  <a:lnTo>
                    <a:pt x="3905" y="82582"/>
                  </a:lnTo>
                  <a:lnTo>
                    <a:pt x="0" y="86392"/>
                  </a:lnTo>
                  <a:lnTo>
                    <a:pt x="7525" y="95917"/>
                  </a:lnTo>
                  <a:lnTo>
                    <a:pt x="1524" y="106680"/>
                  </a:lnTo>
                  <a:lnTo>
                    <a:pt x="4477" y="110490"/>
                  </a:lnTo>
                  <a:lnTo>
                    <a:pt x="1905" y="116396"/>
                  </a:lnTo>
                  <a:lnTo>
                    <a:pt x="6763" y="117920"/>
                  </a:lnTo>
                  <a:lnTo>
                    <a:pt x="5620" y="121253"/>
                  </a:lnTo>
                  <a:lnTo>
                    <a:pt x="8954" y="123063"/>
                  </a:lnTo>
                  <a:lnTo>
                    <a:pt x="9811" y="126873"/>
                  </a:lnTo>
                  <a:lnTo>
                    <a:pt x="5429" y="131159"/>
                  </a:lnTo>
                  <a:lnTo>
                    <a:pt x="5429" y="135255"/>
                  </a:lnTo>
                  <a:lnTo>
                    <a:pt x="8858" y="138589"/>
                  </a:lnTo>
                  <a:lnTo>
                    <a:pt x="12954" y="138589"/>
                  </a:lnTo>
                  <a:lnTo>
                    <a:pt x="12954" y="142399"/>
                  </a:lnTo>
                  <a:lnTo>
                    <a:pt x="8477" y="148495"/>
                  </a:lnTo>
                  <a:lnTo>
                    <a:pt x="8477" y="148495"/>
                  </a:lnTo>
                  <a:lnTo>
                    <a:pt x="11716" y="147923"/>
                  </a:lnTo>
                  <a:lnTo>
                    <a:pt x="17145" y="157448"/>
                  </a:lnTo>
                  <a:lnTo>
                    <a:pt x="21241" y="153924"/>
                  </a:lnTo>
                  <a:lnTo>
                    <a:pt x="24384" y="156877"/>
                  </a:lnTo>
                  <a:lnTo>
                    <a:pt x="30861" y="154877"/>
                  </a:lnTo>
                  <a:lnTo>
                    <a:pt x="34671" y="158687"/>
                  </a:lnTo>
                  <a:lnTo>
                    <a:pt x="41624" y="157448"/>
                  </a:lnTo>
                  <a:lnTo>
                    <a:pt x="47815" y="160592"/>
                  </a:lnTo>
                  <a:lnTo>
                    <a:pt x="37052" y="170117"/>
                  </a:lnTo>
                  <a:lnTo>
                    <a:pt x="36004" y="176784"/>
                  </a:lnTo>
                  <a:lnTo>
                    <a:pt x="32385" y="181547"/>
                  </a:lnTo>
                  <a:lnTo>
                    <a:pt x="33909" y="185071"/>
                  </a:lnTo>
                  <a:lnTo>
                    <a:pt x="32385" y="191167"/>
                  </a:lnTo>
                  <a:lnTo>
                    <a:pt x="33909" y="194691"/>
                  </a:lnTo>
                  <a:lnTo>
                    <a:pt x="40958" y="194691"/>
                  </a:lnTo>
                  <a:lnTo>
                    <a:pt x="45244" y="193072"/>
                  </a:lnTo>
                  <a:lnTo>
                    <a:pt x="53340" y="194501"/>
                  </a:lnTo>
                  <a:lnTo>
                    <a:pt x="49340" y="190214"/>
                  </a:lnTo>
                  <a:lnTo>
                    <a:pt x="53626" y="187357"/>
                  </a:lnTo>
                  <a:lnTo>
                    <a:pt x="60008" y="192310"/>
                  </a:lnTo>
                  <a:lnTo>
                    <a:pt x="67532" y="192310"/>
                  </a:lnTo>
                  <a:lnTo>
                    <a:pt x="71723" y="195929"/>
                  </a:lnTo>
                  <a:lnTo>
                    <a:pt x="71723" y="195929"/>
                  </a:lnTo>
                  <a:lnTo>
                    <a:pt x="79248" y="192786"/>
                  </a:lnTo>
                  <a:lnTo>
                    <a:pt x="86392" y="201644"/>
                  </a:lnTo>
                  <a:lnTo>
                    <a:pt x="90011" y="194024"/>
                  </a:lnTo>
                  <a:lnTo>
                    <a:pt x="98298" y="195929"/>
                  </a:lnTo>
                  <a:lnTo>
                    <a:pt x="103727" y="200120"/>
                  </a:lnTo>
                  <a:lnTo>
                    <a:pt x="113252" y="194024"/>
                  </a:lnTo>
                  <a:lnTo>
                    <a:pt x="122777" y="194024"/>
                  </a:lnTo>
                  <a:lnTo>
                    <a:pt x="127349" y="189262"/>
                  </a:lnTo>
                  <a:lnTo>
                    <a:pt x="130778" y="193453"/>
                  </a:lnTo>
                  <a:lnTo>
                    <a:pt x="140303" y="197834"/>
                  </a:lnTo>
                  <a:lnTo>
                    <a:pt x="142304" y="192119"/>
                  </a:lnTo>
                  <a:lnTo>
                    <a:pt x="139256" y="189548"/>
                  </a:lnTo>
                  <a:lnTo>
                    <a:pt x="140779" y="185738"/>
                  </a:lnTo>
                  <a:lnTo>
                    <a:pt x="135922" y="180975"/>
                  </a:lnTo>
                  <a:lnTo>
                    <a:pt x="148019" y="175260"/>
                  </a:lnTo>
                  <a:lnTo>
                    <a:pt x="149066" y="169831"/>
                  </a:lnTo>
                  <a:cubicBezTo>
                    <a:pt x="149066" y="169831"/>
                    <a:pt x="154210" y="172688"/>
                    <a:pt x="154496" y="171736"/>
                  </a:cubicBezTo>
                  <a:cubicBezTo>
                    <a:pt x="154781" y="170783"/>
                    <a:pt x="157067" y="165068"/>
                    <a:pt x="157067" y="165068"/>
                  </a:cubicBezTo>
                  <a:lnTo>
                    <a:pt x="145161" y="158401"/>
                  </a:lnTo>
                  <a:lnTo>
                    <a:pt x="142113" y="152019"/>
                  </a:lnTo>
                  <a:lnTo>
                    <a:pt x="135350" y="151352"/>
                  </a:lnTo>
                  <a:lnTo>
                    <a:pt x="129159" y="143066"/>
                  </a:lnTo>
                  <a:lnTo>
                    <a:pt x="131445" y="138684"/>
                  </a:lnTo>
                  <a:lnTo>
                    <a:pt x="121920" y="129159"/>
                  </a:lnTo>
                  <a:lnTo>
                    <a:pt x="129159" y="127730"/>
                  </a:lnTo>
                  <a:lnTo>
                    <a:pt x="136874" y="122396"/>
                  </a:lnTo>
                  <a:lnTo>
                    <a:pt x="143351" y="123158"/>
                  </a:lnTo>
                  <a:lnTo>
                    <a:pt x="146971" y="116681"/>
                  </a:lnTo>
                  <a:lnTo>
                    <a:pt x="151352" y="117729"/>
                  </a:lnTo>
                  <a:lnTo>
                    <a:pt x="154115" y="113824"/>
                  </a:lnTo>
                  <a:lnTo>
                    <a:pt x="167545" y="112014"/>
                  </a:lnTo>
                  <a:lnTo>
                    <a:pt x="167545" y="105156"/>
                  </a:lnTo>
                  <a:lnTo>
                    <a:pt x="172688" y="111633"/>
                  </a:lnTo>
                  <a:lnTo>
                    <a:pt x="176308" y="113443"/>
                  </a:lnTo>
                  <a:lnTo>
                    <a:pt x="180213" y="10048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7" name="Freeform: Shape 2847">
              <a:extLst>
                <a:ext uri="{FF2B5EF4-FFF2-40B4-BE49-F238E27FC236}">
                  <a16:creationId xmlns:a16="http://schemas.microsoft.com/office/drawing/2014/main" id="{B6B28047-6A02-F711-D7C5-AA2E9ECC005D}"/>
                </a:ext>
              </a:extLst>
            </p:cNvPr>
            <p:cNvSpPr/>
            <p:nvPr/>
          </p:nvSpPr>
          <p:spPr>
            <a:xfrm>
              <a:off x="1916334" y="3695922"/>
              <a:ext cx="15906" cy="41909"/>
            </a:xfrm>
            <a:custGeom>
              <a:avLst/>
              <a:gdLst>
                <a:gd name="connsiteX0" fmla="*/ 14573 w 15906"/>
                <a:gd name="connsiteY0" fmla="*/ 32195 h 41909"/>
                <a:gd name="connsiteX1" fmla="*/ 12763 w 15906"/>
                <a:gd name="connsiteY1" fmla="*/ 23813 h 41909"/>
                <a:gd name="connsiteX2" fmla="*/ 15907 w 15906"/>
                <a:gd name="connsiteY2" fmla="*/ 5715 h 41909"/>
                <a:gd name="connsiteX3" fmla="*/ 12954 w 15906"/>
                <a:gd name="connsiteY3" fmla="*/ 0 h 41909"/>
                <a:gd name="connsiteX4" fmla="*/ 11525 w 15906"/>
                <a:gd name="connsiteY4" fmla="*/ 1238 h 41909"/>
                <a:gd name="connsiteX5" fmla="*/ 11335 w 15906"/>
                <a:gd name="connsiteY5" fmla="*/ 6477 h 41909"/>
                <a:gd name="connsiteX6" fmla="*/ 1333 w 15906"/>
                <a:gd name="connsiteY6" fmla="*/ 8954 h 41909"/>
                <a:gd name="connsiteX7" fmla="*/ 0 w 15906"/>
                <a:gd name="connsiteY7" fmla="*/ 15907 h 41909"/>
                <a:gd name="connsiteX8" fmla="*/ 3810 w 15906"/>
                <a:gd name="connsiteY8" fmla="*/ 22955 h 41909"/>
                <a:gd name="connsiteX9" fmla="*/ 2667 w 15906"/>
                <a:gd name="connsiteY9" fmla="*/ 30766 h 41909"/>
                <a:gd name="connsiteX10" fmla="*/ 5524 w 15906"/>
                <a:gd name="connsiteY10" fmla="*/ 38100 h 41909"/>
                <a:gd name="connsiteX11" fmla="*/ 10763 w 15906"/>
                <a:gd name="connsiteY11" fmla="*/ 41910 h 41909"/>
                <a:gd name="connsiteX12" fmla="*/ 14573 w 15906"/>
                <a:gd name="connsiteY12" fmla="*/ 3219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06" h="41909">
                  <a:moveTo>
                    <a:pt x="14573" y="32195"/>
                  </a:moveTo>
                  <a:lnTo>
                    <a:pt x="12763" y="23813"/>
                  </a:lnTo>
                  <a:lnTo>
                    <a:pt x="15907" y="5715"/>
                  </a:lnTo>
                  <a:lnTo>
                    <a:pt x="12954" y="0"/>
                  </a:lnTo>
                  <a:lnTo>
                    <a:pt x="11525" y="1238"/>
                  </a:lnTo>
                  <a:lnTo>
                    <a:pt x="11335" y="6477"/>
                  </a:lnTo>
                  <a:lnTo>
                    <a:pt x="1333" y="8954"/>
                  </a:lnTo>
                  <a:lnTo>
                    <a:pt x="0" y="15907"/>
                  </a:lnTo>
                  <a:lnTo>
                    <a:pt x="3810" y="22955"/>
                  </a:lnTo>
                  <a:lnTo>
                    <a:pt x="2667" y="30766"/>
                  </a:lnTo>
                  <a:lnTo>
                    <a:pt x="5524" y="38100"/>
                  </a:lnTo>
                  <a:lnTo>
                    <a:pt x="10763" y="41910"/>
                  </a:lnTo>
                  <a:lnTo>
                    <a:pt x="14573" y="3219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8" name="Freeform: Shape 2848">
              <a:extLst>
                <a:ext uri="{FF2B5EF4-FFF2-40B4-BE49-F238E27FC236}">
                  <a16:creationId xmlns:a16="http://schemas.microsoft.com/office/drawing/2014/main" id="{79073531-B083-4706-60EA-EEAFF82996D3}"/>
                </a:ext>
              </a:extLst>
            </p:cNvPr>
            <p:cNvSpPr/>
            <p:nvPr/>
          </p:nvSpPr>
          <p:spPr>
            <a:xfrm>
              <a:off x="1649444" y="3499421"/>
              <a:ext cx="259556" cy="218979"/>
            </a:xfrm>
            <a:custGeom>
              <a:avLst/>
              <a:gdLst>
                <a:gd name="connsiteX0" fmla="*/ 253365 w 259556"/>
                <a:gd name="connsiteY0" fmla="*/ 52578 h 218979"/>
                <a:gd name="connsiteX1" fmla="*/ 246412 w 259556"/>
                <a:gd name="connsiteY1" fmla="*/ 53816 h 218979"/>
                <a:gd name="connsiteX2" fmla="*/ 242602 w 259556"/>
                <a:gd name="connsiteY2" fmla="*/ 50006 h 218979"/>
                <a:gd name="connsiteX3" fmla="*/ 236125 w 259556"/>
                <a:gd name="connsiteY3" fmla="*/ 52006 h 218979"/>
                <a:gd name="connsiteX4" fmla="*/ 232981 w 259556"/>
                <a:gd name="connsiteY4" fmla="*/ 49054 h 218979"/>
                <a:gd name="connsiteX5" fmla="*/ 228886 w 259556"/>
                <a:gd name="connsiteY5" fmla="*/ 52578 h 218979"/>
                <a:gd name="connsiteX6" fmla="*/ 223456 w 259556"/>
                <a:gd name="connsiteY6" fmla="*/ 43339 h 218979"/>
                <a:gd name="connsiteX7" fmla="*/ 220218 w 259556"/>
                <a:gd name="connsiteY7" fmla="*/ 43910 h 218979"/>
                <a:gd name="connsiteX8" fmla="*/ 213931 w 259556"/>
                <a:gd name="connsiteY8" fmla="*/ 44958 h 218979"/>
                <a:gd name="connsiteX9" fmla="*/ 209455 w 259556"/>
                <a:gd name="connsiteY9" fmla="*/ 41624 h 218979"/>
                <a:gd name="connsiteX10" fmla="*/ 209455 w 259556"/>
                <a:gd name="connsiteY10" fmla="*/ 41529 h 218979"/>
                <a:gd name="connsiteX11" fmla="*/ 203835 w 259556"/>
                <a:gd name="connsiteY11" fmla="*/ 43720 h 218979"/>
                <a:gd name="connsiteX12" fmla="*/ 201549 w 259556"/>
                <a:gd name="connsiteY12" fmla="*/ 38862 h 218979"/>
                <a:gd name="connsiteX13" fmla="*/ 191738 w 259556"/>
                <a:gd name="connsiteY13" fmla="*/ 35719 h 218979"/>
                <a:gd name="connsiteX14" fmla="*/ 191262 w 259556"/>
                <a:gd name="connsiteY14" fmla="*/ 24193 h 218979"/>
                <a:gd name="connsiteX15" fmla="*/ 185547 w 259556"/>
                <a:gd name="connsiteY15" fmla="*/ 30575 h 218979"/>
                <a:gd name="connsiteX16" fmla="*/ 176498 w 259556"/>
                <a:gd name="connsiteY16" fmla="*/ 31242 h 218979"/>
                <a:gd name="connsiteX17" fmla="*/ 177546 w 259556"/>
                <a:gd name="connsiteY17" fmla="*/ 22384 h 218979"/>
                <a:gd name="connsiteX18" fmla="*/ 169259 w 259556"/>
                <a:gd name="connsiteY18" fmla="*/ 22003 h 218979"/>
                <a:gd name="connsiteX19" fmla="*/ 166211 w 259556"/>
                <a:gd name="connsiteY19" fmla="*/ 16669 h 218979"/>
                <a:gd name="connsiteX20" fmla="*/ 161068 w 259556"/>
                <a:gd name="connsiteY20" fmla="*/ 16954 h 218979"/>
                <a:gd name="connsiteX21" fmla="*/ 157163 w 259556"/>
                <a:gd name="connsiteY21" fmla="*/ 8001 h 218979"/>
                <a:gd name="connsiteX22" fmla="*/ 151733 w 259556"/>
                <a:gd name="connsiteY22" fmla="*/ 11239 h 218979"/>
                <a:gd name="connsiteX23" fmla="*/ 146875 w 259556"/>
                <a:gd name="connsiteY23" fmla="*/ 8763 h 218979"/>
                <a:gd name="connsiteX24" fmla="*/ 144780 w 259556"/>
                <a:gd name="connsiteY24" fmla="*/ 95 h 218979"/>
                <a:gd name="connsiteX25" fmla="*/ 144685 w 259556"/>
                <a:gd name="connsiteY25" fmla="*/ 0 h 218979"/>
                <a:gd name="connsiteX26" fmla="*/ 129540 w 259556"/>
                <a:gd name="connsiteY26" fmla="*/ 7715 h 218979"/>
                <a:gd name="connsiteX27" fmla="*/ 127730 w 259556"/>
                <a:gd name="connsiteY27" fmla="*/ 26098 h 218979"/>
                <a:gd name="connsiteX28" fmla="*/ 96012 w 259556"/>
                <a:gd name="connsiteY28" fmla="*/ 35052 h 218979"/>
                <a:gd name="connsiteX29" fmla="*/ 104680 w 259556"/>
                <a:gd name="connsiteY29" fmla="*/ 43148 h 218979"/>
                <a:gd name="connsiteX30" fmla="*/ 94774 w 259556"/>
                <a:gd name="connsiteY30" fmla="*/ 46863 h 218979"/>
                <a:gd name="connsiteX31" fmla="*/ 70009 w 259556"/>
                <a:gd name="connsiteY31" fmla="*/ 37814 h 218979"/>
                <a:gd name="connsiteX32" fmla="*/ 56483 w 259556"/>
                <a:gd name="connsiteY32" fmla="*/ 37052 h 218979"/>
                <a:gd name="connsiteX33" fmla="*/ 68009 w 259556"/>
                <a:gd name="connsiteY33" fmla="*/ 64008 h 218979"/>
                <a:gd name="connsiteX34" fmla="*/ 41624 w 259556"/>
                <a:gd name="connsiteY34" fmla="*/ 67246 h 218979"/>
                <a:gd name="connsiteX35" fmla="*/ 31052 w 259556"/>
                <a:gd name="connsiteY35" fmla="*/ 58293 h 218979"/>
                <a:gd name="connsiteX36" fmla="*/ 0 w 259556"/>
                <a:gd name="connsiteY36" fmla="*/ 66770 h 218979"/>
                <a:gd name="connsiteX37" fmla="*/ 8192 w 259556"/>
                <a:gd name="connsiteY37" fmla="*/ 84296 h 218979"/>
                <a:gd name="connsiteX38" fmla="*/ 32671 w 259556"/>
                <a:gd name="connsiteY38" fmla="*/ 85534 h 218979"/>
                <a:gd name="connsiteX39" fmla="*/ 32671 w 259556"/>
                <a:gd name="connsiteY39" fmla="*/ 92488 h 218979"/>
                <a:gd name="connsiteX40" fmla="*/ 41243 w 259556"/>
                <a:gd name="connsiteY40" fmla="*/ 88392 h 218979"/>
                <a:gd name="connsiteX41" fmla="*/ 47911 w 259556"/>
                <a:gd name="connsiteY41" fmla="*/ 91630 h 218979"/>
                <a:gd name="connsiteX42" fmla="*/ 44577 w 259556"/>
                <a:gd name="connsiteY42" fmla="*/ 96583 h 218979"/>
                <a:gd name="connsiteX43" fmla="*/ 56769 w 259556"/>
                <a:gd name="connsiteY43" fmla="*/ 96488 h 218979"/>
                <a:gd name="connsiteX44" fmla="*/ 51911 w 259556"/>
                <a:gd name="connsiteY44" fmla="*/ 100965 h 218979"/>
                <a:gd name="connsiteX45" fmla="*/ 52483 w 259556"/>
                <a:gd name="connsiteY45" fmla="*/ 108013 h 218979"/>
                <a:gd name="connsiteX46" fmla="*/ 72676 w 259556"/>
                <a:gd name="connsiteY46" fmla="*/ 120587 h 218979"/>
                <a:gd name="connsiteX47" fmla="*/ 74295 w 259556"/>
                <a:gd name="connsiteY47" fmla="*/ 160972 h 218979"/>
                <a:gd name="connsiteX48" fmla="*/ 59722 w 259556"/>
                <a:gd name="connsiteY48" fmla="*/ 191929 h 218979"/>
                <a:gd name="connsiteX49" fmla="*/ 66866 w 259556"/>
                <a:gd name="connsiteY49" fmla="*/ 194596 h 218979"/>
                <a:gd name="connsiteX50" fmla="*/ 66580 w 259556"/>
                <a:gd name="connsiteY50" fmla="*/ 199834 h 218979"/>
                <a:gd name="connsiteX51" fmla="*/ 72200 w 259556"/>
                <a:gd name="connsiteY51" fmla="*/ 199168 h 218979"/>
                <a:gd name="connsiteX52" fmla="*/ 80772 w 259556"/>
                <a:gd name="connsiteY52" fmla="*/ 202216 h 218979"/>
                <a:gd name="connsiteX53" fmla="*/ 83630 w 259556"/>
                <a:gd name="connsiteY53" fmla="*/ 206788 h 218979"/>
                <a:gd name="connsiteX54" fmla="*/ 91345 w 259556"/>
                <a:gd name="connsiteY54" fmla="*/ 205359 h 218979"/>
                <a:gd name="connsiteX55" fmla="*/ 95441 w 259556"/>
                <a:gd name="connsiteY55" fmla="*/ 209645 h 218979"/>
                <a:gd name="connsiteX56" fmla="*/ 98584 w 259556"/>
                <a:gd name="connsiteY56" fmla="*/ 207454 h 218979"/>
                <a:gd name="connsiteX57" fmla="*/ 108585 w 259556"/>
                <a:gd name="connsiteY57" fmla="*/ 208883 h 218979"/>
                <a:gd name="connsiteX58" fmla="*/ 109157 w 259556"/>
                <a:gd name="connsiteY58" fmla="*/ 203168 h 218979"/>
                <a:gd name="connsiteX59" fmla="*/ 118110 w 259556"/>
                <a:gd name="connsiteY59" fmla="*/ 207931 h 218979"/>
                <a:gd name="connsiteX60" fmla="*/ 123920 w 259556"/>
                <a:gd name="connsiteY60" fmla="*/ 208883 h 218979"/>
                <a:gd name="connsiteX61" fmla="*/ 125063 w 259556"/>
                <a:gd name="connsiteY61" fmla="*/ 207264 h 218979"/>
                <a:gd name="connsiteX62" fmla="*/ 132969 w 259556"/>
                <a:gd name="connsiteY62" fmla="*/ 210121 h 218979"/>
                <a:gd name="connsiteX63" fmla="*/ 131826 w 259556"/>
                <a:gd name="connsiteY63" fmla="*/ 212788 h 218979"/>
                <a:gd name="connsiteX64" fmla="*/ 135350 w 259556"/>
                <a:gd name="connsiteY64" fmla="*/ 217551 h 218979"/>
                <a:gd name="connsiteX65" fmla="*/ 140684 w 259556"/>
                <a:gd name="connsiteY65" fmla="*/ 214694 h 218979"/>
                <a:gd name="connsiteX66" fmla="*/ 147638 w 259556"/>
                <a:gd name="connsiteY66" fmla="*/ 218980 h 218979"/>
                <a:gd name="connsiteX67" fmla="*/ 149828 w 259556"/>
                <a:gd name="connsiteY67" fmla="*/ 214408 h 218979"/>
                <a:gd name="connsiteX68" fmla="*/ 160020 w 259556"/>
                <a:gd name="connsiteY68" fmla="*/ 215646 h 218979"/>
                <a:gd name="connsiteX69" fmla="*/ 160211 w 259556"/>
                <a:gd name="connsiteY69" fmla="*/ 215551 h 218979"/>
                <a:gd name="connsiteX70" fmla="*/ 154877 w 259556"/>
                <a:gd name="connsiteY70" fmla="*/ 208407 h 218979"/>
                <a:gd name="connsiteX71" fmla="*/ 158687 w 259556"/>
                <a:gd name="connsiteY71" fmla="*/ 195548 h 218979"/>
                <a:gd name="connsiteX72" fmla="*/ 174593 w 259556"/>
                <a:gd name="connsiteY72" fmla="*/ 186023 h 218979"/>
                <a:gd name="connsiteX73" fmla="*/ 216884 w 259556"/>
                <a:gd name="connsiteY73" fmla="*/ 200501 h 218979"/>
                <a:gd name="connsiteX74" fmla="*/ 243459 w 259556"/>
                <a:gd name="connsiteY74" fmla="*/ 183071 h 218979"/>
                <a:gd name="connsiteX75" fmla="*/ 246793 w 259556"/>
                <a:gd name="connsiteY75" fmla="*/ 174974 h 218979"/>
                <a:gd name="connsiteX76" fmla="*/ 245364 w 259556"/>
                <a:gd name="connsiteY76" fmla="*/ 170497 h 218979"/>
                <a:gd name="connsiteX77" fmla="*/ 238792 w 259556"/>
                <a:gd name="connsiteY77" fmla="*/ 173355 h 218979"/>
                <a:gd name="connsiteX78" fmla="*/ 231458 w 259556"/>
                <a:gd name="connsiteY78" fmla="*/ 169259 h 218979"/>
                <a:gd name="connsiteX79" fmla="*/ 229552 w 259556"/>
                <a:gd name="connsiteY79" fmla="*/ 163830 h 218979"/>
                <a:gd name="connsiteX80" fmla="*/ 235363 w 259556"/>
                <a:gd name="connsiteY80" fmla="*/ 160687 h 218979"/>
                <a:gd name="connsiteX81" fmla="*/ 234410 w 259556"/>
                <a:gd name="connsiteY81" fmla="*/ 155924 h 218979"/>
                <a:gd name="connsiteX82" fmla="*/ 227743 w 259556"/>
                <a:gd name="connsiteY82" fmla="*/ 154019 h 218979"/>
                <a:gd name="connsiteX83" fmla="*/ 226219 w 259556"/>
                <a:gd name="connsiteY83" fmla="*/ 149257 h 218979"/>
                <a:gd name="connsiteX84" fmla="*/ 237839 w 259556"/>
                <a:gd name="connsiteY84" fmla="*/ 144208 h 218979"/>
                <a:gd name="connsiteX85" fmla="*/ 233553 w 259556"/>
                <a:gd name="connsiteY85" fmla="*/ 140398 h 218979"/>
                <a:gd name="connsiteX86" fmla="*/ 232981 w 259556"/>
                <a:gd name="connsiteY86" fmla="*/ 137255 h 218979"/>
                <a:gd name="connsiteX87" fmla="*/ 228314 w 259556"/>
                <a:gd name="connsiteY87" fmla="*/ 133731 h 218979"/>
                <a:gd name="connsiteX88" fmla="*/ 233553 w 259556"/>
                <a:gd name="connsiteY88" fmla="*/ 129445 h 218979"/>
                <a:gd name="connsiteX89" fmla="*/ 233648 w 259556"/>
                <a:gd name="connsiteY89" fmla="*/ 129349 h 218979"/>
                <a:gd name="connsiteX90" fmla="*/ 232029 w 259556"/>
                <a:gd name="connsiteY90" fmla="*/ 126968 h 218979"/>
                <a:gd name="connsiteX91" fmla="*/ 228314 w 259556"/>
                <a:gd name="connsiteY91" fmla="*/ 123634 h 218979"/>
                <a:gd name="connsiteX92" fmla="*/ 229934 w 259556"/>
                <a:gd name="connsiteY92" fmla="*/ 117919 h 218979"/>
                <a:gd name="connsiteX93" fmla="*/ 225457 w 259556"/>
                <a:gd name="connsiteY93" fmla="*/ 116491 h 218979"/>
                <a:gd name="connsiteX94" fmla="*/ 220409 w 259556"/>
                <a:gd name="connsiteY94" fmla="*/ 119825 h 218979"/>
                <a:gd name="connsiteX95" fmla="*/ 221171 w 259556"/>
                <a:gd name="connsiteY95" fmla="*/ 123634 h 218979"/>
                <a:gd name="connsiteX96" fmla="*/ 212884 w 259556"/>
                <a:gd name="connsiteY96" fmla="*/ 127540 h 218979"/>
                <a:gd name="connsiteX97" fmla="*/ 211741 w 259556"/>
                <a:gd name="connsiteY97" fmla="*/ 120777 h 218979"/>
                <a:gd name="connsiteX98" fmla="*/ 215360 w 259556"/>
                <a:gd name="connsiteY98" fmla="*/ 120301 h 218979"/>
                <a:gd name="connsiteX99" fmla="*/ 215837 w 259556"/>
                <a:gd name="connsiteY99" fmla="*/ 114109 h 218979"/>
                <a:gd name="connsiteX100" fmla="*/ 221933 w 259556"/>
                <a:gd name="connsiteY100" fmla="*/ 108871 h 218979"/>
                <a:gd name="connsiteX101" fmla="*/ 222218 w 259556"/>
                <a:gd name="connsiteY101" fmla="*/ 104299 h 218979"/>
                <a:gd name="connsiteX102" fmla="*/ 228314 w 259556"/>
                <a:gd name="connsiteY102" fmla="*/ 101441 h 218979"/>
                <a:gd name="connsiteX103" fmla="*/ 233744 w 259556"/>
                <a:gd name="connsiteY103" fmla="*/ 97441 h 218979"/>
                <a:gd name="connsiteX104" fmla="*/ 230505 w 259556"/>
                <a:gd name="connsiteY104" fmla="*/ 94774 h 218979"/>
                <a:gd name="connsiteX105" fmla="*/ 232029 w 259556"/>
                <a:gd name="connsiteY105" fmla="*/ 90488 h 218979"/>
                <a:gd name="connsiteX106" fmla="*/ 237458 w 259556"/>
                <a:gd name="connsiteY106" fmla="*/ 90488 h 218979"/>
                <a:gd name="connsiteX107" fmla="*/ 238792 w 259556"/>
                <a:gd name="connsiteY107" fmla="*/ 93154 h 218979"/>
                <a:gd name="connsiteX108" fmla="*/ 245650 w 259556"/>
                <a:gd name="connsiteY108" fmla="*/ 90202 h 218979"/>
                <a:gd name="connsiteX109" fmla="*/ 244126 w 259556"/>
                <a:gd name="connsiteY109" fmla="*/ 86677 h 218979"/>
                <a:gd name="connsiteX110" fmla="*/ 245650 w 259556"/>
                <a:gd name="connsiteY110" fmla="*/ 80581 h 218979"/>
                <a:gd name="connsiteX111" fmla="*/ 244126 w 259556"/>
                <a:gd name="connsiteY111" fmla="*/ 77057 h 218979"/>
                <a:gd name="connsiteX112" fmla="*/ 247745 w 259556"/>
                <a:gd name="connsiteY112" fmla="*/ 72295 h 218979"/>
                <a:gd name="connsiteX113" fmla="*/ 248698 w 259556"/>
                <a:gd name="connsiteY113" fmla="*/ 65627 h 218979"/>
                <a:gd name="connsiteX114" fmla="*/ 259556 w 259556"/>
                <a:gd name="connsiteY114" fmla="*/ 55817 h 218979"/>
                <a:gd name="connsiteX115" fmla="*/ 253365 w 259556"/>
                <a:gd name="connsiteY115" fmla="*/ 52578 h 21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59556" h="218979">
                  <a:moveTo>
                    <a:pt x="253365" y="52578"/>
                  </a:moveTo>
                  <a:lnTo>
                    <a:pt x="246412" y="53816"/>
                  </a:lnTo>
                  <a:lnTo>
                    <a:pt x="242602" y="50006"/>
                  </a:lnTo>
                  <a:lnTo>
                    <a:pt x="236125" y="52006"/>
                  </a:lnTo>
                  <a:lnTo>
                    <a:pt x="232981" y="49054"/>
                  </a:lnTo>
                  <a:lnTo>
                    <a:pt x="228886" y="52578"/>
                  </a:lnTo>
                  <a:lnTo>
                    <a:pt x="223456" y="43339"/>
                  </a:lnTo>
                  <a:lnTo>
                    <a:pt x="220218" y="43910"/>
                  </a:lnTo>
                  <a:lnTo>
                    <a:pt x="213931" y="44958"/>
                  </a:lnTo>
                  <a:lnTo>
                    <a:pt x="209455" y="41624"/>
                  </a:lnTo>
                  <a:lnTo>
                    <a:pt x="209455" y="41529"/>
                  </a:lnTo>
                  <a:lnTo>
                    <a:pt x="203835" y="43720"/>
                  </a:lnTo>
                  <a:lnTo>
                    <a:pt x="201549" y="38862"/>
                  </a:lnTo>
                  <a:lnTo>
                    <a:pt x="191738" y="35719"/>
                  </a:lnTo>
                  <a:lnTo>
                    <a:pt x="191262" y="24193"/>
                  </a:lnTo>
                  <a:lnTo>
                    <a:pt x="185547" y="30575"/>
                  </a:lnTo>
                  <a:lnTo>
                    <a:pt x="176498" y="31242"/>
                  </a:lnTo>
                  <a:lnTo>
                    <a:pt x="177546" y="22384"/>
                  </a:lnTo>
                  <a:lnTo>
                    <a:pt x="169259" y="22003"/>
                  </a:lnTo>
                  <a:lnTo>
                    <a:pt x="166211" y="16669"/>
                  </a:lnTo>
                  <a:lnTo>
                    <a:pt x="161068" y="16954"/>
                  </a:lnTo>
                  <a:lnTo>
                    <a:pt x="157163" y="8001"/>
                  </a:lnTo>
                  <a:lnTo>
                    <a:pt x="151733" y="11239"/>
                  </a:lnTo>
                  <a:lnTo>
                    <a:pt x="146875" y="8763"/>
                  </a:lnTo>
                  <a:lnTo>
                    <a:pt x="144780" y="95"/>
                  </a:lnTo>
                  <a:lnTo>
                    <a:pt x="144685" y="0"/>
                  </a:lnTo>
                  <a:lnTo>
                    <a:pt x="129540" y="7715"/>
                  </a:lnTo>
                  <a:lnTo>
                    <a:pt x="127730" y="26098"/>
                  </a:lnTo>
                  <a:lnTo>
                    <a:pt x="96012" y="35052"/>
                  </a:lnTo>
                  <a:lnTo>
                    <a:pt x="104680" y="43148"/>
                  </a:lnTo>
                  <a:lnTo>
                    <a:pt x="94774" y="46863"/>
                  </a:lnTo>
                  <a:lnTo>
                    <a:pt x="70009" y="37814"/>
                  </a:lnTo>
                  <a:lnTo>
                    <a:pt x="56483" y="37052"/>
                  </a:lnTo>
                  <a:lnTo>
                    <a:pt x="68009" y="64008"/>
                  </a:lnTo>
                  <a:lnTo>
                    <a:pt x="41624" y="67246"/>
                  </a:lnTo>
                  <a:lnTo>
                    <a:pt x="31052" y="58293"/>
                  </a:lnTo>
                  <a:lnTo>
                    <a:pt x="0" y="66770"/>
                  </a:lnTo>
                  <a:lnTo>
                    <a:pt x="8192" y="84296"/>
                  </a:lnTo>
                  <a:lnTo>
                    <a:pt x="32671" y="85534"/>
                  </a:lnTo>
                  <a:lnTo>
                    <a:pt x="32671" y="92488"/>
                  </a:lnTo>
                  <a:lnTo>
                    <a:pt x="41243" y="88392"/>
                  </a:lnTo>
                  <a:lnTo>
                    <a:pt x="47911" y="91630"/>
                  </a:lnTo>
                  <a:lnTo>
                    <a:pt x="44577" y="96583"/>
                  </a:lnTo>
                  <a:lnTo>
                    <a:pt x="56769" y="96488"/>
                  </a:lnTo>
                  <a:lnTo>
                    <a:pt x="51911" y="100965"/>
                  </a:lnTo>
                  <a:lnTo>
                    <a:pt x="52483" y="108013"/>
                  </a:lnTo>
                  <a:lnTo>
                    <a:pt x="72676" y="120587"/>
                  </a:lnTo>
                  <a:lnTo>
                    <a:pt x="74295" y="160972"/>
                  </a:lnTo>
                  <a:lnTo>
                    <a:pt x="59722" y="191929"/>
                  </a:lnTo>
                  <a:lnTo>
                    <a:pt x="66866" y="194596"/>
                  </a:lnTo>
                  <a:lnTo>
                    <a:pt x="66580" y="199834"/>
                  </a:lnTo>
                  <a:lnTo>
                    <a:pt x="72200" y="199168"/>
                  </a:lnTo>
                  <a:lnTo>
                    <a:pt x="80772" y="202216"/>
                  </a:lnTo>
                  <a:lnTo>
                    <a:pt x="83630" y="206788"/>
                  </a:lnTo>
                  <a:lnTo>
                    <a:pt x="91345" y="205359"/>
                  </a:lnTo>
                  <a:lnTo>
                    <a:pt x="95441" y="209645"/>
                  </a:lnTo>
                  <a:lnTo>
                    <a:pt x="98584" y="207454"/>
                  </a:lnTo>
                  <a:lnTo>
                    <a:pt x="108585" y="208883"/>
                  </a:lnTo>
                  <a:lnTo>
                    <a:pt x="109157" y="203168"/>
                  </a:lnTo>
                  <a:lnTo>
                    <a:pt x="118110" y="207931"/>
                  </a:lnTo>
                  <a:lnTo>
                    <a:pt x="123920" y="208883"/>
                  </a:lnTo>
                  <a:lnTo>
                    <a:pt x="125063" y="207264"/>
                  </a:lnTo>
                  <a:lnTo>
                    <a:pt x="132969" y="210121"/>
                  </a:lnTo>
                  <a:lnTo>
                    <a:pt x="131826" y="212788"/>
                  </a:lnTo>
                  <a:lnTo>
                    <a:pt x="135350" y="217551"/>
                  </a:lnTo>
                  <a:lnTo>
                    <a:pt x="140684" y="214694"/>
                  </a:lnTo>
                  <a:lnTo>
                    <a:pt x="147638" y="218980"/>
                  </a:lnTo>
                  <a:lnTo>
                    <a:pt x="149828" y="214408"/>
                  </a:lnTo>
                  <a:lnTo>
                    <a:pt x="160020" y="215646"/>
                  </a:lnTo>
                  <a:lnTo>
                    <a:pt x="160211" y="215551"/>
                  </a:lnTo>
                  <a:lnTo>
                    <a:pt x="154877" y="208407"/>
                  </a:lnTo>
                  <a:lnTo>
                    <a:pt x="158687" y="195548"/>
                  </a:lnTo>
                  <a:lnTo>
                    <a:pt x="174593" y="186023"/>
                  </a:lnTo>
                  <a:lnTo>
                    <a:pt x="216884" y="200501"/>
                  </a:lnTo>
                  <a:lnTo>
                    <a:pt x="243459" y="183071"/>
                  </a:lnTo>
                  <a:lnTo>
                    <a:pt x="246793" y="174974"/>
                  </a:lnTo>
                  <a:lnTo>
                    <a:pt x="245364" y="170497"/>
                  </a:lnTo>
                  <a:lnTo>
                    <a:pt x="238792" y="173355"/>
                  </a:lnTo>
                  <a:lnTo>
                    <a:pt x="231458" y="169259"/>
                  </a:lnTo>
                  <a:lnTo>
                    <a:pt x="229552" y="163830"/>
                  </a:lnTo>
                  <a:lnTo>
                    <a:pt x="235363" y="160687"/>
                  </a:lnTo>
                  <a:lnTo>
                    <a:pt x="234410" y="155924"/>
                  </a:lnTo>
                  <a:lnTo>
                    <a:pt x="227743" y="154019"/>
                  </a:lnTo>
                  <a:lnTo>
                    <a:pt x="226219" y="149257"/>
                  </a:lnTo>
                  <a:lnTo>
                    <a:pt x="237839" y="144208"/>
                  </a:lnTo>
                  <a:lnTo>
                    <a:pt x="233553" y="140398"/>
                  </a:lnTo>
                  <a:lnTo>
                    <a:pt x="232981" y="137255"/>
                  </a:lnTo>
                  <a:lnTo>
                    <a:pt x="228314" y="133731"/>
                  </a:lnTo>
                  <a:lnTo>
                    <a:pt x="233553" y="129445"/>
                  </a:lnTo>
                  <a:lnTo>
                    <a:pt x="233648" y="129349"/>
                  </a:lnTo>
                  <a:lnTo>
                    <a:pt x="232029" y="126968"/>
                  </a:lnTo>
                  <a:lnTo>
                    <a:pt x="228314" y="123634"/>
                  </a:lnTo>
                  <a:lnTo>
                    <a:pt x="229934" y="117919"/>
                  </a:lnTo>
                  <a:lnTo>
                    <a:pt x="225457" y="116491"/>
                  </a:lnTo>
                  <a:lnTo>
                    <a:pt x="220409" y="119825"/>
                  </a:lnTo>
                  <a:lnTo>
                    <a:pt x="221171" y="123634"/>
                  </a:lnTo>
                  <a:lnTo>
                    <a:pt x="212884" y="127540"/>
                  </a:lnTo>
                  <a:lnTo>
                    <a:pt x="211741" y="120777"/>
                  </a:lnTo>
                  <a:lnTo>
                    <a:pt x="215360" y="120301"/>
                  </a:lnTo>
                  <a:lnTo>
                    <a:pt x="215837" y="114109"/>
                  </a:lnTo>
                  <a:lnTo>
                    <a:pt x="221933" y="108871"/>
                  </a:lnTo>
                  <a:lnTo>
                    <a:pt x="222218" y="104299"/>
                  </a:lnTo>
                  <a:lnTo>
                    <a:pt x="228314" y="101441"/>
                  </a:lnTo>
                  <a:lnTo>
                    <a:pt x="233744" y="97441"/>
                  </a:lnTo>
                  <a:lnTo>
                    <a:pt x="230505" y="94774"/>
                  </a:lnTo>
                  <a:lnTo>
                    <a:pt x="232029" y="90488"/>
                  </a:lnTo>
                  <a:lnTo>
                    <a:pt x="237458" y="90488"/>
                  </a:lnTo>
                  <a:lnTo>
                    <a:pt x="238792" y="93154"/>
                  </a:lnTo>
                  <a:lnTo>
                    <a:pt x="245650" y="90202"/>
                  </a:lnTo>
                  <a:lnTo>
                    <a:pt x="244126" y="86677"/>
                  </a:lnTo>
                  <a:lnTo>
                    <a:pt x="245650" y="80581"/>
                  </a:lnTo>
                  <a:lnTo>
                    <a:pt x="244126" y="77057"/>
                  </a:lnTo>
                  <a:lnTo>
                    <a:pt x="247745" y="72295"/>
                  </a:lnTo>
                  <a:lnTo>
                    <a:pt x="248698" y="65627"/>
                  </a:lnTo>
                  <a:lnTo>
                    <a:pt x="259556" y="55817"/>
                  </a:lnTo>
                  <a:lnTo>
                    <a:pt x="253365" y="5257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59" name="Freeform: Shape 2849">
              <a:extLst>
                <a:ext uri="{FF2B5EF4-FFF2-40B4-BE49-F238E27FC236}">
                  <a16:creationId xmlns:a16="http://schemas.microsoft.com/office/drawing/2014/main" id="{91E50328-F1C3-3697-58E5-D6E1B721C268}"/>
                </a:ext>
              </a:extLst>
            </p:cNvPr>
            <p:cNvSpPr/>
            <p:nvPr/>
          </p:nvSpPr>
          <p:spPr>
            <a:xfrm>
              <a:off x="2153602" y="2928683"/>
              <a:ext cx="216789" cy="331374"/>
            </a:xfrm>
            <a:custGeom>
              <a:avLst/>
              <a:gdLst>
                <a:gd name="connsiteX0" fmla="*/ 209836 w 216789"/>
                <a:gd name="connsiteY0" fmla="*/ 244888 h 331374"/>
                <a:gd name="connsiteX1" fmla="*/ 216789 w 216789"/>
                <a:gd name="connsiteY1" fmla="*/ 232315 h 331374"/>
                <a:gd name="connsiteX2" fmla="*/ 208312 w 216789"/>
                <a:gd name="connsiteY2" fmla="*/ 220980 h 331374"/>
                <a:gd name="connsiteX3" fmla="*/ 185071 w 216789"/>
                <a:gd name="connsiteY3" fmla="*/ 205264 h 331374"/>
                <a:gd name="connsiteX4" fmla="*/ 197834 w 216789"/>
                <a:gd name="connsiteY4" fmla="*/ 196405 h 331374"/>
                <a:gd name="connsiteX5" fmla="*/ 195929 w 216789"/>
                <a:gd name="connsiteY5" fmla="*/ 188881 h 331374"/>
                <a:gd name="connsiteX6" fmla="*/ 183928 w 216789"/>
                <a:gd name="connsiteY6" fmla="*/ 180689 h 331374"/>
                <a:gd name="connsiteX7" fmla="*/ 188500 w 216789"/>
                <a:gd name="connsiteY7" fmla="*/ 175641 h 331374"/>
                <a:gd name="connsiteX8" fmla="*/ 177737 w 216789"/>
                <a:gd name="connsiteY8" fmla="*/ 165544 h 331374"/>
                <a:gd name="connsiteX9" fmla="*/ 182785 w 216789"/>
                <a:gd name="connsiteY9" fmla="*/ 161163 h 331374"/>
                <a:gd name="connsiteX10" fmla="*/ 178118 w 216789"/>
                <a:gd name="connsiteY10" fmla="*/ 151733 h 331374"/>
                <a:gd name="connsiteX11" fmla="*/ 178879 w 216789"/>
                <a:gd name="connsiteY11" fmla="*/ 144780 h 331374"/>
                <a:gd name="connsiteX12" fmla="*/ 188500 w 216789"/>
                <a:gd name="connsiteY12" fmla="*/ 141637 h 331374"/>
                <a:gd name="connsiteX13" fmla="*/ 175831 w 216789"/>
                <a:gd name="connsiteY13" fmla="*/ 116491 h 331374"/>
                <a:gd name="connsiteX14" fmla="*/ 165354 w 216789"/>
                <a:gd name="connsiteY14" fmla="*/ 103251 h 331374"/>
                <a:gd name="connsiteX15" fmla="*/ 183547 w 216789"/>
                <a:gd name="connsiteY15" fmla="*/ 85630 h 331374"/>
                <a:gd name="connsiteX16" fmla="*/ 185833 w 216789"/>
                <a:gd name="connsiteY16" fmla="*/ 78010 h 331374"/>
                <a:gd name="connsiteX17" fmla="*/ 172307 w 216789"/>
                <a:gd name="connsiteY17" fmla="*/ 65437 h 331374"/>
                <a:gd name="connsiteX18" fmla="*/ 159925 w 216789"/>
                <a:gd name="connsiteY18" fmla="*/ 61722 h 331374"/>
                <a:gd name="connsiteX19" fmla="*/ 154877 w 216789"/>
                <a:gd name="connsiteY19" fmla="*/ 52864 h 331374"/>
                <a:gd name="connsiteX20" fmla="*/ 160306 w 216789"/>
                <a:gd name="connsiteY20" fmla="*/ 45339 h 331374"/>
                <a:gd name="connsiteX21" fmla="*/ 153734 w 216789"/>
                <a:gd name="connsiteY21" fmla="*/ 40291 h 331374"/>
                <a:gd name="connsiteX22" fmla="*/ 162973 w 216789"/>
                <a:gd name="connsiteY22" fmla="*/ 33338 h 331374"/>
                <a:gd name="connsiteX23" fmla="*/ 163163 w 216789"/>
                <a:gd name="connsiteY23" fmla="*/ 33147 h 331374"/>
                <a:gd name="connsiteX24" fmla="*/ 159163 w 216789"/>
                <a:gd name="connsiteY24" fmla="*/ 27051 h 331374"/>
                <a:gd name="connsiteX25" fmla="*/ 169164 w 216789"/>
                <a:gd name="connsiteY25" fmla="*/ 18193 h 331374"/>
                <a:gd name="connsiteX26" fmla="*/ 165735 w 216789"/>
                <a:gd name="connsiteY26" fmla="*/ 10001 h 331374"/>
                <a:gd name="connsiteX27" fmla="*/ 152591 w 216789"/>
                <a:gd name="connsiteY27" fmla="*/ 9430 h 331374"/>
                <a:gd name="connsiteX28" fmla="*/ 143637 w 216789"/>
                <a:gd name="connsiteY28" fmla="*/ 0 h 331374"/>
                <a:gd name="connsiteX29" fmla="*/ 127825 w 216789"/>
                <a:gd name="connsiteY29" fmla="*/ 7525 h 331374"/>
                <a:gd name="connsiteX30" fmla="*/ 113062 w 216789"/>
                <a:gd name="connsiteY30" fmla="*/ 6286 h 331374"/>
                <a:gd name="connsiteX31" fmla="*/ 100679 w 216789"/>
                <a:gd name="connsiteY31" fmla="*/ 24479 h 331374"/>
                <a:gd name="connsiteX32" fmla="*/ 103061 w 216789"/>
                <a:gd name="connsiteY32" fmla="*/ 37719 h 331374"/>
                <a:gd name="connsiteX33" fmla="*/ 92964 w 216789"/>
                <a:gd name="connsiteY33" fmla="*/ 39052 h 331374"/>
                <a:gd name="connsiteX34" fmla="*/ 86011 w 216789"/>
                <a:gd name="connsiteY34" fmla="*/ 50387 h 331374"/>
                <a:gd name="connsiteX35" fmla="*/ 79058 w 216789"/>
                <a:gd name="connsiteY35" fmla="*/ 44672 h 331374"/>
                <a:gd name="connsiteX36" fmla="*/ 62770 w 216789"/>
                <a:gd name="connsiteY36" fmla="*/ 40291 h 331374"/>
                <a:gd name="connsiteX37" fmla="*/ 50768 w 216789"/>
                <a:gd name="connsiteY37" fmla="*/ 47815 h 331374"/>
                <a:gd name="connsiteX38" fmla="*/ 34576 w 216789"/>
                <a:gd name="connsiteY38" fmla="*/ 44672 h 331374"/>
                <a:gd name="connsiteX39" fmla="*/ 20193 w 216789"/>
                <a:gd name="connsiteY39" fmla="*/ 26384 h 331374"/>
                <a:gd name="connsiteX40" fmla="*/ 12478 w 216789"/>
                <a:gd name="connsiteY40" fmla="*/ 25146 h 331374"/>
                <a:gd name="connsiteX41" fmla="*/ 7429 w 216789"/>
                <a:gd name="connsiteY41" fmla="*/ 34576 h 331374"/>
                <a:gd name="connsiteX42" fmla="*/ 0 w 216789"/>
                <a:gd name="connsiteY42" fmla="*/ 34957 h 331374"/>
                <a:gd name="connsiteX43" fmla="*/ 2000 w 216789"/>
                <a:gd name="connsiteY43" fmla="*/ 43815 h 331374"/>
                <a:gd name="connsiteX44" fmla="*/ 13145 w 216789"/>
                <a:gd name="connsiteY44" fmla="*/ 43434 h 331374"/>
                <a:gd name="connsiteX45" fmla="*/ 25813 w 216789"/>
                <a:gd name="connsiteY45" fmla="*/ 54769 h 331374"/>
                <a:gd name="connsiteX46" fmla="*/ 39719 w 216789"/>
                <a:gd name="connsiteY46" fmla="*/ 56388 h 331374"/>
                <a:gd name="connsiteX47" fmla="*/ 59055 w 216789"/>
                <a:gd name="connsiteY47" fmla="*/ 70294 h 331374"/>
                <a:gd name="connsiteX48" fmla="*/ 55150 w 216789"/>
                <a:gd name="connsiteY48" fmla="*/ 74867 h 331374"/>
                <a:gd name="connsiteX49" fmla="*/ 54959 w 216789"/>
                <a:gd name="connsiteY49" fmla="*/ 82867 h 331374"/>
                <a:gd name="connsiteX50" fmla="*/ 62389 w 216789"/>
                <a:gd name="connsiteY50" fmla="*/ 88392 h 331374"/>
                <a:gd name="connsiteX51" fmla="*/ 56960 w 216789"/>
                <a:gd name="connsiteY51" fmla="*/ 94202 h 331374"/>
                <a:gd name="connsiteX52" fmla="*/ 66008 w 216789"/>
                <a:gd name="connsiteY52" fmla="*/ 107251 h 331374"/>
                <a:gd name="connsiteX53" fmla="*/ 63913 w 216789"/>
                <a:gd name="connsiteY53" fmla="*/ 114776 h 331374"/>
                <a:gd name="connsiteX54" fmla="*/ 59341 w 216789"/>
                <a:gd name="connsiteY54" fmla="*/ 118110 h 331374"/>
                <a:gd name="connsiteX55" fmla="*/ 60103 w 216789"/>
                <a:gd name="connsiteY55" fmla="*/ 124873 h 331374"/>
                <a:gd name="connsiteX56" fmla="*/ 66485 w 216789"/>
                <a:gd name="connsiteY56" fmla="*/ 129921 h 331374"/>
                <a:gd name="connsiteX57" fmla="*/ 68866 w 216789"/>
                <a:gd name="connsiteY57" fmla="*/ 138303 h 331374"/>
                <a:gd name="connsiteX58" fmla="*/ 69342 w 216789"/>
                <a:gd name="connsiteY58" fmla="*/ 138303 h 331374"/>
                <a:gd name="connsiteX59" fmla="*/ 92202 w 216789"/>
                <a:gd name="connsiteY59" fmla="*/ 148018 h 331374"/>
                <a:gd name="connsiteX60" fmla="*/ 94774 w 216789"/>
                <a:gd name="connsiteY60" fmla="*/ 166211 h 331374"/>
                <a:gd name="connsiteX61" fmla="*/ 76962 w 216789"/>
                <a:gd name="connsiteY61" fmla="*/ 171069 h 331374"/>
                <a:gd name="connsiteX62" fmla="*/ 58483 w 216789"/>
                <a:gd name="connsiteY62" fmla="*/ 196310 h 331374"/>
                <a:gd name="connsiteX63" fmla="*/ 42005 w 216789"/>
                <a:gd name="connsiteY63" fmla="*/ 208693 h 331374"/>
                <a:gd name="connsiteX64" fmla="*/ 38005 w 216789"/>
                <a:gd name="connsiteY64" fmla="*/ 206597 h 331374"/>
                <a:gd name="connsiteX65" fmla="*/ 34385 w 216789"/>
                <a:gd name="connsiteY65" fmla="*/ 214598 h 331374"/>
                <a:gd name="connsiteX66" fmla="*/ 29908 w 216789"/>
                <a:gd name="connsiteY66" fmla="*/ 211550 h 331374"/>
                <a:gd name="connsiteX67" fmla="*/ 29147 w 216789"/>
                <a:gd name="connsiteY67" fmla="*/ 224123 h 331374"/>
                <a:gd name="connsiteX68" fmla="*/ 8573 w 216789"/>
                <a:gd name="connsiteY68" fmla="*/ 236696 h 331374"/>
                <a:gd name="connsiteX69" fmla="*/ 20860 w 216789"/>
                <a:gd name="connsiteY69" fmla="*/ 276892 h 331374"/>
                <a:gd name="connsiteX70" fmla="*/ 14859 w 216789"/>
                <a:gd name="connsiteY70" fmla="*/ 306991 h 331374"/>
                <a:gd name="connsiteX71" fmla="*/ 34195 w 216789"/>
                <a:gd name="connsiteY71" fmla="*/ 317944 h 331374"/>
                <a:gd name="connsiteX72" fmla="*/ 43815 w 216789"/>
                <a:gd name="connsiteY72" fmla="*/ 312325 h 331374"/>
                <a:gd name="connsiteX73" fmla="*/ 42672 w 216789"/>
                <a:gd name="connsiteY73" fmla="*/ 321278 h 331374"/>
                <a:gd name="connsiteX74" fmla="*/ 50768 w 216789"/>
                <a:gd name="connsiteY74" fmla="*/ 319183 h 331374"/>
                <a:gd name="connsiteX75" fmla="*/ 43910 w 216789"/>
                <a:gd name="connsiteY75" fmla="*/ 331375 h 331374"/>
                <a:gd name="connsiteX76" fmla="*/ 76962 w 216789"/>
                <a:gd name="connsiteY76" fmla="*/ 321755 h 331374"/>
                <a:gd name="connsiteX77" fmla="*/ 87154 w 216789"/>
                <a:gd name="connsiteY77" fmla="*/ 321755 h 331374"/>
                <a:gd name="connsiteX78" fmla="*/ 99060 w 216789"/>
                <a:gd name="connsiteY78" fmla="*/ 314039 h 331374"/>
                <a:gd name="connsiteX79" fmla="*/ 104013 w 216789"/>
                <a:gd name="connsiteY79" fmla="*/ 318325 h 331374"/>
                <a:gd name="connsiteX80" fmla="*/ 116967 w 216789"/>
                <a:gd name="connsiteY80" fmla="*/ 306514 h 331374"/>
                <a:gd name="connsiteX81" fmla="*/ 119539 w 216789"/>
                <a:gd name="connsiteY81" fmla="*/ 312420 h 331374"/>
                <a:gd name="connsiteX82" fmla="*/ 142304 w 216789"/>
                <a:gd name="connsiteY82" fmla="*/ 307562 h 331374"/>
                <a:gd name="connsiteX83" fmla="*/ 142494 w 216789"/>
                <a:gd name="connsiteY83" fmla="*/ 307276 h 331374"/>
                <a:gd name="connsiteX84" fmla="*/ 209836 w 216789"/>
                <a:gd name="connsiteY84" fmla="*/ 244888 h 33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16789" h="331374">
                  <a:moveTo>
                    <a:pt x="209836" y="244888"/>
                  </a:moveTo>
                  <a:lnTo>
                    <a:pt x="216789" y="232315"/>
                  </a:lnTo>
                  <a:lnTo>
                    <a:pt x="208312" y="220980"/>
                  </a:lnTo>
                  <a:lnTo>
                    <a:pt x="185071" y="205264"/>
                  </a:lnTo>
                  <a:lnTo>
                    <a:pt x="197834" y="196405"/>
                  </a:lnTo>
                  <a:lnTo>
                    <a:pt x="195929" y="188881"/>
                  </a:lnTo>
                  <a:lnTo>
                    <a:pt x="183928" y="180689"/>
                  </a:lnTo>
                  <a:lnTo>
                    <a:pt x="188500" y="175641"/>
                  </a:lnTo>
                  <a:lnTo>
                    <a:pt x="177737" y="165544"/>
                  </a:lnTo>
                  <a:lnTo>
                    <a:pt x="182785" y="161163"/>
                  </a:lnTo>
                  <a:lnTo>
                    <a:pt x="178118" y="151733"/>
                  </a:lnTo>
                  <a:lnTo>
                    <a:pt x="178879" y="144780"/>
                  </a:lnTo>
                  <a:lnTo>
                    <a:pt x="188500" y="141637"/>
                  </a:lnTo>
                  <a:lnTo>
                    <a:pt x="175831" y="116491"/>
                  </a:lnTo>
                  <a:lnTo>
                    <a:pt x="165354" y="103251"/>
                  </a:lnTo>
                  <a:lnTo>
                    <a:pt x="183547" y="85630"/>
                  </a:lnTo>
                  <a:lnTo>
                    <a:pt x="185833" y="78010"/>
                  </a:lnTo>
                  <a:lnTo>
                    <a:pt x="172307" y="65437"/>
                  </a:lnTo>
                  <a:lnTo>
                    <a:pt x="159925" y="61722"/>
                  </a:lnTo>
                  <a:lnTo>
                    <a:pt x="154877" y="52864"/>
                  </a:lnTo>
                  <a:lnTo>
                    <a:pt x="160306" y="45339"/>
                  </a:lnTo>
                  <a:lnTo>
                    <a:pt x="153734" y="40291"/>
                  </a:lnTo>
                  <a:lnTo>
                    <a:pt x="162973" y="33338"/>
                  </a:lnTo>
                  <a:lnTo>
                    <a:pt x="163163" y="33147"/>
                  </a:lnTo>
                  <a:lnTo>
                    <a:pt x="159163" y="27051"/>
                  </a:lnTo>
                  <a:lnTo>
                    <a:pt x="169164" y="18193"/>
                  </a:lnTo>
                  <a:lnTo>
                    <a:pt x="165735" y="10001"/>
                  </a:lnTo>
                  <a:lnTo>
                    <a:pt x="152591" y="9430"/>
                  </a:lnTo>
                  <a:lnTo>
                    <a:pt x="143637" y="0"/>
                  </a:lnTo>
                  <a:lnTo>
                    <a:pt x="127825" y="7525"/>
                  </a:lnTo>
                  <a:lnTo>
                    <a:pt x="113062" y="6286"/>
                  </a:lnTo>
                  <a:lnTo>
                    <a:pt x="100679" y="24479"/>
                  </a:lnTo>
                  <a:lnTo>
                    <a:pt x="103061" y="37719"/>
                  </a:lnTo>
                  <a:lnTo>
                    <a:pt x="92964" y="39052"/>
                  </a:lnTo>
                  <a:lnTo>
                    <a:pt x="86011" y="50387"/>
                  </a:lnTo>
                  <a:lnTo>
                    <a:pt x="79058" y="44672"/>
                  </a:lnTo>
                  <a:lnTo>
                    <a:pt x="62770" y="40291"/>
                  </a:lnTo>
                  <a:lnTo>
                    <a:pt x="50768" y="47815"/>
                  </a:lnTo>
                  <a:lnTo>
                    <a:pt x="34576" y="44672"/>
                  </a:lnTo>
                  <a:lnTo>
                    <a:pt x="20193" y="26384"/>
                  </a:lnTo>
                  <a:lnTo>
                    <a:pt x="12478" y="25146"/>
                  </a:lnTo>
                  <a:lnTo>
                    <a:pt x="7429" y="34576"/>
                  </a:lnTo>
                  <a:lnTo>
                    <a:pt x="0" y="34957"/>
                  </a:lnTo>
                  <a:lnTo>
                    <a:pt x="2000" y="43815"/>
                  </a:lnTo>
                  <a:lnTo>
                    <a:pt x="13145" y="43434"/>
                  </a:lnTo>
                  <a:lnTo>
                    <a:pt x="25813" y="54769"/>
                  </a:lnTo>
                  <a:lnTo>
                    <a:pt x="39719" y="56388"/>
                  </a:lnTo>
                  <a:lnTo>
                    <a:pt x="59055" y="70294"/>
                  </a:lnTo>
                  <a:lnTo>
                    <a:pt x="55150" y="74867"/>
                  </a:lnTo>
                  <a:lnTo>
                    <a:pt x="54959" y="82867"/>
                  </a:lnTo>
                  <a:lnTo>
                    <a:pt x="62389" y="88392"/>
                  </a:lnTo>
                  <a:lnTo>
                    <a:pt x="56960" y="94202"/>
                  </a:lnTo>
                  <a:lnTo>
                    <a:pt x="66008" y="107251"/>
                  </a:lnTo>
                  <a:lnTo>
                    <a:pt x="63913" y="114776"/>
                  </a:lnTo>
                  <a:lnTo>
                    <a:pt x="59341" y="118110"/>
                  </a:lnTo>
                  <a:lnTo>
                    <a:pt x="60103" y="124873"/>
                  </a:lnTo>
                  <a:lnTo>
                    <a:pt x="66485" y="129921"/>
                  </a:lnTo>
                  <a:lnTo>
                    <a:pt x="68866" y="138303"/>
                  </a:lnTo>
                  <a:lnTo>
                    <a:pt x="69342" y="138303"/>
                  </a:lnTo>
                  <a:lnTo>
                    <a:pt x="92202" y="148018"/>
                  </a:lnTo>
                  <a:lnTo>
                    <a:pt x="94774" y="166211"/>
                  </a:lnTo>
                  <a:lnTo>
                    <a:pt x="76962" y="171069"/>
                  </a:lnTo>
                  <a:lnTo>
                    <a:pt x="58483" y="196310"/>
                  </a:lnTo>
                  <a:lnTo>
                    <a:pt x="42005" y="208693"/>
                  </a:lnTo>
                  <a:lnTo>
                    <a:pt x="38005" y="206597"/>
                  </a:lnTo>
                  <a:lnTo>
                    <a:pt x="34385" y="214598"/>
                  </a:lnTo>
                  <a:lnTo>
                    <a:pt x="29908" y="211550"/>
                  </a:lnTo>
                  <a:lnTo>
                    <a:pt x="29147" y="224123"/>
                  </a:lnTo>
                  <a:lnTo>
                    <a:pt x="8573" y="236696"/>
                  </a:lnTo>
                  <a:lnTo>
                    <a:pt x="20860" y="276892"/>
                  </a:lnTo>
                  <a:lnTo>
                    <a:pt x="14859" y="306991"/>
                  </a:lnTo>
                  <a:lnTo>
                    <a:pt x="34195" y="317944"/>
                  </a:lnTo>
                  <a:lnTo>
                    <a:pt x="43815" y="312325"/>
                  </a:lnTo>
                  <a:lnTo>
                    <a:pt x="42672" y="321278"/>
                  </a:lnTo>
                  <a:lnTo>
                    <a:pt x="50768" y="319183"/>
                  </a:lnTo>
                  <a:lnTo>
                    <a:pt x="43910" y="331375"/>
                  </a:lnTo>
                  <a:lnTo>
                    <a:pt x="76962" y="321755"/>
                  </a:lnTo>
                  <a:lnTo>
                    <a:pt x="87154" y="321755"/>
                  </a:lnTo>
                  <a:lnTo>
                    <a:pt x="99060" y="314039"/>
                  </a:lnTo>
                  <a:lnTo>
                    <a:pt x="104013" y="318325"/>
                  </a:lnTo>
                  <a:lnTo>
                    <a:pt x="116967" y="306514"/>
                  </a:lnTo>
                  <a:lnTo>
                    <a:pt x="119539" y="312420"/>
                  </a:lnTo>
                  <a:lnTo>
                    <a:pt x="142304" y="307562"/>
                  </a:lnTo>
                  <a:lnTo>
                    <a:pt x="142494" y="307276"/>
                  </a:lnTo>
                  <a:lnTo>
                    <a:pt x="209836" y="24488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0" name="Freeform: Shape 2850">
              <a:extLst>
                <a:ext uri="{FF2B5EF4-FFF2-40B4-BE49-F238E27FC236}">
                  <a16:creationId xmlns:a16="http://schemas.microsoft.com/office/drawing/2014/main" id="{9C77F19D-BAEA-FA54-A6DD-6AA054F26057}"/>
                </a:ext>
              </a:extLst>
            </p:cNvPr>
            <p:cNvSpPr/>
            <p:nvPr/>
          </p:nvSpPr>
          <p:spPr>
            <a:xfrm>
              <a:off x="2209133" y="3263772"/>
              <a:ext cx="92392" cy="59721"/>
            </a:xfrm>
            <a:custGeom>
              <a:avLst/>
              <a:gdLst>
                <a:gd name="connsiteX0" fmla="*/ 44196 w 92392"/>
                <a:gd name="connsiteY0" fmla="*/ 0 h 59721"/>
                <a:gd name="connsiteX1" fmla="*/ 0 w 92392"/>
                <a:gd name="connsiteY1" fmla="*/ 12383 h 59721"/>
                <a:gd name="connsiteX2" fmla="*/ 21812 w 92392"/>
                <a:gd name="connsiteY2" fmla="*/ 37147 h 59721"/>
                <a:gd name="connsiteX3" fmla="*/ 20574 w 92392"/>
                <a:gd name="connsiteY3" fmla="*/ 47911 h 59721"/>
                <a:gd name="connsiteX4" fmla="*/ 36290 w 92392"/>
                <a:gd name="connsiteY4" fmla="*/ 43625 h 59721"/>
                <a:gd name="connsiteX5" fmla="*/ 43244 w 92392"/>
                <a:gd name="connsiteY5" fmla="*/ 48292 h 59721"/>
                <a:gd name="connsiteX6" fmla="*/ 50959 w 92392"/>
                <a:gd name="connsiteY6" fmla="*/ 49340 h 59721"/>
                <a:gd name="connsiteX7" fmla="*/ 60293 w 92392"/>
                <a:gd name="connsiteY7" fmla="*/ 59722 h 59721"/>
                <a:gd name="connsiteX8" fmla="*/ 68008 w 92392"/>
                <a:gd name="connsiteY8" fmla="*/ 55436 h 59721"/>
                <a:gd name="connsiteX9" fmla="*/ 75819 w 92392"/>
                <a:gd name="connsiteY9" fmla="*/ 57912 h 59721"/>
                <a:gd name="connsiteX10" fmla="*/ 83725 w 92392"/>
                <a:gd name="connsiteY10" fmla="*/ 51149 h 59721"/>
                <a:gd name="connsiteX11" fmla="*/ 83248 w 92392"/>
                <a:gd name="connsiteY11" fmla="*/ 44291 h 59721"/>
                <a:gd name="connsiteX12" fmla="*/ 83058 w 92392"/>
                <a:gd name="connsiteY12" fmla="*/ 43529 h 59721"/>
                <a:gd name="connsiteX13" fmla="*/ 69628 w 92392"/>
                <a:gd name="connsiteY13" fmla="*/ 29432 h 59721"/>
                <a:gd name="connsiteX14" fmla="*/ 70580 w 92392"/>
                <a:gd name="connsiteY14" fmla="*/ 14192 h 59721"/>
                <a:gd name="connsiteX15" fmla="*/ 87630 w 92392"/>
                <a:gd name="connsiteY15" fmla="*/ 15526 h 59721"/>
                <a:gd name="connsiteX16" fmla="*/ 92392 w 92392"/>
                <a:gd name="connsiteY16" fmla="*/ 8382 h 59721"/>
                <a:gd name="connsiteX17" fmla="*/ 90488 w 92392"/>
                <a:gd name="connsiteY17" fmla="*/ 5048 h 59721"/>
                <a:gd name="connsiteX18" fmla="*/ 66389 w 92392"/>
                <a:gd name="connsiteY18" fmla="*/ 5048 h 59721"/>
                <a:gd name="connsiteX19" fmla="*/ 44196 w 92392"/>
                <a:gd name="connsiteY19" fmla="*/ 0 h 5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392" h="59721">
                  <a:moveTo>
                    <a:pt x="44196" y="0"/>
                  </a:moveTo>
                  <a:lnTo>
                    <a:pt x="0" y="12383"/>
                  </a:lnTo>
                  <a:lnTo>
                    <a:pt x="21812" y="37147"/>
                  </a:lnTo>
                  <a:lnTo>
                    <a:pt x="20574" y="47911"/>
                  </a:lnTo>
                  <a:lnTo>
                    <a:pt x="36290" y="43625"/>
                  </a:lnTo>
                  <a:lnTo>
                    <a:pt x="43244" y="48292"/>
                  </a:lnTo>
                  <a:lnTo>
                    <a:pt x="50959" y="49340"/>
                  </a:lnTo>
                  <a:lnTo>
                    <a:pt x="60293" y="59722"/>
                  </a:lnTo>
                  <a:lnTo>
                    <a:pt x="68008" y="55436"/>
                  </a:lnTo>
                  <a:lnTo>
                    <a:pt x="75819" y="57912"/>
                  </a:lnTo>
                  <a:lnTo>
                    <a:pt x="83725" y="51149"/>
                  </a:lnTo>
                  <a:lnTo>
                    <a:pt x="83248" y="44291"/>
                  </a:lnTo>
                  <a:lnTo>
                    <a:pt x="83058" y="43529"/>
                  </a:lnTo>
                  <a:lnTo>
                    <a:pt x="69628" y="29432"/>
                  </a:lnTo>
                  <a:lnTo>
                    <a:pt x="70580" y="14192"/>
                  </a:lnTo>
                  <a:lnTo>
                    <a:pt x="87630" y="15526"/>
                  </a:lnTo>
                  <a:lnTo>
                    <a:pt x="92392" y="8382"/>
                  </a:lnTo>
                  <a:lnTo>
                    <a:pt x="90488" y="5048"/>
                  </a:lnTo>
                  <a:lnTo>
                    <a:pt x="66389" y="5048"/>
                  </a:lnTo>
                  <a:lnTo>
                    <a:pt x="44196"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1" name="Freeform: Shape 2851">
              <a:extLst>
                <a:ext uri="{FF2B5EF4-FFF2-40B4-BE49-F238E27FC236}">
                  <a16:creationId xmlns:a16="http://schemas.microsoft.com/office/drawing/2014/main" id="{27636A1B-677C-3482-08E9-FD059DD81756}"/>
                </a:ext>
              </a:extLst>
            </p:cNvPr>
            <p:cNvSpPr/>
            <p:nvPr/>
          </p:nvSpPr>
          <p:spPr>
            <a:xfrm>
              <a:off x="2278760" y="3277965"/>
              <a:ext cx="25717" cy="34385"/>
            </a:xfrm>
            <a:custGeom>
              <a:avLst/>
              <a:gdLst>
                <a:gd name="connsiteX0" fmla="*/ 0 w 25717"/>
                <a:gd name="connsiteY0" fmla="*/ 15240 h 34385"/>
                <a:gd name="connsiteX1" fmla="*/ 13430 w 25717"/>
                <a:gd name="connsiteY1" fmla="*/ 29337 h 34385"/>
                <a:gd name="connsiteX2" fmla="*/ 18288 w 25717"/>
                <a:gd name="connsiteY2" fmla="*/ 34385 h 34385"/>
                <a:gd name="connsiteX3" fmla="*/ 25718 w 25717"/>
                <a:gd name="connsiteY3" fmla="*/ 31528 h 34385"/>
                <a:gd name="connsiteX4" fmla="*/ 13906 w 25717"/>
                <a:gd name="connsiteY4" fmla="*/ 19336 h 34385"/>
                <a:gd name="connsiteX5" fmla="*/ 18669 w 25717"/>
                <a:gd name="connsiteY5" fmla="*/ 14288 h 34385"/>
                <a:gd name="connsiteX6" fmla="*/ 18002 w 25717"/>
                <a:gd name="connsiteY6" fmla="*/ 1333 h 34385"/>
                <a:gd name="connsiteX7" fmla="*/ 952 w 25717"/>
                <a:gd name="connsiteY7" fmla="*/ 0 h 34385"/>
                <a:gd name="connsiteX8" fmla="*/ 0 w 25717"/>
                <a:gd name="connsiteY8" fmla="*/ 15240 h 3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 h="34385">
                  <a:moveTo>
                    <a:pt x="0" y="15240"/>
                  </a:moveTo>
                  <a:lnTo>
                    <a:pt x="13430" y="29337"/>
                  </a:lnTo>
                  <a:lnTo>
                    <a:pt x="18288" y="34385"/>
                  </a:lnTo>
                  <a:lnTo>
                    <a:pt x="25718" y="31528"/>
                  </a:lnTo>
                  <a:lnTo>
                    <a:pt x="13906" y="19336"/>
                  </a:lnTo>
                  <a:lnTo>
                    <a:pt x="18669" y="14288"/>
                  </a:lnTo>
                  <a:lnTo>
                    <a:pt x="18002" y="1333"/>
                  </a:lnTo>
                  <a:lnTo>
                    <a:pt x="952" y="0"/>
                  </a:lnTo>
                  <a:lnTo>
                    <a:pt x="0" y="1524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2" name="Freeform: Shape 2852">
              <a:extLst>
                <a:ext uri="{FF2B5EF4-FFF2-40B4-BE49-F238E27FC236}">
                  <a16:creationId xmlns:a16="http://schemas.microsoft.com/office/drawing/2014/main" id="{4510B0D5-A2A3-A77B-02BB-9F8E8A5FB70D}"/>
                </a:ext>
              </a:extLst>
            </p:cNvPr>
            <p:cNvSpPr/>
            <p:nvPr/>
          </p:nvSpPr>
          <p:spPr>
            <a:xfrm>
              <a:off x="1942814" y="3384454"/>
              <a:ext cx="15906" cy="18859"/>
            </a:xfrm>
            <a:custGeom>
              <a:avLst/>
              <a:gdLst>
                <a:gd name="connsiteX0" fmla="*/ 15907 w 15906"/>
                <a:gd name="connsiteY0" fmla="*/ 0 h 18859"/>
                <a:gd name="connsiteX1" fmla="*/ 15907 w 15906"/>
                <a:gd name="connsiteY1" fmla="*/ 18859 h 18859"/>
                <a:gd name="connsiteX2" fmla="*/ 0 w 15906"/>
                <a:gd name="connsiteY2" fmla="*/ 0 h 18859"/>
                <a:gd name="connsiteX3" fmla="*/ 15907 w 15906"/>
                <a:gd name="connsiteY3" fmla="*/ 0 h 18859"/>
              </a:gdLst>
              <a:ahLst/>
              <a:cxnLst>
                <a:cxn ang="0">
                  <a:pos x="connsiteX0" y="connsiteY0"/>
                </a:cxn>
                <a:cxn ang="0">
                  <a:pos x="connsiteX1" y="connsiteY1"/>
                </a:cxn>
                <a:cxn ang="0">
                  <a:pos x="connsiteX2" y="connsiteY2"/>
                </a:cxn>
                <a:cxn ang="0">
                  <a:pos x="connsiteX3" y="connsiteY3"/>
                </a:cxn>
              </a:cxnLst>
              <a:rect l="l" t="t" r="r" b="b"/>
              <a:pathLst>
                <a:path w="15906" h="18859">
                  <a:moveTo>
                    <a:pt x="15907" y="0"/>
                  </a:moveTo>
                  <a:lnTo>
                    <a:pt x="15907" y="18859"/>
                  </a:lnTo>
                  <a:lnTo>
                    <a:pt x="0" y="0"/>
                  </a:lnTo>
                  <a:lnTo>
                    <a:pt x="15907"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3" name="Freeform: Shape 2853">
              <a:extLst>
                <a:ext uri="{FF2B5EF4-FFF2-40B4-BE49-F238E27FC236}">
                  <a16:creationId xmlns:a16="http://schemas.microsoft.com/office/drawing/2014/main" id="{1FAAB52B-C10D-6F39-AD30-79191DC918F8}"/>
                </a:ext>
              </a:extLst>
            </p:cNvPr>
            <p:cNvSpPr/>
            <p:nvPr/>
          </p:nvSpPr>
          <p:spPr>
            <a:xfrm>
              <a:off x="1903856" y="3385216"/>
              <a:ext cx="8763" cy="18573"/>
            </a:xfrm>
            <a:custGeom>
              <a:avLst/>
              <a:gdLst>
                <a:gd name="connsiteX0" fmla="*/ 0 w 8763"/>
                <a:gd name="connsiteY0" fmla="*/ 0 h 18573"/>
                <a:gd name="connsiteX1" fmla="*/ 8763 w 8763"/>
                <a:gd name="connsiteY1" fmla="*/ 10001 h 18573"/>
                <a:gd name="connsiteX2" fmla="*/ 1048 w 8763"/>
                <a:gd name="connsiteY2" fmla="*/ 18574 h 18573"/>
                <a:gd name="connsiteX3" fmla="*/ 0 w 8763"/>
                <a:gd name="connsiteY3" fmla="*/ 0 h 18573"/>
              </a:gdLst>
              <a:ahLst/>
              <a:cxnLst>
                <a:cxn ang="0">
                  <a:pos x="connsiteX0" y="connsiteY0"/>
                </a:cxn>
                <a:cxn ang="0">
                  <a:pos x="connsiteX1" y="connsiteY1"/>
                </a:cxn>
                <a:cxn ang="0">
                  <a:pos x="connsiteX2" y="connsiteY2"/>
                </a:cxn>
                <a:cxn ang="0">
                  <a:pos x="connsiteX3" y="connsiteY3"/>
                </a:cxn>
              </a:cxnLst>
              <a:rect l="l" t="t" r="r" b="b"/>
              <a:pathLst>
                <a:path w="8763" h="18573">
                  <a:moveTo>
                    <a:pt x="0" y="0"/>
                  </a:moveTo>
                  <a:lnTo>
                    <a:pt x="8763" y="10001"/>
                  </a:lnTo>
                  <a:lnTo>
                    <a:pt x="1048" y="18574"/>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4" name="Freeform: Shape 2854">
              <a:extLst>
                <a:ext uri="{FF2B5EF4-FFF2-40B4-BE49-F238E27FC236}">
                  <a16:creationId xmlns:a16="http://schemas.microsoft.com/office/drawing/2014/main" id="{AD3288A5-0D21-BE33-A623-1D07202FF08E}"/>
                </a:ext>
              </a:extLst>
            </p:cNvPr>
            <p:cNvSpPr/>
            <p:nvPr/>
          </p:nvSpPr>
          <p:spPr>
            <a:xfrm>
              <a:off x="1964531" y="3366166"/>
              <a:ext cx="27431" cy="32289"/>
            </a:xfrm>
            <a:custGeom>
              <a:avLst/>
              <a:gdLst>
                <a:gd name="connsiteX0" fmla="*/ 22003 w 27431"/>
                <a:gd name="connsiteY0" fmla="*/ 0 h 32289"/>
                <a:gd name="connsiteX1" fmla="*/ 27432 w 27431"/>
                <a:gd name="connsiteY1" fmla="*/ 10763 h 32289"/>
                <a:gd name="connsiteX2" fmla="*/ 16954 w 27431"/>
                <a:gd name="connsiteY2" fmla="*/ 32290 h 32289"/>
                <a:gd name="connsiteX3" fmla="*/ 0 w 27431"/>
                <a:gd name="connsiteY3" fmla="*/ 12763 h 32289"/>
                <a:gd name="connsiteX4" fmla="*/ 15431 w 27431"/>
                <a:gd name="connsiteY4" fmla="*/ 10763 h 32289"/>
                <a:gd name="connsiteX5" fmla="*/ 22003 w 27431"/>
                <a:gd name="connsiteY5" fmla="*/ 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31" h="32289">
                  <a:moveTo>
                    <a:pt x="22003" y="0"/>
                  </a:moveTo>
                  <a:lnTo>
                    <a:pt x="27432" y="10763"/>
                  </a:lnTo>
                  <a:lnTo>
                    <a:pt x="16954" y="32290"/>
                  </a:lnTo>
                  <a:lnTo>
                    <a:pt x="0" y="12763"/>
                  </a:lnTo>
                  <a:lnTo>
                    <a:pt x="15431" y="10763"/>
                  </a:lnTo>
                  <a:lnTo>
                    <a:pt x="22003"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5" name="Freeform: Shape 2855">
              <a:extLst>
                <a:ext uri="{FF2B5EF4-FFF2-40B4-BE49-F238E27FC236}">
                  <a16:creationId xmlns:a16="http://schemas.microsoft.com/office/drawing/2014/main" id="{8AA260AD-CB6B-3A44-F2C3-116F244F2C93}"/>
                </a:ext>
              </a:extLst>
            </p:cNvPr>
            <p:cNvSpPr/>
            <p:nvPr/>
          </p:nvSpPr>
          <p:spPr>
            <a:xfrm>
              <a:off x="1905285" y="3317017"/>
              <a:ext cx="55816" cy="80295"/>
            </a:xfrm>
            <a:custGeom>
              <a:avLst/>
              <a:gdLst>
                <a:gd name="connsiteX0" fmla="*/ 37338 w 55816"/>
                <a:gd name="connsiteY0" fmla="*/ 55912 h 80295"/>
                <a:gd name="connsiteX1" fmla="*/ 43625 w 55816"/>
                <a:gd name="connsiteY1" fmla="*/ 40767 h 80295"/>
                <a:gd name="connsiteX2" fmla="*/ 50864 w 55816"/>
                <a:gd name="connsiteY2" fmla="*/ 44006 h 80295"/>
                <a:gd name="connsiteX3" fmla="*/ 55817 w 55816"/>
                <a:gd name="connsiteY3" fmla="*/ 35814 h 80295"/>
                <a:gd name="connsiteX4" fmla="*/ 40672 w 55816"/>
                <a:gd name="connsiteY4" fmla="*/ 34862 h 80295"/>
                <a:gd name="connsiteX5" fmla="*/ 36004 w 55816"/>
                <a:gd name="connsiteY5" fmla="*/ 18764 h 80295"/>
                <a:gd name="connsiteX6" fmla="*/ 47625 w 55816"/>
                <a:gd name="connsiteY6" fmla="*/ 14192 h 80295"/>
                <a:gd name="connsiteX7" fmla="*/ 47911 w 55816"/>
                <a:gd name="connsiteY7" fmla="*/ 0 h 80295"/>
                <a:gd name="connsiteX8" fmla="*/ 13525 w 55816"/>
                <a:gd name="connsiteY8" fmla="*/ 18002 h 80295"/>
                <a:gd name="connsiteX9" fmla="*/ 26479 w 55816"/>
                <a:gd name="connsiteY9" fmla="*/ 26575 h 80295"/>
                <a:gd name="connsiteX10" fmla="*/ 0 w 55816"/>
                <a:gd name="connsiteY10" fmla="*/ 31623 h 80295"/>
                <a:gd name="connsiteX11" fmla="*/ 762 w 55816"/>
                <a:gd name="connsiteY11" fmla="*/ 60960 h 80295"/>
                <a:gd name="connsiteX12" fmla="*/ 11621 w 55816"/>
                <a:gd name="connsiteY12" fmla="*/ 69056 h 80295"/>
                <a:gd name="connsiteX13" fmla="*/ 13049 w 55816"/>
                <a:gd name="connsiteY13" fmla="*/ 78010 h 80295"/>
                <a:gd name="connsiteX14" fmla="*/ 26098 w 55816"/>
                <a:gd name="connsiteY14" fmla="*/ 80296 h 80295"/>
                <a:gd name="connsiteX15" fmla="*/ 37338 w 55816"/>
                <a:gd name="connsiteY15" fmla="*/ 55912 h 80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16" h="80295">
                  <a:moveTo>
                    <a:pt x="37338" y="55912"/>
                  </a:moveTo>
                  <a:lnTo>
                    <a:pt x="43625" y="40767"/>
                  </a:lnTo>
                  <a:lnTo>
                    <a:pt x="50864" y="44006"/>
                  </a:lnTo>
                  <a:lnTo>
                    <a:pt x="55817" y="35814"/>
                  </a:lnTo>
                  <a:lnTo>
                    <a:pt x="40672" y="34862"/>
                  </a:lnTo>
                  <a:lnTo>
                    <a:pt x="36004" y="18764"/>
                  </a:lnTo>
                  <a:lnTo>
                    <a:pt x="47625" y="14192"/>
                  </a:lnTo>
                  <a:lnTo>
                    <a:pt x="47911" y="0"/>
                  </a:lnTo>
                  <a:lnTo>
                    <a:pt x="13525" y="18002"/>
                  </a:lnTo>
                  <a:lnTo>
                    <a:pt x="26479" y="26575"/>
                  </a:lnTo>
                  <a:lnTo>
                    <a:pt x="0" y="31623"/>
                  </a:lnTo>
                  <a:lnTo>
                    <a:pt x="762" y="60960"/>
                  </a:lnTo>
                  <a:lnTo>
                    <a:pt x="11621" y="69056"/>
                  </a:lnTo>
                  <a:lnTo>
                    <a:pt x="13049" y="78010"/>
                  </a:lnTo>
                  <a:lnTo>
                    <a:pt x="26098" y="80296"/>
                  </a:lnTo>
                  <a:lnTo>
                    <a:pt x="37338" y="5591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6" name="Freeform: Shape 2856">
              <a:extLst>
                <a:ext uri="{FF2B5EF4-FFF2-40B4-BE49-F238E27FC236}">
                  <a16:creationId xmlns:a16="http://schemas.microsoft.com/office/drawing/2014/main" id="{5A4AC665-E993-E764-DC9B-17A1A070F984}"/>
                </a:ext>
              </a:extLst>
            </p:cNvPr>
            <p:cNvSpPr/>
            <p:nvPr/>
          </p:nvSpPr>
          <p:spPr>
            <a:xfrm>
              <a:off x="1982819" y="3499897"/>
              <a:ext cx="135255" cy="65436"/>
            </a:xfrm>
            <a:custGeom>
              <a:avLst/>
              <a:gdLst>
                <a:gd name="connsiteX0" fmla="*/ 45529 w 135255"/>
                <a:gd name="connsiteY0" fmla="*/ 65437 h 65436"/>
                <a:gd name="connsiteX1" fmla="*/ 47625 w 135255"/>
                <a:gd name="connsiteY1" fmla="*/ 62008 h 65436"/>
                <a:gd name="connsiteX2" fmla="*/ 53054 w 135255"/>
                <a:gd name="connsiteY2" fmla="*/ 64675 h 65436"/>
                <a:gd name="connsiteX3" fmla="*/ 54959 w 135255"/>
                <a:gd name="connsiteY3" fmla="*/ 60198 h 65436"/>
                <a:gd name="connsiteX4" fmla="*/ 57912 w 135255"/>
                <a:gd name="connsiteY4" fmla="*/ 60198 h 65436"/>
                <a:gd name="connsiteX5" fmla="*/ 59436 w 135255"/>
                <a:gd name="connsiteY5" fmla="*/ 53435 h 65436"/>
                <a:gd name="connsiteX6" fmla="*/ 63913 w 135255"/>
                <a:gd name="connsiteY6" fmla="*/ 55817 h 65436"/>
                <a:gd name="connsiteX7" fmla="*/ 76676 w 135255"/>
                <a:gd name="connsiteY7" fmla="*/ 57722 h 65436"/>
                <a:gd name="connsiteX8" fmla="*/ 81915 w 135255"/>
                <a:gd name="connsiteY8" fmla="*/ 61341 h 65436"/>
                <a:gd name="connsiteX9" fmla="*/ 89440 w 135255"/>
                <a:gd name="connsiteY9" fmla="*/ 59246 h 65436"/>
                <a:gd name="connsiteX10" fmla="*/ 95060 w 135255"/>
                <a:gd name="connsiteY10" fmla="*/ 59627 h 65436"/>
                <a:gd name="connsiteX11" fmla="*/ 97155 w 135255"/>
                <a:gd name="connsiteY11" fmla="*/ 63627 h 65436"/>
                <a:gd name="connsiteX12" fmla="*/ 97727 w 135255"/>
                <a:gd name="connsiteY12" fmla="*/ 61817 h 65436"/>
                <a:gd name="connsiteX13" fmla="*/ 101251 w 135255"/>
                <a:gd name="connsiteY13" fmla="*/ 58198 h 65436"/>
                <a:gd name="connsiteX14" fmla="*/ 109538 w 135255"/>
                <a:gd name="connsiteY14" fmla="*/ 59246 h 65436"/>
                <a:gd name="connsiteX15" fmla="*/ 114776 w 135255"/>
                <a:gd name="connsiteY15" fmla="*/ 56769 h 65436"/>
                <a:gd name="connsiteX16" fmla="*/ 115538 w 135255"/>
                <a:gd name="connsiteY16" fmla="*/ 53912 h 65436"/>
                <a:gd name="connsiteX17" fmla="*/ 120206 w 135255"/>
                <a:gd name="connsiteY17" fmla="*/ 53245 h 65436"/>
                <a:gd name="connsiteX18" fmla="*/ 121920 w 135255"/>
                <a:gd name="connsiteY18" fmla="*/ 48006 h 65436"/>
                <a:gd name="connsiteX19" fmla="*/ 128492 w 135255"/>
                <a:gd name="connsiteY19" fmla="*/ 43244 h 65436"/>
                <a:gd name="connsiteX20" fmla="*/ 135255 w 135255"/>
                <a:gd name="connsiteY20" fmla="*/ 41910 h 65436"/>
                <a:gd name="connsiteX21" fmla="*/ 135065 w 135255"/>
                <a:gd name="connsiteY21" fmla="*/ 36957 h 65436"/>
                <a:gd name="connsiteX22" fmla="*/ 130207 w 135255"/>
                <a:gd name="connsiteY22" fmla="*/ 35719 h 65436"/>
                <a:gd name="connsiteX23" fmla="*/ 128683 w 135255"/>
                <a:gd name="connsiteY23" fmla="*/ 31242 h 65436"/>
                <a:gd name="connsiteX24" fmla="*/ 119920 w 135255"/>
                <a:gd name="connsiteY24" fmla="*/ 27242 h 65436"/>
                <a:gd name="connsiteX25" fmla="*/ 115538 w 135255"/>
                <a:gd name="connsiteY25" fmla="*/ 30480 h 65436"/>
                <a:gd name="connsiteX26" fmla="*/ 111157 w 135255"/>
                <a:gd name="connsiteY26" fmla="*/ 26670 h 65436"/>
                <a:gd name="connsiteX27" fmla="*/ 112490 w 135255"/>
                <a:gd name="connsiteY27" fmla="*/ 20098 h 65436"/>
                <a:gd name="connsiteX28" fmla="*/ 105251 w 135255"/>
                <a:gd name="connsiteY28" fmla="*/ 20860 h 65436"/>
                <a:gd name="connsiteX29" fmla="*/ 95917 w 135255"/>
                <a:gd name="connsiteY29" fmla="*/ 17240 h 65436"/>
                <a:gd name="connsiteX30" fmla="*/ 98298 w 135255"/>
                <a:gd name="connsiteY30" fmla="*/ 25337 h 65436"/>
                <a:gd name="connsiteX31" fmla="*/ 92869 w 135255"/>
                <a:gd name="connsiteY31" fmla="*/ 28575 h 65436"/>
                <a:gd name="connsiteX32" fmla="*/ 83058 w 135255"/>
                <a:gd name="connsiteY32" fmla="*/ 19431 h 65436"/>
                <a:gd name="connsiteX33" fmla="*/ 88964 w 135255"/>
                <a:gd name="connsiteY33" fmla="*/ 13621 h 65436"/>
                <a:gd name="connsiteX34" fmla="*/ 85344 w 135255"/>
                <a:gd name="connsiteY34" fmla="*/ 9716 h 65436"/>
                <a:gd name="connsiteX35" fmla="*/ 79153 w 135255"/>
                <a:gd name="connsiteY35" fmla="*/ 12954 h 65436"/>
                <a:gd name="connsiteX36" fmla="*/ 75533 w 135255"/>
                <a:gd name="connsiteY36" fmla="*/ 9335 h 65436"/>
                <a:gd name="connsiteX37" fmla="*/ 67532 w 135255"/>
                <a:gd name="connsiteY37" fmla="*/ 8287 h 65436"/>
                <a:gd name="connsiteX38" fmla="*/ 63437 w 135255"/>
                <a:gd name="connsiteY38" fmla="*/ 2858 h 65436"/>
                <a:gd name="connsiteX39" fmla="*/ 55054 w 135255"/>
                <a:gd name="connsiteY39" fmla="*/ 6858 h 65436"/>
                <a:gd name="connsiteX40" fmla="*/ 54674 w 135255"/>
                <a:gd name="connsiteY40" fmla="*/ 8287 h 65436"/>
                <a:gd name="connsiteX41" fmla="*/ 51054 w 135255"/>
                <a:gd name="connsiteY41" fmla="*/ 6477 h 65436"/>
                <a:gd name="connsiteX42" fmla="*/ 45910 w 135255"/>
                <a:gd name="connsiteY42" fmla="*/ 0 h 65436"/>
                <a:gd name="connsiteX43" fmla="*/ 45625 w 135255"/>
                <a:gd name="connsiteY43" fmla="*/ 6858 h 65436"/>
                <a:gd name="connsiteX44" fmla="*/ 32195 w 135255"/>
                <a:gd name="connsiteY44" fmla="*/ 8668 h 65436"/>
                <a:gd name="connsiteX45" fmla="*/ 29432 w 135255"/>
                <a:gd name="connsiteY45" fmla="*/ 12573 h 65436"/>
                <a:gd name="connsiteX46" fmla="*/ 25051 w 135255"/>
                <a:gd name="connsiteY46" fmla="*/ 11525 h 65436"/>
                <a:gd name="connsiteX47" fmla="*/ 21431 w 135255"/>
                <a:gd name="connsiteY47" fmla="*/ 17907 h 65436"/>
                <a:gd name="connsiteX48" fmla="*/ 14954 w 135255"/>
                <a:gd name="connsiteY48" fmla="*/ 17240 h 65436"/>
                <a:gd name="connsiteX49" fmla="*/ 7239 w 135255"/>
                <a:gd name="connsiteY49" fmla="*/ 22574 h 65436"/>
                <a:gd name="connsiteX50" fmla="*/ 0 w 135255"/>
                <a:gd name="connsiteY50" fmla="*/ 24098 h 65436"/>
                <a:gd name="connsiteX51" fmla="*/ 10001 w 135255"/>
                <a:gd name="connsiteY51" fmla="*/ 33052 h 65436"/>
                <a:gd name="connsiteX52" fmla="*/ 7715 w 135255"/>
                <a:gd name="connsiteY52" fmla="*/ 37433 h 65436"/>
                <a:gd name="connsiteX53" fmla="*/ 13906 w 135255"/>
                <a:gd name="connsiteY53" fmla="*/ 45720 h 65436"/>
                <a:gd name="connsiteX54" fmla="*/ 20574 w 135255"/>
                <a:gd name="connsiteY54" fmla="*/ 46387 h 65436"/>
                <a:gd name="connsiteX55" fmla="*/ 23717 w 135255"/>
                <a:gd name="connsiteY55" fmla="*/ 52769 h 65436"/>
                <a:gd name="connsiteX56" fmla="*/ 34766 w 135255"/>
                <a:gd name="connsiteY56" fmla="*/ 58960 h 65436"/>
                <a:gd name="connsiteX57" fmla="*/ 34862 w 135255"/>
                <a:gd name="connsiteY57" fmla="*/ 58960 h 65436"/>
                <a:gd name="connsiteX58" fmla="*/ 45529 w 135255"/>
                <a:gd name="connsiteY58" fmla="*/ 65437 h 6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35255" h="65436">
                  <a:moveTo>
                    <a:pt x="45529" y="65437"/>
                  </a:moveTo>
                  <a:lnTo>
                    <a:pt x="47625" y="62008"/>
                  </a:lnTo>
                  <a:lnTo>
                    <a:pt x="53054" y="64675"/>
                  </a:lnTo>
                  <a:lnTo>
                    <a:pt x="54959" y="60198"/>
                  </a:lnTo>
                  <a:lnTo>
                    <a:pt x="57912" y="60198"/>
                  </a:lnTo>
                  <a:lnTo>
                    <a:pt x="59436" y="53435"/>
                  </a:lnTo>
                  <a:lnTo>
                    <a:pt x="63913" y="55817"/>
                  </a:lnTo>
                  <a:lnTo>
                    <a:pt x="76676" y="57722"/>
                  </a:lnTo>
                  <a:lnTo>
                    <a:pt x="81915" y="61341"/>
                  </a:lnTo>
                  <a:lnTo>
                    <a:pt x="89440" y="59246"/>
                  </a:lnTo>
                  <a:lnTo>
                    <a:pt x="95060" y="59627"/>
                  </a:lnTo>
                  <a:lnTo>
                    <a:pt x="97155" y="63627"/>
                  </a:lnTo>
                  <a:lnTo>
                    <a:pt x="97727" y="61817"/>
                  </a:lnTo>
                  <a:lnTo>
                    <a:pt x="101251" y="58198"/>
                  </a:lnTo>
                  <a:lnTo>
                    <a:pt x="109538" y="59246"/>
                  </a:lnTo>
                  <a:lnTo>
                    <a:pt x="114776" y="56769"/>
                  </a:lnTo>
                  <a:lnTo>
                    <a:pt x="115538" y="53912"/>
                  </a:lnTo>
                  <a:lnTo>
                    <a:pt x="120206" y="53245"/>
                  </a:lnTo>
                  <a:lnTo>
                    <a:pt x="121920" y="48006"/>
                  </a:lnTo>
                  <a:lnTo>
                    <a:pt x="128492" y="43244"/>
                  </a:lnTo>
                  <a:lnTo>
                    <a:pt x="135255" y="41910"/>
                  </a:lnTo>
                  <a:lnTo>
                    <a:pt x="135065" y="36957"/>
                  </a:lnTo>
                  <a:lnTo>
                    <a:pt x="130207" y="35719"/>
                  </a:lnTo>
                  <a:lnTo>
                    <a:pt x="128683" y="31242"/>
                  </a:lnTo>
                  <a:lnTo>
                    <a:pt x="119920" y="27242"/>
                  </a:lnTo>
                  <a:lnTo>
                    <a:pt x="115538" y="30480"/>
                  </a:lnTo>
                  <a:lnTo>
                    <a:pt x="111157" y="26670"/>
                  </a:lnTo>
                  <a:lnTo>
                    <a:pt x="112490" y="20098"/>
                  </a:lnTo>
                  <a:lnTo>
                    <a:pt x="105251" y="20860"/>
                  </a:lnTo>
                  <a:lnTo>
                    <a:pt x="95917" y="17240"/>
                  </a:lnTo>
                  <a:lnTo>
                    <a:pt x="98298" y="25337"/>
                  </a:lnTo>
                  <a:lnTo>
                    <a:pt x="92869" y="28575"/>
                  </a:lnTo>
                  <a:lnTo>
                    <a:pt x="83058" y="19431"/>
                  </a:lnTo>
                  <a:lnTo>
                    <a:pt x="88964" y="13621"/>
                  </a:lnTo>
                  <a:lnTo>
                    <a:pt x="85344" y="9716"/>
                  </a:lnTo>
                  <a:lnTo>
                    <a:pt x="79153" y="12954"/>
                  </a:lnTo>
                  <a:lnTo>
                    <a:pt x="75533" y="9335"/>
                  </a:lnTo>
                  <a:lnTo>
                    <a:pt x="67532" y="8287"/>
                  </a:lnTo>
                  <a:lnTo>
                    <a:pt x="63437" y="2858"/>
                  </a:lnTo>
                  <a:lnTo>
                    <a:pt x="55054" y="6858"/>
                  </a:lnTo>
                  <a:lnTo>
                    <a:pt x="54674" y="8287"/>
                  </a:lnTo>
                  <a:lnTo>
                    <a:pt x="51054" y="6477"/>
                  </a:lnTo>
                  <a:lnTo>
                    <a:pt x="45910" y="0"/>
                  </a:lnTo>
                  <a:lnTo>
                    <a:pt x="45625" y="6858"/>
                  </a:lnTo>
                  <a:lnTo>
                    <a:pt x="32195" y="8668"/>
                  </a:lnTo>
                  <a:lnTo>
                    <a:pt x="29432" y="12573"/>
                  </a:lnTo>
                  <a:lnTo>
                    <a:pt x="25051" y="11525"/>
                  </a:lnTo>
                  <a:lnTo>
                    <a:pt x="21431" y="17907"/>
                  </a:lnTo>
                  <a:lnTo>
                    <a:pt x="14954" y="17240"/>
                  </a:lnTo>
                  <a:lnTo>
                    <a:pt x="7239" y="22574"/>
                  </a:lnTo>
                  <a:lnTo>
                    <a:pt x="0" y="24098"/>
                  </a:lnTo>
                  <a:lnTo>
                    <a:pt x="10001" y="33052"/>
                  </a:lnTo>
                  <a:lnTo>
                    <a:pt x="7715" y="37433"/>
                  </a:lnTo>
                  <a:lnTo>
                    <a:pt x="13906" y="45720"/>
                  </a:lnTo>
                  <a:lnTo>
                    <a:pt x="20574" y="46387"/>
                  </a:lnTo>
                  <a:lnTo>
                    <a:pt x="23717" y="52769"/>
                  </a:lnTo>
                  <a:lnTo>
                    <a:pt x="34766" y="58960"/>
                  </a:lnTo>
                  <a:lnTo>
                    <a:pt x="34862" y="58960"/>
                  </a:lnTo>
                  <a:lnTo>
                    <a:pt x="45529" y="6543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7" name="Freeform: Shape 2857">
              <a:extLst>
                <a:ext uri="{FF2B5EF4-FFF2-40B4-BE49-F238E27FC236}">
                  <a16:creationId xmlns:a16="http://schemas.microsoft.com/office/drawing/2014/main" id="{9C63AF98-FFC4-847A-9378-64C4CF5E689A}"/>
                </a:ext>
              </a:extLst>
            </p:cNvPr>
            <p:cNvSpPr/>
            <p:nvPr/>
          </p:nvSpPr>
          <p:spPr>
            <a:xfrm>
              <a:off x="2383440" y="3871658"/>
              <a:ext cx="45910" cy="24669"/>
            </a:xfrm>
            <a:custGeom>
              <a:avLst/>
              <a:gdLst>
                <a:gd name="connsiteX0" fmla="*/ 45910 w 45910"/>
                <a:gd name="connsiteY0" fmla="*/ 0 h 24669"/>
                <a:gd name="connsiteX1" fmla="*/ 45910 w 45910"/>
                <a:gd name="connsiteY1" fmla="*/ 0 h 24669"/>
                <a:gd name="connsiteX2" fmla="*/ 41529 w 45910"/>
                <a:gd name="connsiteY2" fmla="*/ 9144 h 24669"/>
                <a:gd name="connsiteX3" fmla="*/ 15240 w 45910"/>
                <a:gd name="connsiteY3" fmla="*/ 24670 h 24669"/>
                <a:gd name="connsiteX4" fmla="*/ 0 w 45910"/>
                <a:gd name="connsiteY4" fmla="*/ 13430 h 24669"/>
                <a:gd name="connsiteX5" fmla="*/ 11906 w 45910"/>
                <a:gd name="connsiteY5" fmla="*/ 11621 h 24669"/>
                <a:gd name="connsiteX6" fmla="*/ 15240 w 45910"/>
                <a:gd name="connsiteY6" fmla="*/ 4477 h 24669"/>
                <a:gd name="connsiteX7" fmla="*/ 31432 w 45910"/>
                <a:gd name="connsiteY7" fmla="*/ 6001 h 24669"/>
                <a:gd name="connsiteX8" fmla="*/ 45910 w 45910"/>
                <a:gd name="connsiteY8" fmla="*/ 0 h 2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10" h="24669">
                  <a:moveTo>
                    <a:pt x="45910" y="0"/>
                  </a:moveTo>
                  <a:lnTo>
                    <a:pt x="45910" y="0"/>
                  </a:lnTo>
                  <a:lnTo>
                    <a:pt x="41529" y="9144"/>
                  </a:lnTo>
                  <a:lnTo>
                    <a:pt x="15240" y="24670"/>
                  </a:lnTo>
                  <a:lnTo>
                    <a:pt x="0" y="13430"/>
                  </a:lnTo>
                  <a:lnTo>
                    <a:pt x="11906" y="11621"/>
                  </a:lnTo>
                  <a:lnTo>
                    <a:pt x="15240" y="4477"/>
                  </a:lnTo>
                  <a:lnTo>
                    <a:pt x="31432" y="6001"/>
                  </a:lnTo>
                  <a:lnTo>
                    <a:pt x="4591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8" name="Freeform: Shape 2858">
              <a:extLst>
                <a:ext uri="{FF2B5EF4-FFF2-40B4-BE49-F238E27FC236}">
                  <a16:creationId xmlns:a16="http://schemas.microsoft.com/office/drawing/2014/main" id="{6E8B890D-37D0-7623-60F3-5D02D76437F5}"/>
                </a:ext>
              </a:extLst>
            </p:cNvPr>
            <p:cNvSpPr/>
            <p:nvPr/>
          </p:nvSpPr>
          <p:spPr>
            <a:xfrm>
              <a:off x="2025967" y="3615340"/>
              <a:ext cx="102774" cy="81057"/>
            </a:xfrm>
            <a:custGeom>
              <a:avLst/>
              <a:gdLst>
                <a:gd name="connsiteX0" fmla="*/ 60770 w 102774"/>
                <a:gd name="connsiteY0" fmla="*/ 72961 h 81057"/>
                <a:gd name="connsiteX1" fmla="*/ 55531 w 102774"/>
                <a:gd name="connsiteY1" fmla="*/ 71247 h 81057"/>
                <a:gd name="connsiteX2" fmla="*/ 42577 w 102774"/>
                <a:gd name="connsiteY2" fmla="*/ 57436 h 81057"/>
                <a:gd name="connsiteX3" fmla="*/ 38195 w 102774"/>
                <a:gd name="connsiteY3" fmla="*/ 56483 h 81057"/>
                <a:gd name="connsiteX4" fmla="*/ 39338 w 102774"/>
                <a:gd name="connsiteY4" fmla="*/ 52197 h 81057"/>
                <a:gd name="connsiteX5" fmla="*/ 34481 w 102774"/>
                <a:gd name="connsiteY5" fmla="*/ 43815 h 81057"/>
                <a:gd name="connsiteX6" fmla="*/ 30194 w 102774"/>
                <a:gd name="connsiteY6" fmla="*/ 41910 h 81057"/>
                <a:gd name="connsiteX7" fmla="*/ 30385 w 102774"/>
                <a:gd name="connsiteY7" fmla="*/ 32575 h 81057"/>
                <a:gd name="connsiteX8" fmla="*/ 34671 w 102774"/>
                <a:gd name="connsiteY8" fmla="*/ 30670 h 81057"/>
                <a:gd name="connsiteX9" fmla="*/ 36957 w 102774"/>
                <a:gd name="connsiteY9" fmla="*/ 34004 h 81057"/>
                <a:gd name="connsiteX10" fmla="*/ 42196 w 102774"/>
                <a:gd name="connsiteY10" fmla="*/ 37148 h 81057"/>
                <a:gd name="connsiteX11" fmla="*/ 46101 w 102774"/>
                <a:gd name="connsiteY11" fmla="*/ 31433 h 81057"/>
                <a:gd name="connsiteX12" fmla="*/ 51149 w 102774"/>
                <a:gd name="connsiteY12" fmla="*/ 33052 h 81057"/>
                <a:gd name="connsiteX13" fmla="*/ 53054 w 102774"/>
                <a:gd name="connsiteY13" fmla="*/ 30194 h 81057"/>
                <a:gd name="connsiteX14" fmla="*/ 71247 w 102774"/>
                <a:gd name="connsiteY14" fmla="*/ 35433 h 81057"/>
                <a:gd name="connsiteX15" fmla="*/ 74771 w 102774"/>
                <a:gd name="connsiteY15" fmla="*/ 32575 h 81057"/>
                <a:gd name="connsiteX16" fmla="*/ 78962 w 102774"/>
                <a:gd name="connsiteY16" fmla="*/ 35242 h 81057"/>
                <a:gd name="connsiteX17" fmla="*/ 85916 w 102774"/>
                <a:gd name="connsiteY17" fmla="*/ 33528 h 81057"/>
                <a:gd name="connsiteX18" fmla="*/ 90583 w 102774"/>
                <a:gd name="connsiteY18" fmla="*/ 40005 h 81057"/>
                <a:gd name="connsiteX19" fmla="*/ 95631 w 102774"/>
                <a:gd name="connsiteY19" fmla="*/ 39719 h 81057"/>
                <a:gd name="connsiteX20" fmla="*/ 96393 w 102774"/>
                <a:gd name="connsiteY20" fmla="*/ 34290 h 81057"/>
                <a:gd name="connsiteX21" fmla="*/ 102775 w 102774"/>
                <a:gd name="connsiteY21" fmla="*/ 31623 h 81057"/>
                <a:gd name="connsiteX22" fmla="*/ 95250 w 102774"/>
                <a:gd name="connsiteY22" fmla="*/ 27337 h 81057"/>
                <a:gd name="connsiteX23" fmla="*/ 96965 w 102774"/>
                <a:gd name="connsiteY23" fmla="*/ 24003 h 81057"/>
                <a:gd name="connsiteX24" fmla="*/ 93059 w 102774"/>
                <a:gd name="connsiteY24" fmla="*/ 22289 h 81057"/>
                <a:gd name="connsiteX25" fmla="*/ 91916 w 102774"/>
                <a:gd name="connsiteY25" fmla="*/ 14668 h 81057"/>
                <a:gd name="connsiteX26" fmla="*/ 86963 w 102774"/>
                <a:gd name="connsiteY26" fmla="*/ 14192 h 81057"/>
                <a:gd name="connsiteX27" fmla="*/ 85154 w 102774"/>
                <a:gd name="connsiteY27" fmla="*/ 17526 h 81057"/>
                <a:gd name="connsiteX28" fmla="*/ 75724 w 102774"/>
                <a:gd name="connsiteY28" fmla="*/ 18478 h 81057"/>
                <a:gd name="connsiteX29" fmla="*/ 66389 w 102774"/>
                <a:gd name="connsiteY29" fmla="*/ 13716 h 81057"/>
                <a:gd name="connsiteX30" fmla="*/ 61151 w 102774"/>
                <a:gd name="connsiteY30" fmla="*/ 13525 h 81057"/>
                <a:gd name="connsiteX31" fmla="*/ 58103 w 102774"/>
                <a:gd name="connsiteY31" fmla="*/ 8192 h 81057"/>
                <a:gd name="connsiteX32" fmla="*/ 46387 w 102774"/>
                <a:gd name="connsiteY32" fmla="*/ 0 h 81057"/>
                <a:gd name="connsiteX33" fmla="*/ 40196 w 102774"/>
                <a:gd name="connsiteY33" fmla="*/ 381 h 81057"/>
                <a:gd name="connsiteX34" fmla="*/ 38100 w 102774"/>
                <a:gd name="connsiteY34" fmla="*/ 4191 h 81057"/>
                <a:gd name="connsiteX35" fmla="*/ 26956 w 102774"/>
                <a:gd name="connsiteY35" fmla="*/ 7334 h 81057"/>
                <a:gd name="connsiteX36" fmla="*/ 30861 w 102774"/>
                <a:gd name="connsiteY36" fmla="*/ 11525 h 81057"/>
                <a:gd name="connsiteX37" fmla="*/ 29623 w 102774"/>
                <a:gd name="connsiteY37" fmla="*/ 17240 h 81057"/>
                <a:gd name="connsiteX38" fmla="*/ 21622 w 102774"/>
                <a:gd name="connsiteY38" fmla="*/ 18193 h 81057"/>
                <a:gd name="connsiteX39" fmla="*/ 22384 w 102774"/>
                <a:gd name="connsiteY39" fmla="*/ 26099 h 81057"/>
                <a:gd name="connsiteX40" fmla="*/ 12573 w 102774"/>
                <a:gd name="connsiteY40" fmla="*/ 24575 h 81057"/>
                <a:gd name="connsiteX41" fmla="*/ 7430 w 102774"/>
                <a:gd name="connsiteY41" fmla="*/ 18859 h 81057"/>
                <a:gd name="connsiteX42" fmla="*/ 5048 w 102774"/>
                <a:gd name="connsiteY42" fmla="*/ 22955 h 81057"/>
                <a:gd name="connsiteX43" fmla="*/ 0 w 102774"/>
                <a:gd name="connsiteY43" fmla="*/ 25622 h 81057"/>
                <a:gd name="connsiteX44" fmla="*/ 6858 w 102774"/>
                <a:gd name="connsiteY44" fmla="*/ 29527 h 81057"/>
                <a:gd name="connsiteX45" fmla="*/ 18383 w 102774"/>
                <a:gd name="connsiteY45" fmla="*/ 56864 h 81057"/>
                <a:gd name="connsiteX46" fmla="*/ 34195 w 102774"/>
                <a:gd name="connsiteY46" fmla="*/ 73533 h 81057"/>
                <a:gd name="connsiteX47" fmla="*/ 52673 w 102774"/>
                <a:gd name="connsiteY47" fmla="*/ 76009 h 81057"/>
                <a:gd name="connsiteX48" fmla="*/ 62865 w 102774"/>
                <a:gd name="connsiteY48" fmla="*/ 81058 h 81057"/>
                <a:gd name="connsiteX49" fmla="*/ 63341 w 102774"/>
                <a:gd name="connsiteY49" fmla="*/ 81058 h 81057"/>
                <a:gd name="connsiteX50" fmla="*/ 60770 w 102774"/>
                <a:gd name="connsiteY50" fmla="*/ 72961 h 8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2774" h="81057">
                  <a:moveTo>
                    <a:pt x="60770" y="72961"/>
                  </a:moveTo>
                  <a:lnTo>
                    <a:pt x="55531" y="71247"/>
                  </a:lnTo>
                  <a:lnTo>
                    <a:pt x="42577" y="57436"/>
                  </a:lnTo>
                  <a:lnTo>
                    <a:pt x="38195" y="56483"/>
                  </a:lnTo>
                  <a:lnTo>
                    <a:pt x="39338" y="52197"/>
                  </a:lnTo>
                  <a:lnTo>
                    <a:pt x="34481" y="43815"/>
                  </a:lnTo>
                  <a:lnTo>
                    <a:pt x="30194" y="41910"/>
                  </a:lnTo>
                  <a:lnTo>
                    <a:pt x="30385" y="32575"/>
                  </a:lnTo>
                  <a:lnTo>
                    <a:pt x="34671" y="30670"/>
                  </a:lnTo>
                  <a:lnTo>
                    <a:pt x="36957" y="34004"/>
                  </a:lnTo>
                  <a:lnTo>
                    <a:pt x="42196" y="37148"/>
                  </a:lnTo>
                  <a:lnTo>
                    <a:pt x="46101" y="31433"/>
                  </a:lnTo>
                  <a:lnTo>
                    <a:pt x="51149" y="33052"/>
                  </a:lnTo>
                  <a:lnTo>
                    <a:pt x="53054" y="30194"/>
                  </a:lnTo>
                  <a:lnTo>
                    <a:pt x="71247" y="35433"/>
                  </a:lnTo>
                  <a:lnTo>
                    <a:pt x="74771" y="32575"/>
                  </a:lnTo>
                  <a:lnTo>
                    <a:pt x="78962" y="35242"/>
                  </a:lnTo>
                  <a:lnTo>
                    <a:pt x="85916" y="33528"/>
                  </a:lnTo>
                  <a:lnTo>
                    <a:pt x="90583" y="40005"/>
                  </a:lnTo>
                  <a:lnTo>
                    <a:pt x="95631" y="39719"/>
                  </a:lnTo>
                  <a:lnTo>
                    <a:pt x="96393" y="34290"/>
                  </a:lnTo>
                  <a:lnTo>
                    <a:pt x="102775" y="31623"/>
                  </a:lnTo>
                  <a:lnTo>
                    <a:pt x="95250" y="27337"/>
                  </a:lnTo>
                  <a:lnTo>
                    <a:pt x="96965" y="24003"/>
                  </a:lnTo>
                  <a:lnTo>
                    <a:pt x="93059" y="22289"/>
                  </a:lnTo>
                  <a:lnTo>
                    <a:pt x="91916" y="14668"/>
                  </a:lnTo>
                  <a:lnTo>
                    <a:pt x="86963" y="14192"/>
                  </a:lnTo>
                  <a:lnTo>
                    <a:pt x="85154" y="17526"/>
                  </a:lnTo>
                  <a:lnTo>
                    <a:pt x="75724" y="18478"/>
                  </a:lnTo>
                  <a:lnTo>
                    <a:pt x="66389" y="13716"/>
                  </a:lnTo>
                  <a:lnTo>
                    <a:pt x="61151" y="13525"/>
                  </a:lnTo>
                  <a:lnTo>
                    <a:pt x="58103" y="8192"/>
                  </a:lnTo>
                  <a:lnTo>
                    <a:pt x="46387" y="0"/>
                  </a:lnTo>
                  <a:lnTo>
                    <a:pt x="40196" y="381"/>
                  </a:lnTo>
                  <a:lnTo>
                    <a:pt x="38100" y="4191"/>
                  </a:lnTo>
                  <a:lnTo>
                    <a:pt x="26956" y="7334"/>
                  </a:lnTo>
                  <a:lnTo>
                    <a:pt x="30861" y="11525"/>
                  </a:lnTo>
                  <a:lnTo>
                    <a:pt x="29623" y="17240"/>
                  </a:lnTo>
                  <a:lnTo>
                    <a:pt x="21622" y="18193"/>
                  </a:lnTo>
                  <a:lnTo>
                    <a:pt x="22384" y="26099"/>
                  </a:lnTo>
                  <a:lnTo>
                    <a:pt x="12573" y="24575"/>
                  </a:lnTo>
                  <a:lnTo>
                    <a:pt x="7430" y="18859"/>
                  </a:lnTo>
                  <a:lnTo>
                    <a:pt x="5048" y="22955"/>
                  </a:lnTo>
                  <a:lnTo>
                    <a:pt x="0" y="25622"/>
                  </a:lnTo>
                  <a:lnTo>
                    <a:pt x="6858" y="29527"/>
                  </a:lnTo>
                  <a:lnTo>
                    <a:pt x="18383" y="56864"/>
                  </a:lnTo>
                  <a:lnTo>
                    <a:pt x="34195" y="73533"/>
                  </a:lnTo>
                  <a:lnTo>
                    <a:pt x="52673" y="76009"/>
                  </a:lnTo>
                  <a:lnTo>
                    <a:pt x="62865" y="81058"/>
                  </a:lnTo>
                  <a:lnTo>
                    <a:pt x="63341" y="81058"/>
                  </a:lnTo>
                  <a:lnTo>
                    <a:pt x="60770" y="7296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69" name="Freeform: Shape 2859">
              <a:extLst>
                <a:ext uri="{FF2B5EF4-FFF2-40B4-BE49-F238E27FC236}">
                  <a16:creationId xmlns:a16="http://schemas.microsoft.com/office/drawing/2014/main" id="{D736DC49-40CC-0A1B-AF71-228909A267A8}"/>
                </a:ext>
              </a:extLst>
            </p:cNvPr>
            <p:cNvSpPr/>
            <p:nvPr/>
          </p:nvSpPr>
          <p:spPr>
            <a:xfrm>
              <a:off x="2077497" y="3700684"/>
              <a:ext cx="36385" cy="13430"/>
            </a:xfrm>
            <a:custGeom>
              <a:avLst/>
              <a:gdLst>
                <a:gd name="connsiteX0" fmla="*/ 34576 w 36385"/>
                <a:gd name="connsiteY0" fmla="*/ 8858 h 13430"/>
                <a:gd name="connsiteX1" fmla="*/ 20098 w 36385"/>
                <a:gd name="connsiteY1" fmla="*/ 0 h 13430"/>
                <a:gd name="connsiteX2" fmla="*/ 0 w 36385"/>
                <a:gd name="connsiteY2" fmla="*/ 1905 h 13430"/>
                <a:gd name="connsiteX3" fmla="*/ 28575 w 36385"/>
                <a:gd name="connsiteY3" fmla="*/ 13430 h 13430"/>
                <a:gd name="connsiteX4" fmla="*/ 36385 w 36385"/>
                <a:gd name="connsiteY4" fmla="*/ 13145 h 13430"/>
                <a:gd name="connsiteX5" fmla="*/ 36385 w 36385"/>
                <a:gd name="connsiteY5" fmla="*/ 12954 h 13430"/>
                <a:gd name="connsiteX6" fmla="*/ 34576 w 36385"/>
                <a:gd name="connsiteY6" fmla="*/ 8858 h 1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85" h="13430">
                  <a:moveTo>
                    <a:pt x="34576" y="8858"/>
                  </a:moveTo>
                  <a:lnTo>
                    <a:pt x="20098" y="0"/>
                  </a:lnTo>
                  <a:lnTo>
                    <a:pt x="0" y="1905"/>
                  </a:lnTo>
                  <a:lnTo>
                    <a:pt x="28575" y="13430"/>
                  </a:lnTo>
                  <a:lnTo>
                    <a:pt x="36385" y="13145"/>
                  </a:lnTo>
                  <a:lnTo>
                    <a:pt x="36385" y="12954"/>
                  </a:lnTo>
                  <a:lnTo>
                    <a:pt x="34576" y="885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0" name="Freeform: Shape 2860">
              <a:extLst>
                <a:ext uri="{FF2B5EF4-FFF2-40B4-BE49-F238E27FC236}">
                  <a16:creationId xmlns:a16="http://schemas.microsoft.com/office/drawing/2014/main" id="{A487A38F-14CA-30A8-11E5-AFE4BDABDD44}"/>
                </a:ext>
              </a:extLst>
            </p:cNvPr>
            <p:cNvSpPr/>
            <p:nvPr/>
          </p:nvSpPr>
          <p:spPr>
            <a:xfrm>
              <a:off x="2186177" y="3669633"/>
              <a:ext cx="125539" cy="73723"/>
            </a:xfrm>
            <a:custGeom>
              <a:avLst/>
              <a:gdLst>
                <a:gd name="connsiteX0" fmla="*/ 953 w 125539"/>
                <a:gd name="connsiteY0" fmla="*/ 12573 h 73723"/>
                <a:gd name="connsiteX1" fmla="*/ 4763 w 125539"/>
                <a:gd name="connsiteY1" fmla="*/ 20574 h 73723"/>
                <a:gd name="connsiteX2" fmla="*/ 14383 w 125539"/>
                <a:gd name="connsiteY2" fmla="*/ 26956 h 73723"/>
                <a:gd name="connsiteX3" fmla="*/ 8192 w 125539"/>
                <a:gd name="connsiteY3" fmla="*/ 34862 h 73723"/>
                <a:gd name="connsiteX4" fmla="*/ 2953 w 125539"/>
                <a:gd name="connsiteY4" fmla="*/ 33623 h 73723"/>
                <a:gd name="connsiteX5" fmla="*/ 2191 w 125539"/>
                <a:gd name="connsiteY5" fmla="*/ 40005 h 73723"/>
                <a:gd name="connsiteX6" fmla="*/ 5048 w 125539"/>
                <a:gd name="connsiteY6" fmla="*/ 44768 h 73723"/>
                <a:gd name="connsiteX7" fmla="*/ 0 w 125539"/>
                <a:gd name="connsiteY7" fmla="*/ 46672 h 73723"/>
                <a:gd name="connsiteX8" fmla="*/ 5048 w 125539"/>
                <a:gd name="connsiteY8" fmla="*/ 53721 h 73723"/>
                <a:gd name="connsiteX9" fmla="*/ 10192 w 125539"/>
                <a:gd name="connsiteY9" fmla="*/ 54007 h 73723"/>
                <a:gd name="connsiteX10" fmla="*/ 14859 w 125539"/>
                <a:gd name="connsiteY10" fmla="*/ 61913 h 73723"/>
                <a:gd name="connsiteX11" fmla="*/ 12764 w 125539"/>
                <a:gd name="connsiteY11" fmla="*/ 72485 h 73723"/>
                <a:gd name="connsiteX12" fmla="*/ 12859 w 125539"/>
                <a:gd name="connsiteY12" fmla="*/ 72676 h 73723"/>
                <a:gd name="connsiteX13" fmla="*/ 17431 w 125539"/>
                <a:gd name="connsiteY13" fmla="*/ 73438 h 73723"/>
                <a:gd name="connsiteX14" fmla="*/ 20288 w 125539"/>
                <a:gd name="connsiteY14" fmla="*/ 70580 h 73723"/>
                <a:gd name="connsiteX15" fmla="*/ 33147 w 125539"/>
                <a:gd name="connsiteY15" fmla="*/ 70199 h 73723"/>
                <a:gd name="connsiteX16" fmla="*/ 35719 w 125539"/>
                <a:gd name="connsiteY16" fmla="*/ 66389 h 73723"/>
                <a:gd name="connsiteX17" fmla="*/ 43720 w 125539"/>
                <a:gd name="connsiteY17" fmla="*/ 65818 h 73723"/>
                <a:gd name="connsiteX18" fmla="*/ 48959 w 125539"/>
                <a:gd name="connsiteY18" fmla="*/ 72485 h 73723"/>
                <a:gd name="connsiteX19" fmla="*/ 52483 w 125539"/>
                <a:gd name="connsiteY19" fmla="*/ 68961 h 73723"/>
                <a:gd name="connsiteX20" fmla="*/ 58198 w 125539"/>
                <a:gd name="connsiteY20" fmla="*/ 73723 h 73723"/>
                <a:gd name="connsiteX21" fmla="*/ 75248 w 125539"/>
                <a:gd name="connsiteY21" fmla="*/ 71819 h 73723"/>
                <a:gd name="connsiteX22" fmla="*/ 76772 w 125539"/>
                <a:gd name="connsiteY22" fmla="*/ 69628 h 73723"/>
                <a:gd name="connsiteX23" fmla="*/ 72866 w 125539"/>
                <a:gd name="connsiteY23" fmla="*/ 62579 h 73723"/>
                <a:gd name="connsiteX24" fmla="*/ 79343 w 125539"/>
                <a:gd name="connsiteY24" fmla="*/ 62579 h 73723"/>
                <a:gd name="connsiteX25" fmla="*/ 85249 w 125539"/>
                <a:gd name="connsiteY25" fmla="*/ 56864 h 73723"/>
                <a:gd name="connsiteX26" fmla="*/ 90202 w 125539"/>
                <a:gd name="connsiteY26" fmla="*/ 57531 h 73723"/>
                <a:gd name="connsiteX27" fmla="*/ 94869 w 125539"/>
                <a:gd name="connsiteY27" fmla="*/ 53340 h 73723"/>
                <a:gd name="connsiteX28" fmla="*/ 103823 w 125539"/>
                <a:gd name="connsiteY28" fmla="*/ 57817 h 73723"/>
                <a:gd name="connsiteX29" fmla="*/ 114967 w 125539"/>
                <a:gd name="connsiteY29" fmla="*/ 55626 h 73723"/>
                <a:gd name="connsiteX30" fmla="*/ 115157 w 125539"/>
                <a:gd name="connsiteY30" fmla="*/ 55721 h 73723"/>
                <a:gd name="connsiteX31" fmla="*/ 103632 w 125539"/>
                <a:gd name="connsiteY31" fmla="*/ 41910 h 73723"/>
                <a:gd name="connsiteX32" fmla="*/ 111919 w 125539"/>
                <a:gd name="connsiteY32" fmla="*/ 24670 h 73723"/>
                <a:gd name="connsiteX33" fmla="*/ 124778 w 125539"/>
                <a:gd name="connsiteY33" fmla="*/ 16478 h 73723"/>
                <a:gd name="connsiteX34" fmla="*/ 125540 w 125539"/>
                <a:gd name="connsiteY34" fmla="*/ 12573 h 73723"/>
                <a:gd name="connsiteX35" fmla="*/ 114395 w 125539"/>
                <a:gd name="connsiteY35" fmla="*/ 11335 h 73723"/>
                <a:gd name="connsiteX36" fmla="*/ 111824 w 125539"/>
                <a:gd name="connsiteY36" fmla="*/ 7144 h 73723"/>
                <a:gd name="connsiteX37" fmla="*/ 107728 w 125539"/>
                <a:gd name="connsiteY37" fmla="*/ 8477 h 73723"/>
                <a:gd name="connsiteX38" fmla="*/ 106394 w 125539"/>
                <a:gd name="connsiteY38" fmla="*/ 5334 h 73723"/>
                <a:gd name="connsiteX39" fmla="*/ 101060 w 125539"/>
                <a:gd name="connsiteY39" fmla="*/ 7811 h 73723"/>
                <a:gd name="connsiteX40" fmla="*/ 98489 w 125539"/>
                <a:gd name="connsiteY40" fmla="*/ 3429 h 73723"/>
                <a:gd name="connsiteX41" fmla="*/ 78867 w 125539"/>
                <a:gd name="connsiteY41" fmla="*/ 6572 h 73723"/>
                <a:gd name="connsiteX42" fmla="*/ 69818 w 125539"/>
                <a:gd name="connsiteY42" fmla="*/ 12954 h 73723"/>
                <a:gd name="connsiteX43" fmla="*/ 62103 w 125539"/>
                <a:gd name="connsiteY43" fmla="*/ 16478 h 73723"/>
                <a:gd name="connsiteX44" fmla="*/ 57436 w 125539"/>
                <a:gd name="connsiteY44" fmla="*/ 13906 h 73723"/>
                <a:gd name="connsiteX45" fmla="*/ 44291 w 125539"/>
                <a:gd name="connsiteY45" fmla="*/ 12002 h 73723"/>
                <a:gd name="connsiteX46" fmla="*/ 39910 w 125539"/>
                <a:gd name="connsiteY46" fmla="*/ 14478 h 73723"/>
                <a:gd name="connsiteX47" fmla="*/ 21812 w 125539"/>
                <a:gd name="connsiteY47" fmla="*/ 10668 h 73723"/>
                <a:gd name="connsiteX48" fmla="*/ 10192 w 125539"/>
                <a:gd name="connsiteY48" fmla="*/ 11049 h 73723"/>
                <a:gd name="connsiteX49" fmla="*/ 14573 w 125539"/>
                <a:gd name="connsiteY49" fmla="*/ 5334 h 73723"/>
                <a:gd name="connsiteX50" fmla="*/ 8287 w 125539"/>
                <a:gd name="connsiteY50" fmla="*/ 0 h 73723"/>
                <a:gd name="connsiteX51" fmla="*/ 2191 w 125539"/>
                <a:gd name="connsiteY51" fmla="*/ 6572 h 73723"/>
                <a:gd name="connsiteX52" fmla="*/ 953 w 125539"/>
                <a:gd name="connsiteY52" fmla="*/ 12573 h 7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5539" h="73723">
                  <a:moveTo>
                    <a:pt x="953" y="12573"/>
                  </a:moveTo>
                  <a:lnTo>
                    <a:pt x="4763" y="20574"/>
                  </a:lnTo>
                  <a:lnTo>
                    <a:pt x="14383" y="26956"/>
                  </a:lnTo>
                  <a:lnTo>
                    <a:pt x="8192" y="34862"/>
                  </a:lnTo>
                  <a:lnTo>
                    <a:pt x="2953" y="33623"/>
                  </a:lnTo>
                  <a:lnTo>
                    <a:pt x="2191" y="40005"/>
                  </a:lnTo>
                  <a:lnTo>
                    <a:pt x="5048" y="44768"/>
                  </a:lnTo>
                  <a:lnTo>
                    <a:pt x="0" y="46672"/>
                  </a:lnTo>
                  <a:lnTo>
                    <a:pt x="5048" y="53721"/>
                  </a:lnTo>
                  <a:lnTo>
                    <a:pt x="10192" y="54007"/>
                  </a:lnTo>
                  <a:lnTo>
                    <a:pt x="14859" y="61913"/>
                  </a:lnTo>
                  <a:lnTo>
                    <a:pt x="12764" y="72485"/>
                  </a:lnTo>
                  <a:lnTo>
                    <a:pt x="12859" y="72676"/>
                  </a:lnTo>
                  <a:lnTo>
                    <a:pt x="17431" y="73438"/>
                  </a:lnTo>
                  <a:lnTo>
                    <a:pt x="20288" y="70580"/>
                  </a:lnTo>
                  <a:lnTo>
                    <a:pt x="33147" y="70199"/>
                  </a:lnTo>
                  <a:lnTo>
                    <a:pt x="35719" y="66389"/>
                  </a:lnTo>
                  <a:lnTo>
                    <a:pt x="43720" y="65818"/>
                  </a:lnTo>
                  <a:lnTo>
                    <a:pt x="48959" y="72485"/>
                  </a:lnTo>
                  <a:lnTo>
                    <a:pt x="52483" y="68961"/>
                  </a:lnTo>
                  <a:lnTo>
                    <a:pt x="58198" y="73723"/>
                  </a:lnTo>
                  <a:lnTo>
                    <a:pt x="75248" y="71819"/>
                  </a:lnTo>
                  <a:lnTo>
                    <a:pt x="76772" y="69628"/>
                  </a:lnTo>
                  <a:lnTo>
                    <a:pt x="72866" y="62579"/>
                  </a:lnTo>
                  <a:lnTo>
                    <a:pt x="79343" y="62579"/>
                  </a:lnTo>
                  <a:lnTo>
                    <a:pt x="85249" y="56864"/>
                  </a:lnTo>
                  <a:lnTo>
                    <a:pt x="90202" y="57531"/>
                  </a:lnTo>
                  <a:lnTo>
                    <a:pt x="94869" y="53340"/>
                  </a:lnTo>
                  <a:lnTo>
                    <a:pt x="103823" y="57817"/>
                  </a:lnTo>
                  <a:lnTo>
                    <a:pt x="114967" y="55626"/>
                  </a:lnTo>
                  <a:lnTo>
                    <a:pt x="115157" y="55721"/>
                  </a:lnTo>
                  <a:lnTo>
                    <a:pt x="103632" y="41910"/>
                  </a:lnTo>
                  <a:lnTo>
                    <a:pt x="111919" y="24670"/>
                  </a:lnTo>
                  <a:lnTo>
                    <a:pt x="124778" y="16478"/>
                  </a:lnTo>
                  <a:lnTo>
                    <a:pt x="125540" y="12573"/>
                  </a:lnTo>
                  <a:lnTo>
                    <a:pt x="114395" y="11335"/>
                  </a:lnTo>
                  <a:lnTo>
                    <a:pt x="111824" y="7144"/>
                  </a:lnTo>
                  <a:lnTo>
                    <a:pt x="107728" y="8477"/>
                  </a:lnTo>
                  <a:lnTo>
                    <a:pt x="106394" y="5334"/>
                  </a:lnTo>
                  <a:lnTo>
                    <a:pt x="101060" y="7811"/>
                  </a:lnTo>
                  <a:lnTo>
                    <a:pt x="98489" y="3429"/>
                  </a:lnTo>
                  <a:lnTo>
                    <a:pt x="78867" y="6572"/>
                  </a:lnTo>
                  <a:lnTo>
                    <a:pt x="69818" y="12954"/>
                  </a:lnTo>
                  <a:lnTo>
                    <a:pt x="62103" y="16478"/>
                  </a:lnTo>
                  <a:lnTo>
                    <a:pt x="57436" y="13906"/>
                  </a:lnTo>
                  <a:lnTo>
                    <a:pt x="44291" y="12002"/>
                  </a:lnTo>
                  <a:lnTo>
                    <a:pt x="39910" y="14478"/>
                  </a:lnTo>
                  <a:lnTo>
                    <a:pt x="21812" y="10668"/>
                  </a:lnTo>
                  <a:lnTo>
                    <a:pt x="10192" y="11049"/>
                  </a:lnTo>
                  <a:lnTo>
                    <a:pt x="14573" y="5334"/>
                  </a:lnTo>
                  <a:lnTo>
                    <a:pt x="8287" y="0"/>
                  </a:lnTo>
                  <a:lnTo>
                    <a:pt x="2191" y="6572"/>
                  </a:lnTo>
                  <a:lnTo>
                    <a:pt x="953" y="1257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1" name="Freeform: Shape 2861">
              <a:extLst>
                <a:ext uri="{FF2B5EF4-FFF2-40B4-BE49-F238E27FC236}">
                  <a16:creationId xmlns:a16="http://schemas.microsoft.com/office/drawing/2014/main" id="{A1F40E7E-96B1-D36D-FFCC-FDC104B222C2}"/>
                </a:ext>
              </a:extLst>
            </p:cNvPr>
            <p:cNvSpPr/>
            <p:nvPr/>
          </p:nvSpPr>
          <p:spPr>
            <a:xfrm>
              <a:off x="2056161" y="3645535"/>
              <a:ext cx="77057" cy="64008"/>
            </a:xfrm>
            <a:custGeom>
              <a:avLst/>
              <a:gdLst>
                <a:gd name="connsiteX0" fmla="*/ 55721 w 77057"/>
                <a:gd name="connsiteY0" fmla="*/ 3334 h 64008"/>
                <a:gd name="connsiteX1" fmla="*/ 48768 w 77057"/>
                <a:gd name="connsiteY1" fmla="*/ 5048 h 64008"/>
                <a:gd name="connsiteX2" fmla="*/ 44577 w 77057"/>
                <a:gd name="connsiteY2" fmla="*/ 2381 h 64008"/>
                <a:gd name="connsiteX3" fmla="*/ 41053 w 77057"/>
                <a:gd name="connsiteY3" fmla="*/ 5239 h 64008"/>
                <a:gd name="connsiteX4" fmla="*/ 22860 w 77057"/>
                <a:gd name="connsiteY4" fmla="*/ 0 h 64008"/>
                <a:gd name="connsiteX5" fmla="*/ 20955 w 77057"/>
                <a:gd name="connsiteY5" fmla="*/ 2857 h 64008"/>
                <a:gd name="connsiteX6" fmla="*/ 15907 w 77057"/>
                <a:gd name="connsiteY6" fmla="*/ 1238 h 64008"/>
                <a:gd name="connsiteX7" fmla="*/ 12001 w 77057"/>
                <a:gd name="connsiteY7" fmla="*/ 6953 h 64008"/>
                <a:gd name="connsiteX8" fmla="*/ 6763 w 77057"/>
                <a:gd name="connsiteY8" fmla="*/ 3810 h 64008"/>
                <a:gd name="connsiteX9" fmla="*/ 4477 w 77057"/>
                <a:gd name="connsiteY9" fmla="*/ 476 h 64008"/>
                <a:gd name="connsiteX10" fmla="*/ 190 w 77057"/>
                <a:gd name="connsiteY10" fmla="*/ 2381 h 64008"/>
                <a:gd name="connsiteX11" fmla="*/ 0 w 77057"/>
                <a:gd name="connsiteY11" fmla="*/ 11716 h 64008"/>
                <a:gd name="connsiteX12" fmla="*/ 4286 w 77057"/>
                <a:gd name="connsiteY12" fmla="*/ 13621 h 64008"/>
                <a:gd name="connsiteX13" fmla="*/ 9144 w 77057"/>
                <a:gd name="connsiteY13" fmla="*/ 22003 h 64008"/>
                <a:gd name="connsiteX14" fmla="*/ 8001 w 77057"/>
                <a:gd name="connsiteY14" fmla="*/ 26289 h 64008"/>
                <a:gd name="connsiteX15" fmla="*/ 12382 w 77057"/>
                <a:gd name="connsiteY15" fmla="*/ 27241 h 64008"/>
                <a:gd name="connsiteX16" fmla="*/ 25336 w 77057"/>
                <a:gd name="connsiteY16" fmla="*/ 41053 h 64008"/>
                <a:gd name="connsiteX17" fmla="*/ 30575 w 77057"/>
                <a:gd name="connsiteY17" fmla="*/ 42767 h 64008"/>
                <a:gd name="connsiteX18" fmla="*/ 33147 w 77057"/>
                <a:gd name="connsiteY18" fmla="*/ 50863 h 64008"/>
                <a:gd name="connsiteX19" fmla="*/ 32671 w 77057"/>
                <a:gd name="connsiteY19" fmla="*/ 50863 h 64008"/>
                <a:gd name="connsiteX20" fmla="*/ 41434 w 77057"/>
                <a:gd name="connsiteY20" fmla="*/ 55150 h 64008"/>
                <a:gd name="connsiteX21" fmla="*/ 55912 w 77057"/>
                <a:gd name="connsiteY21" fmla="*/ 64008 h 64008"/>
                <a:gd name="connsiteX22" fmla="*/ 58674 w 77057"/>
                <a:gd name="connsiteY22" fmla="*/ 59436 h 64008"/>
                <a:gd name="connsiteX23" fmla="*/ 55912 w 77057"/>
                <a:gd name="connsiteY23" fmla="*/ 54673 h 64008"/>
                <a:gd name="connsiteX24" fmla="*/ 59626 w 77057"/>
                <a:gd name="connsiteY24" fmla="*/ 48006 h 64008"/>
                <a:gd name="connsiteX25" fmla="*/ 66770 w 77057"/>
                <a:gd name="connsiteY25" fmla="*/ 49244 h 64008"/>
                <a:gd name="connsiteX26" fmla="*/ 64675 w 77057"/>
                <a:gd name="connsiteY26" fmla="*/ 42291 h 64008"/>
                <a:gd name="connsiteX27" fmla="*/ 71056 w 77057"/>
                <a:gd name="connsiteY27" fmla="*/ 40862 h 64008"/>
                <a:gd name="connsiteX28" fmla="*/ 75057 w 77057"/>
                <a:gd name="connsiteY28" fmla="*/ 41053 h 64008"/>
                <a:gd name="connsiteX29" fmla="*/ 69913 w 77057"/>
                <a:gd name="connsiteY29" fmla="*/ 32004 h 64008"/>
                <a:gd name="connsiteX30" fmla="*/ 77057 w 77057"/>
                <a:gd name="connsiteY30" fmla="*/ 31813 h 64008"/>
                <a:gd name="connsiteX31" fmla="*/ 72199 w 77057"/>
                <a:gd name="connsiteY31" fmla="*/ 24860 h 64008"/>
                <a:gd name="connsiteX32" fmla="*/ 66770 w 77057"/>
                <a:gd name="connsiteY32" fmla="*/ 24574 h 64008"/>
                <a:gd name="connsiteX33" fmla="*/ 66008 w 77057"/>
                <a:gd name="connsiteY33" fmla="*/ 21050 h 64008"/>
                <a:gd name="connsiteX34" fmla="*/ 71819 w 77057"/>
                <a:gd name="connsiteY34" fmla="*/ 15049 h 64008"/>
                <a:gd name="connsiteX35" fmla="*/ 71438 w 77057"/>
                <a:gd name="connsiteY35" fmla="*/ 9049 h 64008"/>
                <a:gd name="connsiteX36" fmla="*/ 65437 w 77057"/>
                <a:gd name="connsiteY36" fmla="*/ 9525 h 64008"/>
                <a:gd name="connsiteX37" fmla="*/ 60388 w 77057"/>
                <a:gd name="connsiteY37" fmla="*/ 9811 h 64008"/>
                <a:gd name="connsiteX38" fmla="*/ 55721 w 77057"/>
                <a:gd name="connsiteY38" fmla="*/ 3334 h 6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7057" h="64008">
                  <a:moveTo>
                    <a:pt x="55721" y="3334"/>
                  </a:moveTo>
                  <a:lnTo>
                    <a:pt x="48768" y="5048"/>
                  </a:lnTo>
                  <a:lnTo>
                    <a:pt x="44577" y="2381"/>
                  </a:lnTo>
                  <a:lnTo>
                    <a:pt x="41053" y="5239"/>
                  </a:lnTo>
                  <a:lnTo>
                    <a:pt x="22860" y="0"/>
                  </a:lnTo>
                  <a:lnTo>
                    <a:pt x="20955" y="2857"/>
                  </a:lnTo>
                  <a:lnTo>
                    <a:pt x="15907" y="1238"/>
                  </a:lnTo>
                  <a:lnTo>
                    <a:pt x="12001" y="6953"/>
                  </a:lnTo>
                  <a:lnTo>
                    <a:pt x="6763" y="3810"/>
                  </a:lnTo>
                  <a:lnTo>
                    <a:pt x="4477" y="476"/>
                  </a:lnTo>
                  <a:lnTo>
                    <a:pt x="190" y="2381"/>
                  </a:lnTo>
                  <a:lnTo>
                    <a:pt x="0" y="11716"/>
                  </a:lnTo>
                  <a:lnTo>
                    <a:pt x="4286" y="13621"/>
                  </a:lnTo>
                  <a:lnTo>
                    <a:pt x="9144" y="22003"/>
                  </a:lnTo>
                  <a:lnTo>
                    <a:pt x="8001" y="26289"/>
                  </a:lnTo>
                  <a:lnTo>
                    <a:pt x="12382" y="27241"/>
                  </a:lnTo>
                  <a:lnTo>
                    <a:pt x="25336" y="41053"/>
                  </a:lnTo>
                  <a:lnTo>
                    <a:pt x="30575" y="42767"/>
                  </a:lnTo>
                  <a:lnTo>
                    <a:pt x="33147" y="50863"/>
                  </a:lnTo>
                  <a:lnTo>
                    <a:pt x="32671" y="50863"/>
                  </a:lnTo>
                  <a:lnTo>
                    <a:pt x="41434" y="55150"/>
                  </a:lnTo>
                  <a:lnTo>
                    <a:pt x="55912" y="64008"/>
                  </a:lnTo>
                  <a:lnTo>
                    <a:pt x="58674" y="59436"/>
                  </a:lnTo>
                  <a:lnTo>
                    <a:pt x="55912" y="54673"/>
                  </a:lnTo>
                  <a:lnTo>
                    <a:pt x="59626" y="48006"/>
                  </a:lnTo>
                  <a:lnTo>
                    <a:pt x="66770" y="49244"/>
                  </a:lnTo>
                  <a:lnTo>
                    <a:pt x="64675" y="42291"/>
                  </a:lnTo>
                  <a:lnTo>
                    <a:pt x="71056" y="40862"/>
                  </a:lnTo>
                  <a:lnTo>
                    <a:pt x="75057" y="41053"/>
                  </a:lnTo>
                  <a:lnTo>
                    <a:pt x="69913" y="32004"/>
                  </a:lnTo>
                  <a:lnTo>
                    <a:pt x="77057" y="31813"/>
                  </a:lnTo>
                  <a:lnTo>
                    <a:pt x="72199" y="24860"/>
                  </a:lnTo>
                  <a:lnTo>
                    <a:pt x="66770" y="24574"/>
                  </a:lnTo>
                  <a:lnTo>
                    <a:pt x="66008" y="21050"/>
                  </a:lnTo>
                  <a:lnTo>
                    <a:pt x="71819" y="15049"/>
                  </a:lnTo>
                  <a:lnTo>
                    <a:pt x="71438" y="9049"/>
                  </a:lnTo>
                  <a:lnTo>
                    <a:pt x="65437" y="9525"/>
                  </a:lnTo>
                  <a:lnTo>
                    <a:pt x="60388" y="9811"/>
                  </a:lnTo>
                  <a:lnTo>
                    <a:pt x="55721" y="333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2" name="Freeform: Shape 2862">
              <a:extLst>
                <a:ext uri="{FF2B5EF4-FFF2-40B4-BE49-F238E27FC236}">
                  <a16:creationId xmlns:a16="http://schemas.microsoft.com/office/drawing/2014/main" id="{A60048EC-E01E-EDBF-7586-CE0B1E0C07FD}"/>
                </a:ext>
              </a:extLst>
            </p:cNvPr>
            <p:cNvSpPr/>
            <p:nvPr/>
          </p:nvSpPr>
          <p:spPr>
            <a:xfrm>
              <a:off x="1794129" y="3488277"/>
              <a:ext cx="77057" cy="54863"/>
            </a:xfrm>
            <a:custGeom>
              <a:avLst/>
              <a:gdLst>
                <a:gd name="connsiteX0" fmla="*/ 76200 w 77057"/>
                <a:gd name="connsiteY0" fmla="*/ 29242 h 54863"/>
                <a:gd name="connsiteX1" fmla="*/ 72866 w 77057"/>
                <a:gd name="connsiteY1" fmla="*/ 27432 h 54863"/>
                <a:gd name="connsiteX2" fmla="*/ 74009 w 77057"/>
                <a:gd name="connsiteY2" fmla="*/ 24098 h 54863"/>
                <a:gd name="connsiteX3" fmla="*/ 69152 w 77057"/>
                <a:gd name="connsiteY3" fmla="*/ 22574 h 54863"/>
                <a:gd name="connsiteX4" fmla="*/ 61817 w 77057"/>
                <a:gd name="connsiteY4" fmla="*/ 21812 h 54863"/>
                <a:gd name="connsiteX5" fmla="*/ 64103 w 77057"/>
                <a:gd name="connsiteY5" fmla="*/ 10477 h 54863"/>
                <a:gd name="connsiteX6" fmla="*/ 57721 w 77057"/>
                <a:gd name="connsiteY6" fmla="*/ 6191 h 54863"/>
                <a:gd name="connsiteX7" fmla="*/ 51911 w 77057"/>
                <a:gd name="connsiteY7" fmla="*/ 6191 h 54863"/>
                <a:gd name="connsiteX8" fmla="*/ 50197 w 77057"/>
                <a:gd name="connsiteY8" fmla="*/ 571 h 54863"/>
                <a:gd name="connsiteX9" fmla="*/ 45529 w 77057"/>
                <a:gd name="connsiteY9" fmla="*/ 3238 h 54863"/>
                <a:gd name="connsiteX10" fmla="*/ 42100 w 77057"/>
                <a:gd name="connsiteY10" fmla="*/ 0 h 54863"/>
                <a:gd name="connsiteX11" fmla="*/ 37624 w 77057"/>
                <a:gd name="connsiteY11" fmla="*/ 5143 h 54863"/>
                <a:gd name="connsiteX12" fmla="*/ 26765 w 77057"/>
                <a:gd name="connsiteY12" fmla="*/ 8858 h 54863"/>
                <a:gd name="connsiteX13" fmla="*/ 23908 w 77057"/>
                <a:gd name="connsiteY13" fmla="*/ 6477 h 54863"/>
                <a:gd name="connsiteX14" fmla="*/ 18859 w 77057"/>
                <a:gd name="connsiteY14" fmla="*/ 8096 h 54863"/>
                <a:gd name="connsiteX15" fmla="*/ 16192 w 77057"/>
                <a:gd name="connsiteY15" fmla="*/ 2953 h 54863"/>
                <a:gd name="connsiteX16" fmla="*/ 16192 w 77057"/>
                <a:gd name="connsiteY16" fmla="*/ 2857 h 54863"/>
                <a:gd name="connsiteX17" fmla="*/ 0 w 77057"/>
                <a:gd name="connsiteY17" fmla="*/ 11144 h 54863"/>
                <a:gd name="connsiteX18" fmla="*/ 95 w 77057"/>
                <a:gd name="connsiteY18" fmla="*/ 11239 h 54863"/>
                <a:gd name="connsiteX19" fmla="*/ 2191 w 77057"/>
                <a:gd name="connsiteY19" fmla="*/ 19907 h 54863"/>
                <a:gd name="connsiteX20" fmla="*/ 7048 w 77057"/>
                <a:gd name="connsiteY20" fmla="*/ 22384 h 54863"/>
                <a:gd name="connsiteX21" fmla="*/ 12478 w 77057"/>
                <a:gd name="connsiteY21" fmla="*/ 19145 h 54863"/>
                <a:gd name="connsiteX22" fmla="*/ 16383 w 77057"/>
                <a:gd name="connsiteY22" fmla="*/ 28099 h 54863"/>
                <a:gd name="connsiteX23" fmla="*/ 21527 w 77057"/>
                <a:gd name="connsiteY23" fmla="*/ 27813 h 54863"/>
                <a:gd name="connsiteX24" fmla="*/ 24575 w 77057"/>
                <a:gd name="connsiteY24" fmla="*/ 33147 h 54863"/>
                <a:gd name="connsiteX25" fmla="*/ 32861 w 77057"/>
                <a:gd name="connsiteY25" fmla="*/ 33528 h 54863"/>
                <a:gd name="connsiteX26" fmla="*/ 31813 w 77057"/>
                <a:gd name="connsiteY26" fmla="*/ 42386 h 54863"/>
                <a:gd name="connsiteX27" fmla="*/ 40862 w 77057"/>
                <a:gd name="connsiteY27" fmla="*/ 41719 h 54863"/>
                <a:gd name="connsiteX28" fmla="*/ 46577 w 77057"/>
                <a:gd name="connsiteY28" fmla="*/ 35338 h 54863"/>
                <a:gd name="connsiteX29" fmla="*/ 47054 w 77057"/>
                <a:gd name="connsiteY29" fmla="*/ 46863 h 54863"/>
                <a:gd name="connsiteX30" fmla="*/ 56864 w 77057"/>
                <a:gd name="connsiteY30" fmla="*/ 50006 h 54863"/>
                <a:gd name="connsiteX31" fmla="*/ 59150 w 77057"/>
                <a:gd name="connsiteY31" fmla="*/ 54864 h 54863"/>
                <a:gd name="connsiteX32" fmla="*/ 64770 w 77057"/>
                <a:gd name="connsiteY32" fmla="*/ 52673 h 54863"/>
                <a:gd name="connsiteX33" fmla="*/ 64770 w 77057"/>
                <a:gd name="connsiteY33" fmla="*/ 52768 h 54863"/>
                <a:gd name="connsiteX34" fmla="*/ 66675 w 77057"/>
                <a:gd name="connsiteY34" fmla="*/ 48387 h 54863"/>
                <a:gd name="connsiteX35" fmla="*/ 62960 w 77057"/>
                <a:gd name="connsiteY35" fmla="*/ 45053 h 54863"/>
                <a:gd name="connsiteX36" fmla="*/ 67437 w 77057"/>
                <a:gd name="connsiteY36" fmla="*/ 36671 h 54863"/>
                <a:gd name="connsiteX37" fmla="*/ 72676 w 77057"/>
                <a:gd name="connsiteY37" fmla="*/ 37338 h 54863"/>
                <a:gd name="connsiteX38" fmla="*/ 77057 w 77057"/>
                <a:gd name="connsiteY38" fmla="*/ 33052 h 54863"/>
                <a:gd name="connsiteX39" fmla="*/ 76200 w 77057"/>
                <a:gd name="connsiteY39" fmla="*/ 29242 h 5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7057" h="54863">
                  <a:moveTo>
                    <a:pt x="76200" y="29242"/>
                  </a:moveTo>
                  <a:lnTo>
                    <a:pt x="72866" y="27432"/>
                  </a:lnTo>
                  <a:lnTo>
                    <a:pt x="74009" y="24098"/>
                  </a:lnTo>
                  <a:lnTo>
                    <a:pt x="69152" y="22574"/>
                  </a:lnTo>
                  <a:lnTo>
                    <a:pt x="61817" y="21812"/>
                  </a:lnTo>
                  <a:lnTo>
                    <a:pt x="64103" y="10477"/>
                  </a:lnTo>
                  <a:lnTo>
                    <a:pt x="57721" y="6191"/>
                  </a:lnTo>
                  <a:lnTo>
                    <a:pt x="51911" y="6191"/>
                  </a:lnTo>
                  <a:lnTo>
                    <a:pt x="50197" y="571"/>
                  </a:lnTo>
                  <a:lnTo>
                    <a:pt x="45529" y="3238"/>
                  </a:lnTo>
                  <a:lnTo>
                    <a:pt x="42100" y="0"/>
                  </a:lnTo>
                  <a:lnTo>
                    <a:pt x="37624" y="5143"/>
                  </a:lnTo>
                  <a:lnTo>
                    <a:pt x="26765" y="8858"/>
                  </a:lnTo>
                  <a:lnTo>
                    <a:pt x="23908" y="6477"/>
                  </a:lnTo>
                  <a:lnTo>
                    <a:pt x="18859" y="8096"/>
                  </a:lnTo>
                  <a:lnTo>
                    <a:pt x="16192" y="2953"/>
                  </a:lnTo>
                  <a:lnTo>
                    <a:pt x="16192" y="2857"/>
                  </a:lnTo>
                  <a:lnTo>
                    <a:pt x="0" y="11144"/>
                  </a:lnTo>
                  <a:lnTo>
                    <a:pt x="95" y="11239"/>
                  </a:lnTo>
                  <a:lnTo>
                    <a:pt x="2191" y="19907"/>
                  </a:lnTo>
                  <a:lnTo>
                    <a:pt x="7048" y="22384"/>
                  </a:lnTo>
                  <a:lnTo>
                    <a:pt x="12478" y="19145"/>
                  </a:lnTo>
                  <a:lnTo>
                    <a:pt x="16383" y="28099"/>
                  </a:lnTo>
                  <a:lnTo>
                    <a:pt x="21527" y="27813"/>
                  </a:lnTo>
                  <a:lnTo>
                    <a:pt x="24575" y="33147"/>
                  </a:lnTo>
                  <a:lnTo>
                    <a:pt x="32861" y="33528"/>
                  </a:lnTo>
                  <a:lnTo>
                    <a:pt x="31813" y="42386"/>
                  </a:lnTo>
                  <a:lnTo>
                    <a:pt x="40862" y="41719"/>
                  </a:lnTo>
                  <a:lnTo>
                    <a:pt x="46577" y="35338"/>
                  </a:lnTo>
                  <a:lnTo>
                    <a:pt x="47054" y="46863"/>
                  </a:lnTo>
                  <a:lnTo>
                    <a:pt x="56864" y="50006"/>
                  </a:lnTo>
                  <a:lnTo>
                    <a:pt x="59150" y="54864"/>
                  </a:lnTo>
                  <a:lnTo>
                    <a:pt x="64770" y="52673"/>
                  </a:lnTo>
                  <a:lnTo>
                    <a:pt x="64770" y="52768"/>
                  </a:lnTo>
                  <a:lnTo>
                    <a:pt x="66675" y="48387"/>
                  </a:lnTo>
                  <a:lnTo>
                    <a:pt x="62960" y="45053"/>
                  </a:lnTo>
                  <a:lnTo>
                    <a:pt x="67437" y="36671"/>
                  </a:lnTo>
                  <a:lnTo>
                    <a:pt x="72676" y="37338"/>
                  </a:lnTo>
                  <a:lnTo>
                    <a:pt x="77057" y="33052"/>
                  </a:lnTo>
                  <a:lnTo>
                    <a:pt x="76200" y="2924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3" name="Freeform: Shape 2863">
              <a:extLst>
                <a:ext uri="{FF2B5EF4-FFF2-40B4-BE49-F238E27FC236}">
                  <a16:creationId xmlns:a16="http://schemas.microsoft.com/office/drawing/2014/main" id="{0D6A6CB2-17CA-08EF-61B8-F08947BFF4E8}"/>
                </a:ext>
              </a:extLst>
            </p:cNvPr>
            <p:cNvSpPr/>
            <p:nvPr/>
          </p:nvSpPr>
          <p:spPr>
            <a:xfrm>
              <a:off x="2202656" y="3360070"/>
              <a:ext cx="190595" cy="136302"/>
            </a:xfrm>
            <a:custGeom>
              <a:avLst/>
              <a:gdLst>
                <a:gd name="connsiteX0" fmla="*/ 183642 w 190595"/>
                <a:gd name="connsiteY0" fmla="*/ 71342 h 136302"/>
                <a:gd name="connsiteX1" fmla="*/ 185166 w 190595"/>
                <a:gd name="connsiteY1" fmla="*/ 66675 h 136302"/>
                <a:gd name="connsiteX2" fmla="*/ 170688 w 190595"/>
                <a:gd name="connsiteY2" fmla="*/ 63817 h 136302"/>
                <a:gd name="connsiteX3" fmla="*/ 172784 w 190595"/>
                <a:gd name="connsiteY3" fmla="*/ 57341 h 136302"/>
                <a:gd name="connsiteX4" fmla="*/ 162687 w 190595"/>
                <a:gd name="connsiteY4" fmla="*/ 53816 h 136302"/>
                <a:gd name="connsiteX5" fmla="*/ 157353 w 190595"/>
                <a:gd name="connsiteY5" fmla="*/ 45529 h 136302"/>
                <a:gd name="connsiteX6" fmla="*/ 159067 w 190595"/>
                <a:gd name="connsiteY6" fmla="*/ 41624 h 136302"/>
                <a:gd name="connsiteX7" fmla="*/ 151638 w 190595"/>
                <a:gd name="connsiteY7" fmla="*/ 36195 h 136302"/>
                <a:gd name="connsiteX8" fmla="*/ 157353 w 190595"/>
                <a:gd name="connsiteY8" fmla="*/ 29718 h 136302"/>
                <a:gd name="connsiteX9" fmla="*/ 152114 w 190595"/>
                <a:gd name="connsiteY9" fmla="*/ 24765 h 136302"/>
                <a:gd name="connsiteX10" fmla="*/ 155734 w 190595"/>
                <a:gd name="connsiteY10" fmla="*/ 14383 h 136302"/>
                <a:gd name="connsiteX11" fmla="*/ 149257 w 190595"/>
                <a:gd name="connsiteY11" fmla="*/ 14383 h 136302"/>
                <a:gd name="connsiteX12" fmla="*/ 139256 w 190595"/>
                <a:gd name="connsiteY12" fmla="*/ 8287 h 136302"/>
                <a:gd name="connsiteX13" fmla="*/ 125825 w 190595"/>
                <a:gd name="connsiteY13" fmla="*/ 13621 h 136302"/>
                <a:gd name="connsiteX14" fmla="*/ 124015 w 190595"/>
                <a:gd name="connsiteY14" fmla="*/ 5715 h 136302"/>
                <a:gd name="connsiteX15" fmla="*/ 116491 w 190595"/>
                <a:gd name="connsiteY15" fmla="*/ 3620 h 136302"/>
                <a:gd name="connsiteX16" fmla="*/ 110585 w 190595"/>
                <a:gd name="connsiteY16" fmla="*/ 6096 h 136302"/>
                <a:gd name="connsiteX17" fmla="*/ 109061 w 190595"/>
                <a:gd name="connsiteY17" fmla="*/ 1048 h 136302"/>
                <a:gd name="connsiteX18" fmla="*/ 102584 w 190595"/>
                <a:gd name="connsiteY18" fmla="*/ 3620 h 136302"/>
                <a:gd name="connsiteX19" fmla="*/ 99250 w 190595"/>
                <a:gd name="connsiteY19" fmla="*/ 0 h 136302"/>
                <a:gd name="connsiteX20" fmla="*/ 92869 w 190595"/>
                <a:gd name="connsiteY20" fmla="*/ 2858 h 136302"/>
                <a:gd name="connsiteX21" fmla="*/ 88963 w 190595"/>
                <a:gd name="connsiteY21" fmla="*/ 9049 h 136302"/>
                <a:gd name="connsiteX22" fmla="*/ 84773 w 190595"/>
                <a:gd name="connsiteY22" fmla="*/ 7715 h 136302"/>
                <a:gd name="connsiteX23" fmla="*/ 82010 w 190595"/>
                <a:gd name="connsiteY23" fmla="*/ 10668 h 136302"/>
                <a:gd name="connsiteX24" fmla="*/ 76962 w 190595"/>
                <a:gd name="connsiteY24" fmla="*/ 6858 h 136302"/>
                <a:gd name="connsiteX25" fmla="*/ 73723 w 190595"/>
                <a:gd name="connsiteY25" fmla="*/ 12287 h 136302"/>
                <a:gd name="connsiteX26" fmla="*/ 68675 w 190595"/>
                <a:gd name="connsiteY26" fmla="*/ 13049 h 136302"/>
                <a:gd name="connsiteX27" fmla="*/ 68675 w 190595"/>
                <a:gd name="connsiteY27" fmla="*/ 13049 h 136302"/>
                <a:gd name="connsiteX28" fmla="*/ 66580 w 190595"/>
                <a:gd name="connsiteY28" fmla="*/ 22003 h 136302"/>
                <a:gd name="connsiteX29" fmla="*/ 73152 w 190595"/>
                <a:gd name="connsiteY29" fmla="*/ 24098 h 136302"/>
                <a:gd name="connsiteX30" fmla="*/ 68294 w 190595"/>
                <a:gd name="connsiteY30" fmla="*/ 30289 h 136302"/>
                <a:gd name="connsiteX31" fmla="*/ 61913 w 190595"/>
                <a:gd name="connsiteY31" fmla="*/ 28384 h 136302"/>
                <a:gd name="connsiteX32" fmla="*/ 58960 w 190595"/>
                <a:gd name="connsiteY32" fmla="*/ 32957 h 136302"/>
                <a:gd name="connsiteX33" fmla="*/ 51625 w 190595"/>
                <a:gd name="connsiteY33" fmla="*/ 36195 h 136302"/>
                <a:gd name="connsiteX34" fmla="*/ 52006 w 190595"/>
                <a:gd name="connsiteY34" fmla="*/ 42672 h 136302"/>
                <a:gd name="connsiteX35" fmla="*/ 49149 w 190595"/>
                <a:gd name="connsiteY35" fmla="*/ 47816 h 136302"/>
                <a:gd name="connsiteX36" fmla="*/ 53816 w 190595"/>
                <a:gd name="connsiteY36" fmla="*/ 51245 h 136302"/>
                <a:gd name="connsiteX37" fmla="*/ 51435 w 190595"/>
                <a:gd name="connsiteY37" fmla="*/ 58293 h 136302"/>
                <a:gd name="connsiteX38" fmla="*/ 45815 w 190595"/>
                <a:gd name="connsiteY38" fmla="*/ 56959 h 136302"/>
                <a:gd name="connsiteX39" fmla="*/ 44482 w 190595"/>
                <a:gd name="connsiteY39" fmla="*/ 52673 h 136302"/>
                <a:gd name="connsiteX40" fmla="*/ 33242 w 190595"/>
                <a:gd name="connsiteY40" fmla="*/ 55817 h 136302"/>
                <a:gd name="connsiteX41" fmla="*/ 33052 w 190595"/>
                <a:gd name="connsiteY41" fmla="*/ 60960 h 136302"/>
                <a:gd name="connsiteX42" fmla="*/ 28004 w 190595"/>
                <a:gd name="connsiteY42" fmla="*/ 59626 h 136302"/>
                <a:gd name="connsiteX43" fmla="*/ 24194 w 190595"/>
                <a:gd name="connsiteY43" fmla="*/ 63341 h 136302"/>
                <a:gd name="connsiteX44" fmla="*/ 19717 w 190595"/>
                <a:gd name="connsiteY44" fmla="*/ 60674 h 136302"/>
                <a:gd name="connsiteX45" fmla="*/ 6382 w 190595"/>
                <a:gd name="connsiteY45" fmla="*/ 60960 h 136302"/>
                <a:gd name="connsiteX46" fmla="*/ 10668 w 190595"/>
                <a:gd name="connsiteY46" fmla="*/ 74676 h 136302"/>
                <a:gd name="connsiteX47" fmla="*/ 14859 w 190595"/>
                <a:gd name="connsiteY47" fmla="*/ 81343 h 136302"/>
                <a:gd name="connsiteX48" fmla="*/ 15907 w 190595"/>
                <a:gd name="connsiteY48" fmla="*/ 95155 h 136302"/>
                <a:gd name="connsiteX49" fmla="*/ 4667 w 190595"/>
                <a:gd name="connsiteY49" fmla="*/ 100203 h 136302"/>
                <a:gd name="connsiteX50" fmla="*/ 0 w 190595"/>
                <a:gd name="connsiteY50" fmla="*/ 108299 h 136302"/>
                <a:gd name="connsiteX51" fmla="*/ 4667 w 190595"/>
                <a:gd name="connsiteY51" fmla="*/ 108871 h 136302"/>
                <a:gd name="connsiteX52" fmla="*/ 9906 w 190595"/>
                <a:gd name="connsiteY52" fmla="*/ 113157 h 136302"/>
                <a:gd name="connsiteX53" fmla="*/ 9906 w 190595"/>
                <a:gd name="connsiteY53" fmla="*/ 119825 h 136302"/>
                <a:gd name="connsiteX54" fmla="*/ 6953 w 190595"/>
                <a:gd name="connsiteY54" fmla="*/ 124682 h 136302"/>
                <a:gd name="connsiteX55" fmla="*/ 15716 w 190595"/>
                <a:gd name="connsiteY55" fmla="*/ 126206 h 136302"/>
                <a:gd name="connsiteX56" fmla="*/ 21622 w 190595"/>
                <a:gd name="connsiteY56" fmla="*/ 122682 h 136302"/>
                <a:gd name="connsiteX57" fmla="*/ 23622 w 190595"/>
                <a:gd name="connsiteY57" fmla="*/ 118015 h 136302"/>
                <a:gd name="connsiteX58" fmla="*/ 33242 w 190595"/>
                <a:gd name="connsiteY58" fmla="*/ 118300 h 136302"/>
                <a:gd name="connsiteX59" fmla="*/ 40958 w 190595"/>
                <a:gd name="connsiteY59" fmla="*/ 115443 h 136302"/>
                <a:gd name="connsiteX60" fmla="*/ 58198 w 190595"/>
                <a:gd name="connsiteY60" fmla="*/ 116586 h 136302"/>
                <a:gd name="connsiteX61" fmla="*/ 61055 w 190595"/>
                <a:gd name="connsiteY61" fmla="*/ 118682 h 136302"/>
                <a:gd name="connsiteX62" fmla="*/ 79915 w 190595"/>
                <a:gd name="connsiteY62" fmla="*/ 121158 h 136302"/>
                <a:gd name="connsiteX63" fmla="*/ 82487 w 190595"/>
                <a:gd name="connsiteY63" fmla="*/ 125825 h 136302"/>
                <a:gd name="connsiteX64" fmla="*/ 88678 w 190595"/>
                <a:gd name="connsiteY64" fmla="*/ 124778 h 136302"/>
                <a:gd name="connsiteX65" fmla="*/ 91250 w 190595"/>
                <a:gd name="connsiteY65" fmla="*/ 130492 h 136302"/>
                <a:gd name="connsiteX66" fmla="*/ 95155 w 190595"/>
                <a:gd name="connsiteY66" fmla="*/ 126206 h 136302"/>
                <a:gd name="connsiteX67" fmla="*/ 101346 w 190595"/>
                <a:gd name="connsiteY67" fmla="*/ 123349 h 136302"/>
                <a:gd name="connsiteX68" fmla="*/ 103156 w 190595"/>
                <a:gd name="connsiteY68" fmla="*/ 127635 h 136302"/>
                <a:gd name="connsiteX69" fmla="*/ 107728 w 190595"/>
                <a:gd name="connsiteY69" fmla="*/ 125825 h 136302"/>
                <a:gd name="connsiteX70" fmla="*/ 111347 w 190595"/>
                <a:gd name="connsiteY70" fmla="*/ 131921 h 136302"/>
                <a:gd name="connsiteX71" fmla="*/ 114205 w 190595"/>
                <a:gd name="connsiteY71" fmla="*/ 125825 h 136302"/>
                <a:gd name="connsiteX72" fmla="*/ 120396 w 190595"/>
                <a:gd name="connsiteY72" fmla="*/ 124778 h 136302"/>
                <a:gd name="connsiteX73" fmla="*/ 121920 w 190595"/>
                <a:gd name="connsiteY73" fmla="*/ 131921 h 136302"/>
                <a:gd name="connsiteX74" fmla="*/ 125825 w 190595"/>
                <a:gd name="connsiteY74" fmla="*/ 131636 h 136302"/>
                <a:gd name="connsiteX75" fmla="*/ 129921 w 190595"/>
                <a:gd name="connsiteY75" fmla="*/ 128016 h 136302"/>
                <a:gd name="connsiteX76" fmla="*/ 140494 w 190595"/>
                <a:gd name="connsiteY76" fmla="*/ 129064 h 136302"/>
                <a:gd name="connsiteX77" fmla="*/ 145161 w 190595"/>
                <a:gd name="connsiteY77" fmla="*/ 136303 h 136302"/>
                <a:gd name="connsiteX78" fmla="*/ 149257 w 190595"/>
                <a:gd name="connsiteY78" fmla="*/ 132683 h 136302"/>
                <a:gd name="connsiteX79" fmla="*/ 146971 w 190595"/>
                <a:gd name="connsiteY79" fmla="*/ 124778 h 136302"/>
                <a:gd name="connsiteX80" fmla="*/ 155258 w 190595"/>
                <a:gd name="connsiteY80" fmla="*/ 112204 h 136302"/>
                <a:gd name="connsiteX81" fmla="*/ 160877 w 190595"/>
                <a:gd name="connsiteY81" fmla="*/ 114395 h 136302"/>
                <a:gd name="connsiteX82" fmla="*/ 164497 w 190595"/>
                <a:gd name="connsiteY82" fmla="*/ 110776 h 136302"/>
                <a:gd name="connsiteX83" fmla="*/ 170117 w 190595"/>
                <a:gd name="connsiteY83" fmla="*/ 112681 h 136302"/>
                <a:gd name="connsiteX84" fmla="*/ 170117 w 190595"/>
                <a:gd name="connsiteY84" fmla="*/ 112586 h 136302"/>
                <a:gd name="connsiteX85" fmla="*/ 171260 w 190595"/>
                <a:gd name="connsiteY85" fmla="*/ 107537 h 136302"/>
                <a:gd name="connsiteX86" fmla="*/ 165830 w 190595"/>
                <a:gd name="connsiteY86" fmla="*/ 98965 h 136302"/>
                <a:gd name="connsiteX87" fmla="*/ 167926 w 190595"/>
                <a:gd name="connsiteY87" fmla="*/ 93917 h 136302"/>
                <a:gd name="connsiteX88" fmla="*/ 160687 w 190595"/>
                <a:gd name="connsiteY88" fmla="*/ 87154 h 136302"/>
                <a:gd name="connsiteX89" fmla="*/ 163544 w 190595"/>
                <a:gd name="connsiteY89" fmla="*/ 80677 h 136302"/>
                <a:gd name="connsiteX90" fmla="*/ 168878 w 190595"/>
                <a:gd name="connsiteY90" fmla="*/ 80677 h 136302"/>
                <a:gd name="connsiteX91" fmla="*/ 172784 w 190595"/>
                <a:gd name="connsiteY91" fmla="*/ 84296 h 136302"/>
                <a:gd name="connsiteX92" fmla="*/ 180023 w 190595"/>
                <a:gd name="connsiteY92" fmla="*/ 84296 h 136302"/>
                <a:gd name="connsiteX93" fmla="*/ 190595 w 190595"/>
                <a:gd name="connsiteY93" fmla="*/ 78867 h 136302"/>
                <a:gd name="connsiteX94" fmla="*/ 190595 w 190595"/>
                <a:gd name="connsiteY94" fmla="*/ 73152 h 136302"/>
                <a:gd name="connsiteX95" fmla="*/ 183642 w 190595"/>
                <a:gd name="connsiteY95" fmla="*/ 71342 h 13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90595" h="136302">
                  <a:moveTo>
                    <a:pt x="183642" y="71342"/>
                  </a:moveTo>
                  <a:lnTo>
                    <a:pt x="185166" y="66675"/>
                  </a:lnTo>
                  <a:lnTo>
                    <a:pt x="170688" y="63817"/>
                  </a:lnTo>
                  <a:lnTo>
                    <a:pt x="172784" y="57341"/>
                  </a:lnTo>
                  <a:lnTo>
                    <a:pt x="162687" y="53816"/>
                  </a:lnTo>
                  <a:lnTo>
                    <a:pt x="157353" y="45529"/>
                  </a:lnTo>
                  <a:lnTo>
                    <a:pt x="159067" y="41624"/>
                  </a:lnTo>
                  <a:lnTo>
                    <a:pt x="151638" y="36195"/>
                  </a:lnTo>
                  <a:lnTo>
                    <a:pt x="157353" y="29718"/>
                  </a:lnTo>
                  <a:lnTo>
                    <a:pt x="152114" y="24765"/>
                  </a:lnTo>
                  <a:lnTo>
                    <a:pt x="155734" y="14383"/>
                  </a:lnTo>
                  <a:lnTo>
                    <a:pt x="149257" y="14383"/>
                  </a:lnTo>
                  <a:lnTo>
                    <a:pt x="139256" y="8287"/>
                  </a:lnTo>
                  <a:lnTo>
                    <a:pt x="125825" y="13621"/>
                  </a:lnTo>
                  <a:lnTo>
                    <a:pt x="124015" y="5715"/>
                  </a:lnTo>
                  <a:lnTo>
                    <a:pt x="116491" y="3620"/>
                  </a:lnTo>
                  <a:lnTo>
                    <a:pt x="110585" y="6096"/>
                  </a:lnTo>
                  <a:lnTo>
                    <a:pt x="109061" y="1048"/>
                  </a:lnTo>
                  <a:lnTo>
                    <a:pt x="102584" y="3620"/>
                  </a:lnTo>
                  <a:lnTo>
                    <a:pt x="99250" y="0"/>
                  </a:lnTo>
                  <a:lnTo>
                    <a:pt x="92869" y="2858"/>
                  </a:lnTo>
                  <a:lnTo>
                    <a:pt x="88963" y="9049"/>
                  </a:lnTo>
                  <a:lnTo>
                    <a:pt x="84773" y="7715"/>
                  </a:lnTo>
                  <a:lnTo>
                    <a:pt x="82010" y="10668"/>
                  </a:lnTo>
                  <a:lnTo>
                    <a:pt x="76962" y="6858"/>
                  </a:lnTo>
                  <a:lnTo>
                    <a:pt x="73723" y="12287"/>
                  </a:lnTo>
                  <a:lnTo>
                    <a:pt x="68675" y="13049"/>
                  </a:lnTo>
                  <a:lnTo>
                    <a:pt x="68675" y="13049"/>
                  </a:lnTo>
                  <a:lnTo>
                    <a:pt x="66580" y="22003"/>
                  </a:lnTo>
                  <a:lnTo>
                    <a:pt x="73152" y="24098"/>
                  </a:lnTo>
                  <a:lnTo>
                    <a:pt x="68294" y="30289"/>
                  </a:lnTo>
                  <a:lnTo>
                    <a:pt x="61913" y="28384"/>
                  </a:lnTo>
                  <a:lnTo>
                    <a:pt x="58960" y="32957"/>
                  </a:lnTo>
                  <a:lnTo>
                    <a:pt x="51625" y="36195"/>
                  </a:lnTo>
                  <a:lnTo>
                    <a:pt x="52006" y="42672"/>
                  </a:lnTo>
                  <a:lnTo>
                    <a:pt x="49149" y="47816"/>
                  </a:lnTo>
                  <a:lnTo>
                    <a:pt x="53816" y="51245"/>
                  </a:lnTo>
                  <a:lnTo>
                    <a:pt x="51435" y="58293"/>
                  </a:lnTo>
                  <a:lnTo>
                    <a:pt x="45815" y="56959"/>
                  </a:lnTo>
                  <a:lnTo>
                    <a:pt x="44482" y="52673"/>
                  </a:lnTo>
                  <a:lnTo>
                    <a:pt x="33242" y="55817"/>
                  </a:lnTo>
                  <a:lnTo>
                    <a:pt x="33052" y="60960"/>
                  </a:lnTo>
                  <a:lnTo>
                    <a:pt x="28004" y="59626"/>
                  </a:lnTo>
                  <a:lnTo>
                    <a:pt x="24194" y="63341"/>
                  </a:lnTo>
                  <a:lnTo>
                    <a:pt x="19717" y="60674"/>
                  </a:lnTo>
                  <a:lnTo>
                    <a:pt x="6382" y="60960"/>
                  </a:lnTo>
                  <a:lnTo>
                    <a:pt x="10668" y="74676"/>
                  </a:lnTo>
                  <a:lnTo>
                    <a:pt x="14859" y="81343"/>
                  </a:lnTo>
                  <a:lnTo>
                    <a:pt x="15907" y="95155"/>
                  </a:lnTo>
                  <a:lnTo>
                    <a:pt x="4667" y="100203"/>
                  </a:lnTo>
                  <a:lnTo>
                    <a:pt x="0" y="108299"/>
                  </a:lnTo>
                  <a:lnTo>
                    <a:pt x="4667" y="108871"/>
                  </a:lnTo>
                  <a:lnTo>
                    <a:pt x="9906" y="113157"/>
                  </a:lnTo>
                  <a:lnTo>
                    <a:pt x="9906" y="119825"/>
                  </a:lnTo>
                  <a:lnTo>
                    <a:pt x="6953" y="124682"/>
                  </a:lnTo>
                  <a:lnTo>
                    <a:pt x="15716" y="126206"/>
                  </a:lnTo>
                  <a:lnTo>
                    <a:pt x="21622" y="122682"/>
                  </a:lnTo>
                  <a:lnTo>
                    <a:pt x="23622" y="118015"/>
                  </a:lnTo>
                  <a:lnTo>
                    <a:pt x="33242" y="118300"/>
                  </a:lnTo>
                  <a:lnTo>
                    <a:pt x="40958" y="115443"/>
                  </a:lnTo>
                  <a:lnTo>
                    <a:pt x="58198" y="116586"/>
                  </a:lnTo>
                  <a:lnTo>
                    <a:pt x="61055" y="118682"/>
                  </a:lnTo>
                  <a:lnTo>
                    <a:pt x="79915" y="121158"/>
                  </a:lnTo>
                  <a:lnTo>
                    <a:pt x="82487" y="125825"/>
                  </a:lnTo>
                  <a:lnTo>
                    <a:pt x="88678" y="124778"/>
                  </a:lnTo>
                  <a:lnTo>
                    <a:pt x="91250" y="130492"/>
                  </a:lnTo>
                  <a:lnTo>
                    <a:pt x="95155" y="126206"/>
                  </a:lnTo>
                  <a:lnTo>
                    <a:pt x="101346" y="123349"/>
                  </a:lnTo>
                  <a:lnTo>
                    <a:pt x="103156" y="127635"/>
                  </a:lnTo>
                  <a:lnTo>
                    <a:pt x="107728" y="125825"/>
                  </a:lnTo>
                  <a:lnTo>
                    <a:pt x="111347" y="131921"/>
                  </a:lnTo>
                  <a:lnTo>
                    <a:pt x="114205" y="125825"/>
                  </a:lnTo>
                  <a:lnTo>
                    <a:pt x="120396" y="124778"/>
                  </a:lnTo>
                  <a:lnTo>
                    <a:pt x="121920" y="131921"/>
                  </a:lnTo>
                  <a:lnTo>
                    <a:pt x="125825" y="131636"/>
                  </a:lnTo>
                  <a:lnTo>
                    <a:pt x="129921" y="128016"/>
                  </a:lnTo>
                  <a:lnTo>
                    <a:pt x="140494" y="129064"/>
                  </a:lnTo>
                  <a:lnTo>
                    <a:pt x="145161" y="136303"/>
                  </a:lnTo>
                  <a:lnTo>
                    <a:pt x="149257" y="132683"/>
                  </a:lnTo>
                  <a:lnTo>
                    <a:pt x="146971" y="124778"/>
                  </a:lnTo>
                  <a:lnTo>
                    <a:pt x="155258" y="112204"/>
                  </a:lnTo>
                  <a:lnTo>
                    <a:pt x="160877" y="114395"/>
                  </a:lnTo>
                  <a:lnTo>
                    <a:pt x="164497" y="110776"/>
                  </a:lnTo>
                  <a:lnTo>
                    <a:pt x="170117" y="112681"/>
                  </a:lnTo>
                  <a:lnTo>
                    <a:pt x="170117" y="112586"/>
                  </a:lnTo>
                  <a:lnTo>
                    <a:pt x="171260" y="107537"/>
                  </a:lnTo>
                  <a:lnTo>
                    <a:pt x="165830" y="98965"/>
                  </a:lnTo>
                  <a:lnTo>
                    <a:pt x="167926" y="93917"/>
                  </a:lnTo>
                  <a:lnTo>
                    <a:pt x="160687" y="87154"/>
                  </a:lnTo>
                  <a:lnTo>
                    <a:pt x="163544" y="80677"/>
                  </a:lnTo>
                  <a:lnTo>
                    <a:pt x="168878" y="80677"/>
                  </a:lnTo>
                  <a:lnTo>
                    <a:pt x="172784" y="84296"/>
                  </a:lnTo>
                  <a:lnTo>
                    <a:pt x="180023" y="84296"/>
                  </a:lnTo>
                  <a:lnTo>
                    <a:pt x="190595" y="78867"/>
                  </a:lnTo>
                  <a:lnTo>
                    <a:pt x="190595" y="73152"/>
                  </a:lnTo>
                  <a:lnTo>
                    <a:pt x="183642" y="7134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4" name="Freeform: Shape 2864">
              <a:extLst>
                <a:ext uri="{FF2B5EF4-FFF2-40B4-BE49-F238E27FC236}">
                  <a16:creationId xmlns:a16="http://schemas.microsoft.com/office/drawing/2014/main" id="{1F0AB691-26F4-3A70-D5A2-063A9DF04E8D}"/>
                </a:ext>
              </a:extLst>
            </p:cNvPr>
            <p:cNvSpPr/>
            <p:nvPr/>
          </p:nvSpPr>
          <p:spPr>
            <a:xfrm>
              <a:off x="1931670" y="3553714"/>
              <a:ext cx="152685" cy="65627"/>
            </a:xfrm>
            <a:custGeom>
              <a:avLst/>
              <a:gdLst>
                <a:gd name="connsiteX0" fmla="*/ 148304 w 152685"/>
                <a:gd name="connsiteY0" fmla="*/ 9811 h 65627"/>
                <a:gd name="connsiteX1" fmla="*/ 146209 w 152685"/>
                <a:gd name="connsiteY1" fmla="*/ 5810 h 65627"/>
                <a:gd name="connsiteX2" fmla="*/ 140589 w 152685"/>
                <a:gd name="connsiteY2" fmla="*/ 5810 h 65627"/>
                <a:gd name="connsiteX3" fmla="*/ 133064 w 152685"/>
                <a:gd name="connsiteY3" fmla="*/ 7906 h 65627"/>
                <a:gd name="connsiteX4" fmla="*/ 127825 w 152685"/>
                <a:gd name="connsiteY4" fmla="*/ 4286 h 65627"/>
                <a:gd name="connsiteX5" fmla="*/ 115062 w 152685"/>
                <a:gd name="connsiteY5" fmla="*/ 2381 h 65627"/>
                <a:gd name="connsiteX6" fmla="*/ 110585 w 152685"/>
                <a:gd name="connsiteY6" fmla="*/ 0 h 65627"/>
                <a:gd name="connsiteX7" fmla="*/ 109061 w 152685"/>
                <a:gd name="connsiteY7" fmla="*/ 6667 h 65627"/>
                <a:gd name="connsiteX8" fmla="*/ 106108 w 152685"/>
                <a:gd name="connsiteY8" fmla="*/ 6667 h 65627"/>
                <a:gd name="connsiteX9" fmla="*/ 104203 w 152685"/>
                <a:gd name="connsiteY9" fmla="*/ 11239 h 65627"/>
                <a:gd name="connsiteX10" fmla="*/ 98774 w 152685"/>
                <a:gd name="connsiteY10" fmla="*/ 8668 h 65627"/>
                <a:gd name="connsiteX11" fmla="*/ 96679 w 152685"/>
                <a:gd name="connsiteY11" fmla="*/ 12001 h 65627"/>
                <a:gd name="connsiteX12" fmla="*/ 86011 w 152685"/>
                <a:gd name="connsiteY12" fmla="*/ 5525 h 65627"/>
                <a:gd name="connsiteX13" fmla="*/ 86011 w 152685"/>
                <a:gd name="connsiteY13" fmla="*/ 5525 h 65627"/>
                <a:gd name="connsiteX14" fmla="*/ 86868 w 152685"/>
                <a:gd name="connsiteY14" fmla="*/ 5525 h 65627"/>
                <a:gd name="connsiteX15" fmla="*/ 84296 w 152685"/>
                <a:gd name="connsiteY15" fmla="*/ 12192 h 65627"/>
                <a:gd name="connsiteX16" fmla="*/ 78867 w 152685"/>
                <a:gd name="connsiteY16" fmla="*/ 10287 h 65627"/>
                <a:gd name="connsiteX17" fmla="*/ 77819 w 152685"/>
                <a:gd name="connsiteY17" fmla="*/ 15716 h 65627"/>
                <a:gd name="connsiteX18" fmla="*/ 65722 w 152685"/>
                <a:gd name="connsiteY18" fmla="*/ 21431 h 65627"/>
                <a:gd name="connsiteX19" fmla="*/ 70580 w 152685"/>
                <a:gd name="connsiteY19" fmla="*/ 26194 h 65627"/>
                <a:gd name="connsiteX20" fmla="*/ 69056 w 152685"/>
                <a:gd name="connsiteY20" fmla="*/ 30004 h 65627"/>
                <a:gd name="connsiteX21" fmla="*/ 72104 w 152685"/>
                <a:gd name="connsiteY21" fmla="*/ 32575 h 65627"/>
                <a:gd name="connsiteX22" fmla="*/ 70104 w 152685"/>
                <a:gd name="connsiteY22" fmla="*/ 38291 h 65627"/>
                <a:gd name="connsiteX23" fmla="*/ 60579 w 152685"/>
                <a:gd name="connsiteY23" fmla="*/ 33909 h 65627"/>
                <a:gd name="connsiteX24" fmla="*/ 57150 w 152685"/>
                <a:gd name="connsiteY24" fmla="*/ 29718 h 65627"/>
                <a:gd name="connsiteX25" fmla="*/ 52578 w 152685"/>
                <a:gd name="connsiteY25" fmla="*/ 34480 h 65627"/>
                <a:gd name="connsiteX26" fmla="*/ 43053 w 152685"/>
                <a:gd name="connsiteY26" fmla="*/ 34480 h 65627"/>
                <a:gd name="connsiteX27" fmla="*/ 33528 w 152685"/>
                <a:gd name="connsiteY27" fmla="*/ 40576 h 65627"/>
                <a:gd name="connsiteX28" fmla="*/ 28099 w 152685"/>
                <a:gd name="connsiteY28" fmla="*/ 36385 h 65627"/>
                <a:gd name="connsiteX29" fmla="*/ 19812 w 152685"/>
                <a:gd name="connsiteY29" fmla="*/ 34480 h 65627"/>
                <a:gd name="connsiteX30" fmla="*/ 16192 w 152685"/>
                <a:gd name="connsiteY30" fmla="*/ 42100 h 65627"/>
                <a:gd name="connsiteX31" fmla="*/ 9049 w 152685"/>
                <a:gd name="connsiteY31" fmla="*/ 33242 h 65627"/>
                <a:gd name="connsiteX32" fmla="*/ 1524 w 152685"/>
                <a:gd name="connsiteY32" fmla="*/ 36385 h 65627"/>
                <a:gd name="connsiteX33" fmla="*/ 1524 w 152685"/>
                <a:gd name="connsiteY33" fmla="*/ 36385 h 65627"/>
                <a:gd name="connsiteX34" fmla="*/ 4667 w 152685"/>
                <a:gd name="connsiteY34" fmla="*/ 38957 h 65627"/>
                <a:gd name="connsiteX35" fmla="*/ 0 w 152685"/>
                <a:gd name="connsiteY35" fmla="*/ 44291 h 65627"/>
                <a:gd name="connsiteX36" fmla="*/ 1333 w 152685"/>
                <a:gd name="connsiteY36" fmla="*/ 48292 h 65627"/>
                <a:gd name="connsiteX37" fmla="*/ 8953 w 152685"/>
                <a:gd name="connsiteY37" fmla="*/ 48292 h 65627"/>
                <a:gd name="connsiteX38" fmla="*/ 12954 w 152685"/>
                <a:gd name="connsiteY38" fmla="*/ 52388 h 65627"/>
                <a:gd name="connsiteX39" fmla="*/ 17812 w 152685"/>
                <a:gd name="connsiteY39" fmla="*/ 48101 h 65627"/>
                <a:gd name="connsiteX40" fmla="*/ 21145 w 152685"/>
                <a:gd name="connsiteY40" fmla="*/ 50483 h 65627"/>
                <a:gd name="connsiteX41" fmla="*/ 20479 w 152685"/>
                <a:gd name="connsiteY41" fmla="*/ 52197 h 65627"/>
                <a:gd name="connsiteX42" fmla="*/ 20479 w 152685"/>
                <a:gd name="connsiteY42" fmla="*/ 52197 h 65627"/>
                <a:gd name="connsiteX43" fmla="*/ 30480 w 152685"/>
                <a:gd name="connsiteY43" fmla="*/ 56388 h 65627"/>
                <a:gd name="connsiteX44" fmla="*/ 33623 w 152685"/>
                <a:gd name="connsiteY44" fmla="*/ 50387 h 65627"/>
                <a:gd name="connsiteX45" fmla="*/ 45244 w 152685"/>
                <a:gd name="connsiteY45" fmla="*/ 50387 h 65627"/>
                <a:gd name="connsiteX46" fmla="*/ 54007 w 152685"/>
                <a:gd name="connsiteY46" fmla="*/ 46863 h 65627"/>
                <a:gd name="connsiteX47" fmla="*/ 58102 w 152685"/>
                <a:gd name="connsiteY47" fmla="*/ 56388 h 65627"/>
                <a:gd name="connsiteX48" fmla="*/ 90392 w 152685"/>
                <a:gd name="connsiteY48" fmla="*/ 61150 h 65627"/>
                <a:gd name="connsiteX49" fmla="*/ 99917 w 152685"/>
                <a:gd name="connsiteY49" fmla="*/ 65627 h 65627"/>
                <a:gd name="connsiteX50" fmla="*/ 106394 w 152685"/>
                <a:gd name="connsiteY50" fmla="*/ 58293 h 65627"/>
                <a:gd name="connsiteX51" fmla="*/ 118300 w 152685"/>
                <a:gd name="connsiteY51" fmla="*/ 59531 h 65627"/>
                <a:gd name="connsiteX52" fmla="*/ 121634 w 152685"/>
                <a:gd name="connsiteY52" fmla="*/ 55435 h 65627"/>
                <a:gd name="connsiteX53" fmla="*/ 128588 w 152685"/>
                <a:gd name="connsiteY53" fmla="*/ 58007 h 65627"/>
                <a:gd name="connsiteX54" fmla="*/ 129635 w 152685"/>
                <a:gd name="connsiteY54" fmla="*/ 52864 h 65627"/>
                <a:gd name="connsiteX55" fmla="*/ 130873 w 152685"/>
                <a:gd name="connsiteY55" fmla="*/ 52864 h 65627"/>
                <a:gd name="connsiteX56" fmla="*/ 139827 w 152685"/>
                <a:gd name="connsiteY56" fmla="*/ 47054 h 65627"/>
                <a:gd name="connsiteX57" fmla="*/ 137255 w 152685"/>
                <a:gd name="connsiteY57" fmla="*/ 42291 h 65627"/>
                <a:gd name="connsiteX58" fmla="*/ 142684 w 152685"/>
                <a:gd name="connsiteY58" fmla="*/ 37529 h 65627"/>
                <a:gd name="connsiteX59" fmla="*/ 138684 w 152685"/>
                <a:gd name="connsiteY59" fmla="*/ 32480 h 65627"/>
                <a:gd name="connsiteX60" fmla="*/ 142494 w 152685"/>
                <a:gd name="connsiteY60" fmla="*/ 29146 h 65627"/>
                <a:gd name="connsiteX61" fmla="*/ 145637 w 152685"/>
                <a:gd name="connsiteY61" fmla="*/ 32480 h 65627"/>
                <a:gd name="connsiteX62" fmla="*/ 150495 w 152685"/>
                <a:gd name="connsiteY62" fmla="*/ 32480 h 65627"/>
                <a:gd name="connsiteX63" fmla="*/ 150495 w 152685"/>
                <a:gd name="connsiteY63" fmla="*/ 26289 h 65627"/>
                <a:gd name="connsiteX64" fmla="*/ 152686 w 152685"/>
                <a:gd name="connsiteY64" fmla="*/ 25051 h 65627"/>
                <a:gd name="connsiteX65" fmla="*/ 146209 w 152685"/>
                <a:gd name="connsiteY65" fmla="*/ 15526 h 6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685" h="65627">
                  <a:moveTo>
                    <a:pt x="148304" y="9811"/>
                  </a:moveTo>
                  <a:lnTo>
                    <a:pt x="146209" y="5810"/>
                  </a:lnTo>
                  <a:lnTo>
                    <a:pt x="140589" y="5810"/>
                  </a:lnTo>
                  <a:lnTo>
                    <a:pt x="133064" y="7906"/>
                  </a:lnTo>
                  <a:lnTo>
                    <a:pt x="127825" y="4286"/>
                  </a:lnTo>
                  <a:lnTo>
                    <a:pt x="115062" y="2381"/>
                  </a:lnTo>
                  <a:lnTo>
                    <a:pt x="110585" y="0"/>
                  </a:lnTo>
                  <a:lnTo>
                    <a:pt x="109061" y="6667"/>
                  </a:lnTo>
                  <a:lnTo>
                    <a:pt x="106108" y="6667"/>
                  </a:lnTo>
                  <a:lnTo>
                    <a:pt x="104203" y="11239"/>
                  </a:lnTo>
                  <a:lnTo>
                    <a:pt x="98774" y="8668"/>
                  </a:lnTo>
                  <a:lnTo>
                    <a:pt x="96679" y="12001"/>
                  </a:lnTo>
                  <a:lnTo>
                    <a:pt x="86011" y="5525"/>
                  </a:lnTo>
                  <a:lnTo>
                    <a:pt x="86011" y="5525"/>
                  </a:lnTo>
                  <a:lnTo>
                    <a:pt x="86868" y="5525"/>
                  </a:lnTo>
                  <a:cubicBezTo>
                    <a:pt x="86868" y="5525"/>
                    <a:pt x="84487" y="11239"/>
                    <a:pt x="84296" y="12192"/>
                  </a:cubicBezTo>
                  <a:cubicBezTo>
                    <a:pt x="84106" y="13145"/>
                    <a:pt x="78867" y="10287"/>
                    <a:pt x="78867" y="10287"/>
                  </a:cubicBezTo>
                  <a:lnTo>
                    <a:pt x="77819" y="15716"/>
                  </a:lnTo>
                  <a:lnTo>
                    <a:pt x="65722" y="21431"/>
                  </a:lnTo>
                  <a:lnTo>
                    <a:pt x="70580" y="26194"/>
                  </a:lnTo>
                  <a:lnTo>
                    <a:pt x="69056" y="30004"/>
                  </a:lnTo>
                  <a:lnTo>
                    <a:pt x="72104" y="32575"/>
                  </a:lnTo>
                  <a:lnTo>
                    <a:pt x="70104" y="38291"/>
                  </a:lnTo>
                  <a:lnTo>
                    <a:pt x="60579" y="33909"/>
                  </a:lnTo>
                  <a:lnTo>
                    <a:pt x="57150" y="29718"/>
                  </a:lnTo>
                  <a:lnTo>
                    <a:pt x="52578" y="34480"/>
                  </a:lnTo>
                  <a:lnTo>
                    <a:pt x="43053" y="34480"/>
                  </a:lnTo>
                  <a:lnTo>
                    <a:pt x="33528" y="40576"/>
                  </a:lnTo>
                  <a:lnTo>
                    <a:pt x="28099" y="36385"/>
                  </a:lnTo>
                  <a:lnTo>
                    <a:pt x="19812" y="34480"/>
                  </a:lnTo>
                  <a:lnTo>
                    <a:pt x="16192" y="42100"/>
                  </a:lnTo>
                  <a:lnTo>
                    <a:pt x="9049" y="33242"/>
                  </a:lnTo>
                  <a:lnTo>
                    <a:pt x="1524" y="36385"/>
                  </a:lnTo>
                  <a:lnTo>
                    <a:pt x="1524" y="36385"/>
                  </a:lnTo>
                  <a:lnTo>
                    <a:pt x="4667" y="38957"/>
                  </a:lnTo>
                  <a:lnTo>
                    <a:pt x="0" y="44291"/>
                  </a:lnTo>
                  <a:lnTo>
                    <a:pt x="1333" y="48292"/>
                  </a:lnTo>
                  <a:lnTo>
                    <a:pt x="8953" y="48292"/>
                  </a:lnTo>
                  <a:lnTo>
                    <a:pt x="12954" y="52388"/>
                  </a:lnTo>
                  <a:lnTo>
                    <a:pt x="17812" y="48101"/>
                  </a:lnTo>
                  <a:lnTo>
                    <a:pt x="21145" y="50483"/>
                  </a:lnTo>
                  <a:lnTo>
                    <a:pt x="20479" y="52197"/>
                  </a:lnTo>
                  <a:lnTo>
                    <a:pt x="20479" y="52197"/>
                  </a:lnTo>
                  <a:lnTo>
                    <a:pt x="30480" y="56388"/>
                  </a:lnTo>
                  <a:lnTo>
                    <a:pt x="33623" y="50387"/>
                  </a:lnTo>
                  <a:lnTo>
                    <a:pt x="45244" y="50387"/>
                  </a:lnTo>
                  <a:lnTo>
                    <a:pt x="54007" y="46863"/>
                  </a:lnTo>
                  <a:lnTo>
                    <a:pt x="58102" y="56388"/>
                  </a:lnTo>
                  <a:lnTo>
                    <a:pt x="90392" y="61150"/>
                  </a:lnTo>
                  <a:lnTo>
                    <a:pt x="99917" y="65627"/>
                  </a:lnTo>
                  <a:lnTo>
                    <a:pt x="106394" y="58293"/>
                  </a:lnTo>
                  <a:lnTo>
                    <a:pt x="118300" y="59531"/>
                  </a:lnTo>
                  <a:lnTo>
                    <a:pt x="121634" y="55435"/>
                  </a:lnTo>
                  <a:lnTo>
                    <a:pt x="128588" y="58007"/>
                  </a:lnTo>
                  <a:lnTo>
                    <a:pt x="129635" y="52864"/>
                  </a:lnTo>
                  <a:lnTo>
                    <a:pt x="130873" y="52864"/>
                  </a:lnTo>
                  <a:lnTo>
                    <a:pt x="139827" y="47054"/>
                  </a:lnTo>
                  <a:lnTo>
                    <a:pt x="137255" y="42291"/>
                  </a:lnTo>
                  <a:lnTo>
                    <a:pt x="142684" y="37529"/>
                  </a:lnTo>
                  <a:lnTo>
                    <a:pt x="138684" y="32480"/>
                  </a:lnTo>
                  <a:lnTo>
                    <a:pt x="142494" y="29146"/>
                  </a:lnTo>
                  <a:lnTo>
                    <a:pt x="145637" y="32480"/>
                  </a:lnTo>
                  <a:lnTo>
                    <a:pt x="150495" y="32480"/>
                  </a:lnTo>
                  <a:lnTo>
                    <a:pt x="150495" y="26289"/>
                  </a:lnTo>
                  <a:lnTo>
                    <a:pt x="152686" y="25051"/>
                  </a:lnTo>
                  <a:lnTo>
                    <a:pt x="146209" y="1552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5" name="Freeform: Shape 2865">
              <a:extLst>
                <a:ext uri="{FF2B5EF4-FFF2-40B4-BE49-F238E27FC236}">
                  <a16:creationId xmlns:a16="http://schemas.microsoft.com/office/drawing/2014/main" id="{4FE4B532-A8EE-0735-1341-B1288F16F73C}"/>
                </a:ext>
              </a:extLst>
            </p:cNvPr>
            <p:cNvSpPr/>
            <p:nvPr/>
          </p:nvSpPr>
          <p:spPr>
            <a:xfrm>
              <a:off x="1770983" y="3706685"/>
              <a:ext cx="11430" cy="9810"/>
            </a:xfrm>
            <a:custGeom>
              <a:avLst/>
              <a:gdLst>
                <a:gd name="connsiteX0" fmla="*/ 3905 w 11430"/>
                <a:gd name="connsiteY0" fmla="*/ 9811 h 9810"/>
                <a:gd name="connsiteX1" fmla="*/ 8763 w 11430"/>
                <a:gd name="connsiteY1" fmla="*/ 8858 h 9810"/>
                <a:gd name="connsiteX2" fmla="*/ 11430 w 11430"/>
                <a:gd name="connsiteY2" fmla="*/ 2857 h 9810"/>
                <a:gd name="connsiteX3" fmla="*/ 3524 w 11430"/>
                <a:gd name="connsiteY3" fmla="*/ 0 h 9810"/>
                <a:gd name="connsiteX4" fmla="*/ 0 w 11430"/>
                <a:gd name="connsiteY4" fmla="*/ 5239 h 9810"/>
                <a:gd name="connsiteX5" fmla="*/ 3905 w 11430"/>
                <a:gd name="connsiteY5" fmla="*/ 9811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 h="9810">
                  <a:moveTo>
                    <a:pt x="3905" y="9811"/>
                  </a:moveTo>
                  <a:lnTo>
                    <a:pt x="8763" y="8858"/>
                  </a:lnTo>
                  <a:lnTo>
                    <a:pt x="11430" y="2857"/>
                  </a:lnTo>
                  <a:lnTo>
                    <a:pt x="3524" y="0"/>
                  </a:lnTo>
                  <a:lnTo>
                    <a:pt x="0" y="5239"/>
                  </a:lnTo>
                  <a:lnTo>
                    <a:pt x="3905" y="981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6" name="Freeform: Shape 2866">
              <a:extLst>
                <a:ext uri="{FF2B5EF4-FFF2-40B4-BE49-F238E27FC236}">
                  <a16:creationId xmlns:a16="http://schemas.microsoft.com/office/drawing/2014/main" id="{B6C1388E-B85F-129B-0CD3-33C384157881}"/>
                </a:ext>
              </a:extLst>
            </p:cNvPr>
            <p:cNvSpPr/>
            <p:nvPr/>
          </p:nvSpPr>
          <p:spPr>
            <a:xfrm>
              <a:off x="2126265" y="3710590"/>
              <a:ext cx="34575" cy="70675"/>
            </a:xfrm>
            <a:custGeom>
              <a:avLst/>
              <a:gdLst>
                <a:gd name="connsiteX0" fmla="*/ 13621 w 34575"/>
                <a:gd name="connsiteY0" fmla="*/ 66580 h 70675"/>
                <a:gd name="connsiteX1" fmla="*/ 16764 w 34575"/>
                <a:gd name="connsiteY1" fmla="*/ 70676 h 70675"/>
                <a:gd name="connsiteX2" fmla="*/ 22669 w 34575"/>
                <a:gd name="connsiteY2" fmla="*/ 68390 h 70675"/>
                <a:gd name="connsiteX3" fmla="*/ 21622 w 34575"/>
                <a:gd name="connsiteY3" fmla="*/ 63151 h 70675"/>
                <a:gd name="connsiteX4" fmla="*/ 27051 w 34575"/>
                <a:gd name="connsiteY4" fmla="*/ 61913 h 70675"/>
                <a:gd name="connsiteX5" fmla="*/ 30099 w 34575"/>
                <a:gd name="connsiteY5" fmla="*/ 52483 h 70675"/>
                <a:gd name="connsiteX6" fmla="*/ 34576 w 34575"/>
                <a:gd name="connsiteY6" fmla="*/ 50673 h 70675"/>
                <a:gd name="connsiteX7" fmla="*/ 33528 w 34575"/>
                <a:gd name="connsiteY7" fmla="*/ 43339 h 70675"/>
                <a:gd name="connsiteX8" fmla="*/ 34480 w 34575"/>
                <a:gd name="connsiteY8" fmla="*/ 43148 h 70675"/>
                <a:gd name="connsiteX9" fmla="*/ 31147 w 34575"/>
                <a:gd name="connsiteY9" fmla="*/ 38481 h 70675"/>
                <a:gd name="connsiteX10" fmla="*/ 28099 w 34575"/>
                <a:gd name="connsiteY10" fmla="*/ 40767 h 70675"/>
                <a:gd name="connsiteX11" fmla="*/ 24479 w 34575"/>
                <a:gd name="connsiteY11" fmla="*/ 33719 h 70675"/>
                <a:gd name="connsiteX12" fmla="*/ 26575 w 34575"/>
                <a:gd name="connsiteY12" fmla="*/ 28956 h 70675"/>
                <a:gd name="connsiteX13" fmla="*/ 23717 w 34575"/>
                <a:gd name="connsiteY13" fmla="*/ 25432 h 70675"/>
                <a:gd name="connsiteX14" fmla="*/ 24955 w 34575"/>
                <a:gd name="connsiteY14" fmla="*/ 18764 h 70675"/>
                <a:gd name="connsiteX15" fmla="*/ 30099 w 34575"/>
                <a:gd name="connsiteY15" fmla="*/ 20955 h 70675"/>
                <a:gd name="connsiteX16" fmla="*/ 29527 w 34575"/>
                <a:gd name="connsiteY16" fmla="*/ 12383 h 70675"/>
                <a:gd name="connsiteX17" fmla="*/ 29527 w 34575"/>
                <a:gd name="connsiteY17" fmla="*/ 12192 h 70675"/>
                <a:gd name="connsiteX18" fmla="*/ 24479 w 34575"/>
                <a:gd name="connsiteY18" fmla="*/ 13335 h 70675"/>
                <a:gd name="connsiteX19" fmla="*/ 18002 w 34575"/>
                <a:gd name="connsiteY19" fmla="*/ 8573 h 70675"/>
                <a:gd name="connsiteX20" fmla="*/ 15240 w 34575"/>
                <a:gd name="connsiteY20" fmla="*/ 762 h 70675"/>
                <a:gd name="connsiteX21" fmla="*/ 15145 w 34575"/>
                <a:gd name="connsiteY21" fmla="*/ 953 h 70675"/>
                <a:gd name="connsiteX22" fmla="*/ 10287 w 34575"/>
                <a:gd name="connsiteY22" fmla="*/ 4763 h 70675"/>
                <a:gd name="connsiteX23" fmla="*/ 7144 w 34575"/>
                <a:gd name="connsiteY23" fmla="*/ 0 h 70675"/>
                <a:gd name="connsiteX24" fmla="*/ 1238 w 34575"/>
                <a:gd name="connsiteY24" fmla="*/ 7620 h 70675"/>
                <a:gd name="connsiteX25" fmla="*/ 2762 w 34575"/>
                <a:gd name="connsiteY25" fmla="*/ 11144 h 70675"/>
                <a:gd name="connsiteX26" fmla="*/ 1524 w 34575"/>
                <a:gd name="connsiteY26" fmla="*/ 18574 h 70675"/>
                <a:gd name="connsiteX27" fmla="*/ 1619 w 34575"/>
                <a:gd name="connsiteY27" fmla="*/ 18669 h 70675"/>
                <a:gd name="connsiteX28" fmla="*/ 0 w 34575"/>
                <a:gd name="connsiteY28" fmla="*/ 53721 h 70675"/>
                <a:gd name="connsiteX29" fmla="*/ 10287 w 34575"/>
                <a:gd name="connsiteY29" fmla="*/ 67818 h 70675"/>
                <a:gd name="connsiteX30" fmla="*/ 10287 w 34575"/>
                <a:gd name="connsiteY30" fmla="*/ 67818 h 70675"/>
                <a:gd name="connsiteX31" fmla="*/ 13621 w 34575"/>
                <a:gd name="connsiteY31" fmla="*/ 66580 h 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575" h="70675">
                  <a:moveTo>
                    <a:pt x="13621" y="66580"/>
                  </a:moveTo>
                  <a:lnTo>
                    <a:pt x="16764" y="70676"/>
                  </a:lnTo>
                  <a:lnTo>
                    <a:pt x="22669" y="68390"/>
                  </a:lnTo>
                  <a:lnTo>
                    <a:pt x="21622" y="63151"/>
                  </a:lnTo>
                  <a:lnTo>
                    <a:pt x="27051" y="61913"/>
                  </a:lnTo>
                  <a:lnTo>
                    <a:pt x="30099" y="52483"/>
                  </a:lnTo>
                  <a:lnTo>
                    <a:pt x="34576" y="50673"/>
                  </a:lnTo>
                  <a:lnTo>
                    <a:pt x="33528" y="43339"/>
                  </a:lnTo>
                  <a:lnTo>
                    <a:pt x="34480" y="43148"/>
                  </a:lnTo>
                  <a:lnTo>
                    <a:pt x="31147" y="38481"/>
                  </a:lnTo>
                  <a:lnTo>
                    <a:pt x="28099" y="40767"/>
                  </a:lnTo>
                  <a:lnTo>
                    <a:pt x="24479" y="33719"/>
                  </a:lnTo>
                  <a:lnTo>
                    <a:pt x="26575" y="28956"/>
                  </a:lnTo>
                  <a:lnTo>
                    <a:pt x="23717" y="25432"/>
                  </a:lnTo>
                  <a:lnTo>
                    <a:pt x="24955" y="18764"/>
                  </a:lnTo>
                  <a:lnTo>
                    <a:pt x="30099" y="20955"/>
                  </a:lnTo>
                  <a:lnTo>
                    <a:pt x="29527" y="12383"/>
                  </a:lnTo>
                  <a:lnTo>
                    <a:pt x="29527" y="12192"/>
                  </a:lnTo>
                  <a:lnTo>
                    <a:pt x="24479" y="13335"/>
                  </a:lnTo>
                  <a:lnTo>
                    <a:pt x="18002" y="8573"/>
                  </a:lnTo>
                  <a:lnTo>
                    <a:pt x="15240" y="762"/>
                  </a:lnTo>
                  <a:lnTo>
                    <a:pt x="15145" y="953"/>
                  </a:lnTo>
                  <a:lnTo>
                    <a:pt x="10287" y="4763"/>
                  </a:lnTo>
                  <a:lnTo>
                    <a:pt x="7144" y="0"/>
                  </a:lnTo>
                  <a:lnTo>
                    <a:pt x="1238" y="7620"/>
                  </a:lnTo>
                  <a:lnTo>
                    <a:pt x="2762" y="11144"/>
                  </a:lnTo>
                  <a:lnTo>
                    <a:pt x="1524" y="18574"/>
                  </a:lnTo>
                  <a:lnTo>
                    <a:pt x="1619" y="18669"/>
                  </a:lnTo>
                  <a:lnTo>
                    <a:pt x="0" y="53721"/>
                  </a:lnTo>
                  <a:lnTo>
                    <a:pt x="10287" y="67818"/>
                  </a:lnTo>
                  <a:lnTo>
                    <a:pt x="10287" y="67818"/>
                  </a:lnTo>
                  <a:lnTo>
                    <a:pt x="13621" y="6658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7" name="Freeform: Shape 2867">
              <a:extLst>
                <a:ext uri="{FF2B5EF4-FFF2-40B4-BE49-F238E27FC236}">
                  <a16:creationId xmlns:a16="http://schemas.microsoft.com/office/drawing/2014/main" id="{9A5E8B3C-74D1-C1F7-8D74-D4CEE1776DFD}"/>
                </a:ext>
              </a:extLst>
            </p:cNvPr>
            <p:cNvSpPr/>
            <p:nvPr/>
          </p:nvSpPr>
          <p:spPr>
            <a:xfrm>
              <a:off x="7431309" y="4374102"/>
              <a:ext cx="268223" cy="222123"/>
            </a:xfrm>
            <a:custGeom>
              <a:avLst/>
              <a:gdLst>
                <a:gd name="connsiteX0" fmla="*/ 265176 w 268223"/>
                <a:gd name="connsiteY0" fmla="*/ 76391 h 222123"/>
                <a:gd name="connsiteX1" fmla="*/ 268224 w 268223"/>
                <a:gd name="connsiteY1" fmla="*/ 72485 h 222123"/>
                <a:gd name="connsiteX2" fmla="*/ 265748 w 268223"/>
                <a:gd name="connsiteY2" fmla="*/ 66389 h 222123"/>
                <a:gd name="connsiteX3" fmla="*/ 233648 w 268223"/>
                <a:gd name="connsiteY3" fmla="*/ 65722 h 222123"/>
                <a:gd name="connsiteX4" fmla="*/ 248888 w 268223"/>
                <a:gd name="connsiteY4" fmla="*/ 48578 h 222123"/>
                <a:gd name="connsiteX5" fmla="*/ 219742 w 268223"/>
                <a:gd name="connsiteY5" fmla="*/ 43244 h 222123"/>
                <a:gd name="connsiteX6" fmla="*/ 213170 w 268223"/>
                <a:gd name="connsiteY6" fmla="*/ 29432 h 222123"/>
                <a:gd name="connsiteX7" fmla="*/ 206216 w 268223"/>
                <a:gd name="connsiteY7" fmla="*/ 32099 h 222123"/>
                <a:gd name="connsiteX8" fmla="*/ 207931 w 268223"/>
                <a:gd name="connsiteY8" fmla="*/ 26575 h 222123"/>
                <a:gd name="connsiteX9" fmla="*/ 228981 w 268223"/>
                <a:gd name="connsiteY9" fmla="*/ 22193 h 222123"/>
                <a:gd name="connsiteX10" fmla="*/ 186500 w 268223"/>
                <a:gd name="connsiteY10" fmla="*/ 21717 h 222123"/>
                <a:gd name="connsiteX11" fmla="*/ 181166 w 268223"/>
                <a:gd name="connsiteY11" fmla="*/ 23813 h 222123"/>
                <a:gd name="connsiteX12" fmla="*/ 193072 w 268223"/>
                <a:gd name="connsiteY12" fmla="*/ 27813 h 222123"/>
                <a:gd name="connsiteX13" fmla="*/ 164973 w 268223"/>
                <a:gd name="connsiteY13" fmla="*/ 36671 h 222123"/>
                <a:gd name="connsiteX14" fmla="*/ 142208 w 268223"/>
                <a:gd name="connsiteY14" fmla="*/ 24194 h 222123"/>
                <a:gd name="connsiteX15" fmla="*/ 103917 w 268223"/>
                <a:gd name="connsiteY15" fmla="*/ 27242 h 222123"/>
                <a:gd name="connsiteX16" fmla="*/ 99250 w 268223"/>
                <a:gd name="connsiteY16" fmla="*/ 13049 h 222123"/>
                <a:gd name="connsiteX17" fmla="*/ 74866 w 268223"/>
                <a:gd name="connsiteY17" fmla="*/ 7620 h 222123"/>
                <a:gd name="connsiteX18" fmla="*/ 40957 w 268223"/>
                <a:gd name="connsiteY18" fmla="*/ 16859 h 222123"/>
                <a:gd name="connsiteX19" fmla="*/ 47054 w 268223"/>
                <a:gd name="connsiteY19" fmla="*/ 42958 h 222123"/>
                <a:gd name="connsiteX20" fmla="*/ 46387 w 268223"/>
                <a:gd name="connsiteY20" fmla="*/ 50863 h 222123"/>
                <a:gd name="connsiteX21" fmla="*/ 35243 w 268223"/>
                <a:gd name="connsiteY21" fmla="*/ 56197 h 222123"/>
                <a:gd name="connsiteX22" fmla="*/ 25336 w 268223"/>
                <a:gd name="connsiteY22" fmla="*/ 40958 h 222123"/>
                <a:gd name="connsiteX23" fmla="*/ 36195 w 268223"/>
                <a:gd name="connsiteY23" fmla="*/ 22860 h 222123"/>
                <a:gd name="connsiteX24" fmla="*/ 28575 w 268223"/>
                <a:gd name="connsiteY24" fmla="*/ 6001 h 222123"/>
                <a:gd name="connsiteX25" fmla="*/ 41243 w 268223"/>
                <a:gd name="connsiteY25" fmla="*/ 0 h 222123"/>
                <a:gd name="connsiteX26" fmla="*/ 40957 w 268223"/>
                <a:gd name="connsiteY26" fmla="*/ 0 h 222123"/>
                <a:gd name="connsiteX27" fmla="*/ 27337 w 268223"/>
                <a:gd name="connsiteY27" fmla="*/ 2572 h 222123"/>
                <a:gd name="connsiteX28" fmla="*/ 22098 w 268223"/>
                <a:gd name="connsiteY28" fmla="*/ 14192 h 222123"/>
                <a:gd name="connsiteX29" fmla="*/ 17526 w 268223"/>
                <a:gd name="connsiteY29" fmla="*/ 14478 h 222123"/>
                <a:gd name="connsiteX30" fmla="*/ 10001 w 268223"/>
                <a:gd name="connsiteY30" fmla="*/ 28956 h 222123"/>
                <a:gd name="connsiteX31" fmla="*/ 8191 w 268223"/>
                <a:gd name="connsiteY31" fmla="*/ 40481 h 222123"/>
                <a:gd name="connsiteX32" fmla="*/ 0 w 268223"/>
                <a:gd name="connsiteY32" fmla="*/ 52864 h 222123"/>
                <a:gd name="connsiteX33" fmla="*/ 8001 w 268223"/>
                <a:gd name="connsiteY33" fmla="*/ 51340 h 222123"/>
                <a:gd name="connsiteX34" fmla="*/ 9239 w 268223"/>
                <a:gd name="connsiteY34" fmla="*/ 55436 h 222123"/>
                <a:gd name="connsiteX35" fmla="*/ 13335 w 268223"/>
                <a:gd name="connsiteY35" fmla="*/ 54959 h 222123"/>
                <a:gd name="connsiteX36" fmla="*/ 15430 w 268223"/>
                <a:gd name="connsiteY36" fmla="*/ 65056 h 222123"/>
                <a:gd name="connsiteX37" fmla="*/ 21907 w 268223"/>
                <a:gd name="connsiteY37" fmla="*/ 75343 h 222123"/>
                <a:gd name="connsiteX38" fmla="*/ 17526 w 268223"/>
                <a:gd name="connsiteY38" fmla="*/ 88773 h 222123"/>
                <a:gd name="connsiteX39" fmla="*/ 23717 w 268223"/>
                <a:gd name="connsiteY39" fmla="*/ 89059 h 222123"/>
                <a:gd name="connsiteX40" fmla="*/ 27051 w 268223"/>
                <a:gd name="connsiteY40" fmla="*/ 96203 h 222123"/>
                <a:gd name="connsiteX41" fmla="*/ 36290 w 268223"/>
                <a:gd name="connsiteY41" fmla="*/ 95155 h 222123"/>
                <a:gd name="connsiteX42" fmla="*/ 46958 w 268223"/>
                <a:gd name="connsiteY42" fmla="*/ 97250 h 222123"/>
                <a:gd name="connsiteX43" fmla="*/ 55912 w 268223"/>
                <a:gd name="connsiteY43" fmla="*/ 94202 h 222123"/>
                <a:gd name="connsiteX44" fmla="*/ 65246 w 268223"/>
                <a:gd name="connsiteY44" fmla="*/ 96965 h 222123"/>
                <a:gd name="connsiteX45" fmla="*/ 80200 w 268223"/>
                <a:gd name="connsiteY45" fmla="*/ 116110 h 222123"/>
                <a:gd name="connsiteX46" fmla="*/ 85058 w 268223"/>
                <a:gd name="connsiteY46" fmla="*/ 112204 h 222123"/>
                <a:gd name="connsiteX47" fmla="*/ 96202 w 268223"/>
                <a:gd name="connsiteY47" fmla="*/ 114300 h 222123"/>
                <a:gd name="connsiteX48" fmla="*/ 101060 w 268223"/>
                <a:gd name="connsiteY48" fmla="*/ 110395 h 222123"/>
                <a:gd name="connsiteX49" fmla="*/ 106204 w 268223"/>
                <a:gd name="connsiteY49" fmla="*/ 112776 h 222123"/>
                <a:gd name="connsiteX50" fmla="*/ 116300 w 268223"/>
                <a:gd name="connsiteY50" fmla="*/ 110204 h 222123"/>
                <a:gd name="connsiteX51" fmla="*/ 118396 w 268223"/>
                <a:gd name="connsiteY51" fmla="*/ 116586 h 222123"/>
                <a:gd name="connsiteX52" fmla="*/ 114014 w 268223"/>
                <a:gd name="connsiteY52" fmla="*/ 120968 h 222123"/>
                <a:gd name="connsiteX53" fmla="*/ 114967 w 268223"/>
                <a:gd name="connsiteY53" fmla="*/ 125921 h 222123"/>
                <a:gd name="connsiteX54" fmla="*/ 110109 w 268223"/>
                <a:gd name="connsiteY54" fmla="*/ 130588 h 222123"/>
                <a:gd name="connsiteX55" fmla="*/ 109633 w 268223"/>
                <a:gd name="connsiteY55" fmla="*/ 145733 h 222123"/>
                <a:gd name="connsiteX56" fmla="*/ 114014 w 268223"/>
                <a:gd name="connsiteY56" fmla="*/ 160687 h 222123"/>
                <a:gd name="connsiteX57" fmla="*/ 118110 w 268223"/>
                <a:gd name="connsiteY57" fmla="*/ 161735 h 222123"/>
                <a:gd name="connsiteX58" fmla="*/ 121158 w 268223"/>
                <a:gd name="connsiteY58" fmla="*/ 167926 h 222123"/>
                <a:gd name="connsiteX59" fmla="*/ 109633 w 268223"/>
                <a:gd name="connsiteY59" fmla="*/ 179546 h 222123"/>
                <a:gd name="connsiteX60" fmla="*/ 116300 w 268223"/>
                <a:gd name="connsiteY60" fmla="*/ 180594 h 222123"/>
                <a:gd name="connsiteX61" fmla="*/ 123063 w 268223"/>
                <a:gd name="connsiteY61" fmla="*/ 188309 h 222123"/>
                <a:gd name="connsiteX62" fmla="*/ 129635 w 268223"/>
                <a:gd name="connsiteY62" fmla="*/ 211360 h 222123"/>
                <a:gd name="connsiteX63" fmla="*/ 139827 w 268223"/>
                <a:gd name="connsiteY63" fmla="*/ 220313 h 222123"/>
                <a:gd name="connsiteX64" fmla="*/ 146780 w 268223"/>
                <a:gd name="connsiteY64" fmla="*/ 220599 h 222123"/>
                <a:gd name="connsiteX65" fmla="*/ 154210 w 268223"/>
                <a:gd name="connsiteY65" fmla="*/ 215932 h 222123"/>
                <a:gd name="connsiteX66" fmla="*/ 157353 w 268223"/>
                <a:gd name="connsiteY66" fmla="*/ 222123 h 222123"/>
                <a:gd name="connsiteX67" fmla="*/ 164306 w 268223"/>
                <a:gd name="connsiteY67" fmla="*/ 212598 h 222123"/>
                <a:gd name="connsiteX68" fmla="*/ 178498 w 268223"/>
                <a:gd name="connsiteY68" fmla="*/ 205359 h 222123"/>
                <a:gd name="connsiteX69" fmla="*/ 180499 w 268223"/>
                <a:gd name="connsiteY69" fmla="*/ 208502 h 222123"/>
                <a:gd name="connsiteX70" fmla="*/ 184690 w 268223"/>
                <a:gd name="connsiteY70" fmla="*/ 203073 h 222123"/>
                <a:gd name="connsiteX71" fmla="*/ 185451 w 268223"/>
                <a:gd name="connsiteY71" fmla="*/ 196882 h 222123"/>
                <a:gd name="connsiteX72" fmla="*/ 198596 w 268223"/>
                <a:gd name="connsiteY72" fmla="*/ 192500 h 222123"/>
                <a:gd name="connsiteX73" fmla="*/ 199073 w 268223"/>
                <a:gd name="connsiteY73" fmla="*/ 186309 h 222123"/>
                <a:gd name="connsiteX74" fmla="*/ 185451 w 268223"/>
                <a:gd name="connsiteY74" fmla="*/ 186309 h 222123"/>
                <a:gd name="connsiteX75" fmla="*/ 185928 w 268223"/>
                <a:gd name="connsiteY75" fmla="*/ 179546 h 222123"/>
                <a:gd name="connsiteX76" fmla="*/ 181546 w 268223"/>
                <a:gd name="connsiteY76" fmla="*/ 172307 h 222123"/>
                <a:gd name="connsiteX77" fmla="*/ 182785 w 268223"/>
                <a:gd name="connsiteY77" fmla="*/ 165163 h 222123"/>
                <a:gd name="connsiteX78" fmla="*/ 170212 w 268223"/>
                <a:gd name="connsiteY78" fmla="*/ 150686 h 222123"/>
                <a:gd name="connsiteX79" fmla="*/ 182309 w 268223"/>
                <a:gd name="connsiteY79" fmla="*/ 152495 h 222123"/>
                <a:gd name="connsiteX80" fmla="*/ 185451 w 268223"/>
                <a:gd name="connsiteY80" fmla="*/ 158210 h 222123"/>
                <a:gd name="connsiteX81" fmla="*/ 190119 w 268223"/>
                <a:gd name="connsiteY81" fmla="*/ 156115 h 222123"/>
                <a:gd name="connsiteX82" fmla="*/ 195739 w 268223"/>
                <a:gd name="connsiteY82" fmla="*/ 159449 h 222123"/>
                <a:gd name="connsiteX83" fmla="*/ 198596 w 268223"/>
                <a:gd name="connsiteY83" fmla="*/ 155543 h 222123"/>
                <a:gd name="connsiteX84" fmla="*/ 206121 w 268223"/>
                <a:gd name="connsiteY84" fmla="*/ 164116 h 222123"/>
                <a:gd name="connsiteX85" fmla="*/ 211455 w 268223"/>
                <a:gd name="connsiteY85" fmla="*/ 162782 h 222123"/>
                <a:gd name="connsiteX86" fmla="*/ 210979 w 268223"/>
                <a:gd name="connsiteY86" fmla="*/ 155353 h 222123"/>
                <a:gd name="connsiteX87" fmla="*/ 216884 w 268223"/>
                <a:gd name="connsiteY87" fmla="*/ 151733 h 222123"/>
                <a:gd name="connsiteX88" fmla="*/ 222885 w 268223"/>
                <a:gd name="connsiteY88" fmla="*/ 154305 h 222123"/>
                <a:gd name="connsiteX89" fmla="*/ 234410 w 268223"/>
                <a:gd name="connsiteY89" fmla="*/ 151447 h 222123"/>
                <a:gd name="connsiteX90" fmla="*/ 237554 w 268223"/>
                <a:gd name="connsiteY90" fmla="*/ 145542 h 222123"/>
                <a:gd name="connsiteX91" fmla="*/ 245554 w 268223"/>
                <a:gd name="connsiteY91" fmla="*/ 146018 h 222123"/>
                <a:gd name="connsiteX92" fmla="*/ 247650 w 268223"/>
                <a:gd name="connsiteY92" fmla="*/ 141637 h 222123"/>
                <a:gd name="connsiteX93" fmla="*/ 252222 w 268223"/>
                <a:gd name="connsiteY93" fmla="*/ 140303 h 222123"/>
                <a:gd name="connsiteX94" fmla="*/ 254032 w 268223"/>
                <a:gd name="connsiteY94" fmla="*/ 136779 h 222123"/>
                <a:gd name="connsiteX95" fmla="*/ 250507 w 268223"/>
                <a:gd name="connsiteY95" fmla="*/ 132588 h 222123"/>
                <a:gd name="connsiteX96" fmla="*/ 237839 w 268223"/>
                <a:gd name="connsiteY96" fmla="*/ 117634 h 222123"/>
                <a:gd name="connsiteX97" fmla="*/ 243745 w 268223"/>
                <a:gd name="connsiteY97" fmla="*/ 112776 h 222123"/>
                <a:gd name="connsiteX98" fmla="*/ 242983 w 268223"/>
                <a:gd name="connsiteY98" fmla="*/ 102394 h 222123"/>
                <a:gd name="connsiteX99" fmla="*/ 259747 w 268223"/>
                <a:gd name="connsiteY99" fmla="*/ 98012 h 222123"/>
                <a:gd name="connsiteX100" fmla="*/ 258985 w 268223"/>
                <a:gd name="connsiteY100" fmla="*/ 92869 h 222123"/>
                <a:gd name="connsiteX101" fmla="*/ 252222 w 268223"/>
                <a:gd name="connsiteY101" fmla="*/ 91630 h 222123"/>
                <a:gd name="connsiteX102" fmla="*/ 254794 w 268223"/>
                <a:gd name="connsiteY102" fmla="*/ 80772 h 222123"/>
                <a:gd name="connsiteX103" fmla="*/ 265176 w 268223"/>
                <a:gd name="connsiteY103" fmla="*/ 76391 h 22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68223" h="222123">
                  <a:moveTo>
                    <a:pt x="265176" y="76391"/>
                  </a:moveTo>
                  <a:lnTo>
                    <a:pt x="268224" y="72485"/>
                  </a:lnTo>
                  <a:lnTo>
                    <a:pt x="265748" y="66389"/>
                  </a:lnTo>
                  <a:lnTo>
                    <a:pt x="233648" y="65722"/>
                  </a:lnTo>
                  <a:lnTo>
                    <a:pt x="248888" y="48578"/>
                  </a:lnTo>
                  <a:lnTo>
                    <a:pt x="219742" y="43244"/>
                  </a:lnTo>
                  <a:lnTo>
                    <a:pt x="213170" y="29432"/>
                  </a:lnTo>
                  <a:lnTo>
                    <a:pt x="206216" y="32099"/>
                  </a:lnTo>
                  <a:lnTo>
                    <a:pt x="207931" y="26575"/>
                  </a:lnTo>
                  <a:lnTo>
                    <a:pt x="228981" y="22193"/>
                  </a:lnTo>
                  <a:lnTo>
                    <a:pt x="186500" y="21717"/>
                  </a:lnTo>
                  <a:lnTo>
                    <a:pt x="181166" y="23813"/>
                  </a:lnTo>
                  <a:lnTo>
                    <a:pt x="193072" y="27813"/>
                  </a:lnTo>
                  <a:lnTo>
                    <a:pt x="164973" y="36671"/>
                  </a:lnTo>
                  <a:lnTo>
                    <a:pt x="142208" y="24194"/>
                  </a:lnTo>
                  <a:lnTo>
                    <a:pt x="103917" y="27242"/>
                  </a:lnTo>
                  <a:lnTo>
                    <a:pt x="99250" y="13049"/>
                  </a:lnTo>
                  <a:lnTo>
                    <a:pt x="74866" y="7620"/>
                  </a:lnTo>
                  <a:lnTo>
                    <a:pt x="40957" y="16859"/>
                  </a:lnTo>
                  <a:lnTo>
                    <a:pt x="47054" y="42958"/>
                  </a:lnTo>
                  <a:lnTo>
                    <a:pt x="46387" y="50863"/>
                  </a:lnTo>
                  <a:lnTo>
                    <a:pt x="35243" y="56197"/>
                  </a:lnTo>
                  <a:lnTo>
                    <a:pt x="25336" y="40958"/>
                  </a:lnTo>
                  <a:lnTo>
                    <a:pt x="36195" y="22860"/>
                  </a:lnTo>
                  <a:lnTo>
                    <a:pt x="28575" y="6001"/>
                  </a:lnTo>
                  <a:lnTo>
                    <a:pt x="41243" y="0"/>
                  </a:lnTo>
                  <a:lnTo>
                    <a:pt x="40957" y="0"/>
                  </a:lnTo>
                  <a:lnTo>
                    <a:pt x="27337" y="2572"/>
                  </a:lnTo>
                  <a:lnTo>
                    <a:pt x="22098" y="14192"/>
                  </a:lnTo>
                  <a:lnTo>
                    <a:pt x="17526" y="14478"/>
                  </a:lnTo>
                  <a:lnTo>
                    <a:pt x="10001" y="28956"/>
                  </a:lnTo>
                  <a:lnTo>
                    <a:pt x="8191" y="40481"/>
                  </a:lnTo>
                  <a:lnTo>
                    <a:pt x="0" y="52864"/>
                  </a:lnTo>
                  <a:lnTo>
                    <a:pt x="8001" y="51340"/>
                  </a:lnTo>
                  <a:lnTo>
                    <a:pt x="9239" y="55436"/>
                  </a:lnTo>
                  <a:lnTo>
                    <a:pt x="13335" y="54959"/>
                  </a:lnTo>
                  <a:lnTo>
                    <a:pt x="15430" y="65056"/>
                  </a:lnTo>
                  <a:lnTo>
                    <a:pt x="21907" y="75343"/>
                  </a:lnTo>
                  <a:lnTo>
                    <a:pt x="17526" y="88773"/>
                  </a:lnTo>
                  <a:lnTo>
                    <a:pt x="23717" y="89059"/>
                  </a:lnTo>
                  <a:lnTo>
                    <a:pt x="27051" y="96203"/>
                  </a:lnTo>
                  <a:lnTo>
                    <a:pt x="36290" y="95155"/>
                  </a:lnTo>
                  <a:lnTo>
                    <a:pt x="46958" y="97250"/>
                  </a:lnTo>
                  <a:lnTo>
                    <a:pt x="55912" y="94202"/>
                  </a:lnTo>
                  <a:lnTo>
                    <a:pt x="65246" y="96965"/>
                  </a:lnTo>
                  <a:lnTo>
                    <a:pt x="80200" y="116110"/>
                  </a:lnTo>
                  <a:lnTo>
                    <a:pt x="85058" y="112204"/>
                  </a:lnTo>
                  <a:lnTo>
                    <a:pt x="96202" y="114300"/>
                  </a:lnTo>
                  <a:lnTo>
                    <a:pt x="101060" y="110395"/>
                  </a:lnTo>
                  <a:lnTo>
                    <a:pt x="106204" y="112776"/>
                  </a:lnTo>
                  <a:lnTo>
                    <a:pt x="116300" y="110204"/>
                  </a:lnTo>
                  <a:lnTo>
                    <a:pt x="118396" y="116586"/>
                  </a:lnTo>
                  <a:lnTo>
                    <a:pt x="114014" y="120968"/>
                  </a:lnTo>
                  <a:lnTo>
                    <a:pt x="114967" y="125921"/>
                  </a:lnTo>
                  <a:lnTo>
                    <a:pt x="110109" y="130588"/>
                  </a:lnTo>
                  <a:lnTo>
                    <a:pt x="109633" y="145733"/>
                  </a:lnTo>
                  <a:lnTo>
                    <a:pt x="114014" y="160687"/>
                  </a:lnTo>
                  <a:lnTo>
                    <a:pt x="118110" y="161735"/>
                  </a:lnTo>
                  <a:lnTo>
                    <a:pt x="121158" y="167926"/>
                  </a:lnTo>
                  <a:lnTo>
                    <a:pt x="109633" y="179546"/>
                  </a:lnTo>
                  <a:lnTo>
                    <a:pt x="116300" y="180594"/>
                  </a:lnTo>
                  <a:lnTo>
                    <a:pt x="123063" y="188309"/>
                  </a:lnTo>
                  <a:lnTo>
                    <a:pt x="129635" y="211360"/>
                  </a:lnTo>
                  <a:lnTo>
                    <a:pt x="139827" y="220313"/>
                  </a:lnTo>
                  <a:lnTo>
                    <a:pt x="146780" y="220599"/>
                  </a:lnTo>
                  <a:lnTo>
                    <a:pt x="154210" y="215932"/>
                  </a:lnTo>
                  <a:lnTo>
                    <a:pt x="157353" y="222123"/>
                  </a:lnTo>
                  <a:lnTo>
                    <a:pt x="164306" y="212598"/>
                  </a:lnTo>
                  <a:lnTo>
                    <a:pt x="178498" y="205359"/>
                  </a:lnTo>
                  <a:lnTo>
                    <a:pt x="180499" y="208502"/>
                  </a:lnTo>
                  <a:lnTo>
                    <a:pt x="184690" y="203073"/>
                  </a:lnTo>
                  <a:lnTo>
                    <a:pt x="185451" y="196882"/>
                  </a:lnTo>
                  <a:lnTo>
                    <a:pt x="198596" y="192500"/>
                  </a:lnTo>
                  <a:lnTo>
                    <a:pt x="199073" y="186309"/>
                  </a:lnTo>
                  <a:lnTo>
                    <a:pt x="185451" y="186309"/>
                  </a:lnTo>
                  <a:lnTo>
                    <a:pt x="185928" y="179546"/>
                  </a:lnTo>
                  <a:lnTo>
                    <a:pt x="181546" y="172307"/>
                  </a:lnTo>
                  <a:lnTo>
                    <a:pt x="182785" y="165163"/>
                  </a:lnTo>
                  <a:lnTo>
                    <a:pt x="170212" y="150686"/>
                  </a:lnTo>
                  <a:lnTo>
                    <a:pt x="182309" y="152495"/>
                  </a:lnTo>
                  <a:lnTo>
                    <a:pt x="185451" y="158210"/>
                  </a:lnTo>
                  <a:lnTo>
                    <a:pt x="190119" y="156115"/>
                  </a:lnTo>
                  <a:lnTo>
                    <a:pt x="195739" y="159449"/>
                  </a:lnTo>
                  <a:lnTo>
                    <a:pt x="198596" y="155543"/>
                  </a:lnTo>
                  <a:lnTo>
                    <a:pt x="206121" y="164116"/>
                  </a:lnTo>
                  <a:lnTo>
                    <a:pt x="211455" y="162782"/>
                  </a:lnTo>
                  <a:lnTo>
                    <a:pt x="210979" y="155353"/>
                  </a:lnTo>
                  <a:lnTo>
                    <a:pt x="216884" y="151733"/>
                  </a:lnTo>
                  <a:lnTo>
                    <a:pt x="222885" y="154305"/>
                  </a:lnTo>
                  <a:lnTo>
                    <a:pt x="234410" y="151447"/>
                  </a:lnTo>
                  <a:lnTo>
                    <a:pt x="237554" y="145542"/>
                  </a:lnTo>
                  <a:lnTo>
                    <a:pt x="245554" y="146018"/>
                  </a:lnTo>
                  <a:lnTo>
                    <a:pt x="247650" y="141637"/>
                  </a:lnTo>
                  <a:lnTo>
                    <a:pt x="252222" y="140303"/>
                  </a:lnTo>
                  <a:lnTo>
                    <a:pt x="254032" y="136779"/>
                  </a:lnTo>
                  <a:lnTo>
                    <a:pt x="250507" y="132588"/>
                  </a:lnTo>
                  <a:lnTo>
                    <a:pt x="237839" y="117634"/>
                  </a:lnTo>
                  <a:lnTo>
                    <a:pt x="243745" y="112776"/>
                  </a:lnTo>
                  <a:lnTo>
                    <a:pt x="242983" y="102394"/>
                  </a:lnTo>
                  <a:lnTo>
                    <a:pt x="259747" y="98012"/>
                  </a:lnTo>
                  <a:lnTo>
                    <a:pt x="258985" y="92869"/>
                  </a:lnTo>
                  <a:lnTo>
                    <a:pt x="252222" y="91630"/>
                  </a:lnTo>
                  <a:lnTo>
                    <a:pt x="254794" y="80772"/>
                  </a:lnTo>
                  <a:lnTo>
                    <a:pt x="265176" y="7639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8" name="Freeform: Shape 2868">
              <a:extLst>
                <a:ext uri="{FF2B5EF4-FFF2-40B4-BE49-F238E27FC236}">
                  <a16:creationId xmlns:a16="http://schemas.microsoft.com/office/drawing/2014/main" id="{C85C7935-F1E4-C16D-C548-83E523122BB7}"/>
                </a:ext>
              </a:extLst>
            </p:cNvPr>
            <p:cNvSpPr/>
            <p:nvPr/>
          </p:nvSpPr>
          <p:spPr>
            <a:xfrm>
              <a:off x="7730108" y="5221541"/>
              <a:ext cx="103536" cy="110204"/>
            </a:xfrm>
            <a:custGeom>
              <a:avLst/>
              <a:gdLst>
                <a:gd name="connsiteX0" fmla="*/ 95631 w 103536"/>
                <a:gd name="connsiteY0" fmla="*/ 78677 h 110204"/>
                <a:gd name="connsiteX1" fmla="*/ 95631 w 103536"/>
                <a:gd name="connsiteY1" fmla="*/ 68009 h 110204"/>
                <a:gd name="connsiteX2" fmla="*/ 103537 w 103536"/>
                <a:gd name="connsiteY2" fmla="*/ 59436 h 110204"/>
                <a:gd name="connsiteX3" fmla="*/ 93059 w 103536"/>
                <a:gd name="connsiteY3" fmla="*/ 51530 h 110204"/>
                <a:gd name="connsiteX4" fmla="*/ 90678 w 103536"/>
                <a:gd name="connsiteY4" fmla="*/ 44482 h 110204"/>
                <a:gd name="connsiteX5" fmla="*/ 76486 w 103536"/>
                <a:gd name="connsiteY5" fmla="*/ 38195 h 110204"/>
                <a:gd name="connsiteX6" fmla="*/ 76486 w 103536"/>
                <a:gd name="connsiteY6" fmla="*/ 32671 h 110204"/>
                <a:gd name="connsiteX7" fmla="*/ 66961 w 103536"/>
                <a:gd name="connsiteY7" fmla="*/ 25718 h 110204"/>
                <a:gd name="connsiteX8" fmla="*/ 62960 w 103536"/>
                <a:gd name="connsiteY8" fmla="*/ 28385 h 110204"/>
                <a:gd name="connsiteX9" fmla="*/ 58960 w 103536"/>
                <a:gd name="connsiteY9" fmla="*/ 20193 h 110204"/>
                <a:gd name="connsiteX10" fmla="*/ 54388 w 103536"/>
                <a:gd name="connsiteY10" fmla="*/ 17526 h 110204"/>
                <a:gd name="connsiteX11" fmla="*/ 46101 w 103536"/>
                <a:gd name="connsiteY11" fmla="*/ 22765 h 110204"/>
                <a:gd name="connsiteX12" fmla="*/ 45434 w 103536"/>
                <a:gd name="connsiteY12" fmla="*/ 15621 h 110204"/>
                <a:gd name="connsiteX13" fmla="*/ 33624 w 103536"/>
                <a:gd name="connsiteY13" fmla="*/ 5239 h 110204"/>
                <a:gd name="connsiteX14" fmla="*/ 31337 w 103536"/>
                <a:gd name="connsiteY14" fmla="*/ 0 h 110204"/>
                <a:gd name="connsiteX15" fmla="*/ 24955 w 103536"/>
                <a:gd name="connsiteY15" fmla="*/ 1143 h 110204"/>
                <a:gd name="connsiteX16" fmla="*/ 21527 w 103536"/>
                <a:gd name="connsiteY16" fmla="*/ 7334 h 110204"/>
                <a:gd name="connsiteX17" fmla="*/ 12764 w 103536"/>
                <a:gd name="connsiteY17" fmla="*/ 2572 h 110204"/>
                <a:gd name="connsiteX18" fmla="*/ 12097 w 103536"/>
                <a:gd name="connsiteY18" fmla="*/ 7239 h 110204"/>
                <a:gd name="connsiteX19" fmla="*/ 8382 w 103536"/>
                <a:gd name="connsiteY19" fmla="*/ 11430 h 110204"/>
                <a:gd name="connsiteX20" fmla="*/ 10477 w 103536"/>
                <a:gd name="connsiteY20" fmla="*/ 18288 h 110204"/>
                <a:gd name="connsiteX21" fmla="*/ 4858 w 103536"/>
                <a:gd name="connsiteY21" fmla="*/ 30956 h 110204"/>
                <a:gd name="connsiteX22" fmla="*/ 7620 w 103536"/>
                <a:gd name="connsiteY22" fmla="*/ 36481 h 110204"/>
                <a:gd name="connsiteX23" fmla="*/ 2286 w 103536"/>
                <a:gd name="connsiteY23" fmla="*/ 40672 h 110204"/>
                <a:gd name="connsiteX24" fmla="*/ 2572 w 103536"/>
                <a:gd name="connsiteY24" fmla="*/ 53435 h 110204"/>
                <a:gd name="connsiteX25" fmla="*/ 2572 w 103536"/>
                <a:gd name="connsiteY25" fmla="*/ 53435 h 110204"/>
                <a:gd name="connsiteX26" fmla="*/ 2572 w 103536"/>
                <a:gd name="connsiteY26" fmla="*/ 53435 h 110204"/>
                <a:gd name="connsiteX27" fmla="*/ 0 w 103536"/>
                <a:gd name="connsiteY27" fmla="*/ 84772 h 110204"/>
                <a:gd name="connsiteX28" fmla="*/ 9811 w 103536"/>
                <a:gd name="connsiteY28" fmla="*/ 99346 h 110204"/>
                <a:gd name="connsiteX29" fmla="*/ 24670 w 103536"/>
                <a:gd name="connsiteY29" fmla="*/ 99346 h 110204"/>
                <a:gd name="connsiteX30" fmla="*/ 66961 w 103536"/>
                <a:gd name="connsiteY30" fmla="*/ 110204 h 110204"/>
                <a:gd name="connsiteX31" fmla="*/ 88392 w 103536"/>
                <a:gd name="connsiteY31" fmla="*/ 97917 h 110204"/>
                <a:gd name="connsiteX32" fmla="*/ 101251 w 103536"/>
                <a:gd name="connsiteY32" fmla="*/ 82582 h 110204"/>
                <a:gd name="connsiteX33" fmla="*/ 101251 w 103536"/>
                <a:gd name="connsiteY33" fmla="*/ 82582 h 110204"/>
                <a:gd name="connsiteX34" fmla="*/ 95631 w 103536"/>
                <a:gd name="connsiteY34" fmla="*/ 78677 h 1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3536" h="110204">
                  <a:moveTo>
                    <a:pt x="95631" y="78677"/>
                  </a:moveTo>
                  <a:lnTo>
                    <a:pt x="95631" y="68009"/>
                  </a:lnTo>
                  <a:lnTo>
                    <a:pt x="103537" y="59436"/>
                  </a:lnTo>
                  <a:lnTo>
                    <a:pt x="93059" y="51530"/>
                  </a:lnTo>
                  <a:lnTo>
                    <a:pt x="90678" y="44482"/>
                  </a:lnTo>
                  <a:lnTo>
                    <a:pt x="76486" y="38195"/>
                  </a:lnTo>
                  <a:lnTo>
                    <a:pt x="76486" y="32671"/>
                  </a:lnTo>
                  <a:lnTo>
                    <a:pt x="66961" y="25718"/>
                  </a:lnTo>
                  <a:lnTo>
                    <a:pt x="62960" y="28385"/>
                  </a:lnTo>
                  <a:lnTo>
                    <a:pt x="58960" y="20193"/>
                  </a:lnTo>
                  <a:lnTo>
                    <a:pt x="54388" y="17526"/>
                  </a:lnTo>
                  <a:lnTo>
                    <a:pt x="46101" y="22765"/>
                  </a:lnTo>
                  <a:lnTo>
                    <a:pt x="45434" y="15621"/>
                  </a:lnTo>
                  <a:lnTo>
                    <a:pt x="33624" y="5239"/>
                  </a:lnTo>
                  <a:lnTo>
                    <a:pt x="31337" y="0"/>
                  </a:lnTo>
                  <a:lnTo>
                    <a:pt x="24955" y="1143"/>
                  </a:lnTo>
                  <a:lnTo>
                    <a:pt x="21527" y="7334"/>
                  </a:lnTo>
                  <a:lnTo>
                    <a:pt x="12764" y="2572"/>
                  </a:lnTo>
                  <a:lnTo>
                    <a:pt x="12097" y="7239"/>
                  </a:lnTo>
                  <a:lnTo>
                    <a:pt x="8382" y="11430"/>
                  </a:lnTo>
                  <a:lnTo>
                    <a:pt x="10477" y="18288"/>
                  </a:lnTo>
                  <a:lnTo>
                    <a:pt x="4858" y="30956"/>
                  </a:lnTo>
                  <a:lnTo>
                    <a:pt x="7620" y="36481"/>
                  </a:lnTo>
                  <a:lnTo>
                    <a:pt x="2286" y="40672"/>
                  </a:lnTo>
                  <a:lnTo>
                    <a:pt x="2572" y="53435"/>
                  </a:lnTo>
                  <a:lnTo>
                    <a:pt x="2572" y="53435"/>
                  </a:lnTo>
                  <a:lnTo>
                    <a:pt x="2572" y="53435"/>
                  </a:lnTo>
                  <a:lnTo>
                    <a:pt x="0" y="84772"/>
                  </a:lnTo>
                  <a:lnTo>
                    <a:pt x="9811" y="99346"/>
                  </a:lnTo>
                  <a:lnTo>
                    <a:pt x="24670" y="99346"/>
                  </a:lnTo>
                  <a:lnTo>
                    <a:pt x="66961" y="110204"/>
                  </a:lnTo>
                  <a:lnTo>
                    <a:pt x="88392" y="97917"/>
                  </a:lnTo>
                  <a:lnTo>
                    <a:pt x="101251" y="82582"/>
                  </a:lnTo>
                  <a:lnTo>
                    <a:pt x="101251" y="82582"/>
                  </a:lnTo>
                  <a:lnTo>
                    <a:pt x="95631" y="7867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79" name="Freeform: Shape 2869">
              <a:extLst>
                <a:ext uri="{FF2B5EF4-FFF2-40B4-BE49-F238E27FC236}">
                  <a16:creationId xmlns:a16="http://schemas.microsoft.com/office/drawing/2014/main" id="{E5ADF6B1-6964-0C93-7736-D3C2D7841A59}"/>
                </a:ext>
              </a:extLst>
            </p:cNvPr>
            <p:cNvSpPr/>
            <p:nvPr/>
          </p:nvSpPr>
          <p:spPr>
            <a:xfrm>
              <a:off x="7735442" y="4492212"/>
              <a:ext cx="80677" cy="81248"/>
            </a:xfrm>
            <a:custGeom>
              <a:avLst/>
              <a:gdLst>
                <a:gd name="connsiteX0" fmla="*/ 6668 w 80677"/>
                <a:gd name="connsiteY0" fmla="*/ 18098 h 81248"/>
                <a:gd name="connsiteX1" fmla="*/ 1524 w 80677"/>
                <a:gd name="connsiteY1" fmla="*/ 22003 h 81248"/>
                <a:gd name="connsiteX2" fmla="*/ 4572 w 80677"/>
                <a:gd name="connsiteY2" fmla="*/ 25813 h 81248"/>
                <a:gd name="connsiteX3" fmla="*/ 0 w 80677"/>
                <a:gd name="connsiteY3" fmla="*/ 34862 h 81248"/>
                <a:gd name="connsiteX4" fmla="*/ 3620 w 80677"/>
                <a:gd name="connsiteY4" fmla="*/ 44387 h 81248"/>
                <a:gd name="connsiteX5" fmla="*/ 7430 w 80677"/>
                <a:gd name="connsiteY5" fmla="*/ 45720 h 81248"/>
                <a:gd name="connsiteX6" fmla="*/ 9811 w 80677"/>
                <a:gd name="connsiteY6" fmla="*/ 51626 h 81248"/>
                <a:gd name="connsiteX7" fmla="*/ 15240 w 80677"/>
                <a:gd name="connsiteY7" fmla="*/ 50578 h 81248"/>
                <a:gd name="connsiteX8" fmla="*/ 18002 w 80677"/>
                <a:gd name="connsiteY8" fmla="*/ 62484 h 81248"/>
                <a:gd name="connsiteX9" fmla="*/ 23717 w 80677"/>
                <a:gd name="connsiteY9" fmla="*/ 72485 h 81248"/>
                <a:gd name="connsiteX10" fmla="*/ 29337 w 80677"/>
                <a:gd name="connsiteY10" fmla="*/ 74581 h 81248"/>
                <a:gd name="connsiteX11" fmla="*/ 32004 w 80677"/>
                <a:gd name="connsiteY11" fmla="*/ 79439 h 81248"/>
                <a:gd name="connsiteX12" fmla="*/ 32004 w 80677"/>
                <a:gd name="connsiteY12" fmla="*/ 79439 h 81248"/>
                <a:gd name="connsiteX13" fmla="*/ 33528 w 80677"/>
                <a:gd name="connsiteY13" fmla="*/ 79439 h 81248"/>
                <a:gd name="connsiteX14" fmla="*/ 43053 w 80677"/>
                <a:gd name="connsiteY14" fmla="*/ 81249 h 81248"/>
                <a:gd name="connsiteX15" fmla="*/ 43529 w 80677"/>
                <a:gd name="connsiteY15" fmla="*/ 76676 h 81248"/>
                <a:gd name="connsiteX16" fmla="*/ 37338 w 80677"/>
                <a:gd name="connsiteY16" fmla="*/ 72009 h 81248"/>
                <a:gd name="connsiteX17" fmla="*/ 41434 w 80677"/>
                <a:gd name="connsiteY17" fmla="*/ 66580 h 81248"/>
                <a:gd name="connsiteX18" fmla="*/ 47434 w 80677"/>
                <a:gd name="connsiteY18" fmla="*/ 70485 h 81248"/>
                <a:gd name="connsiteX19" fmla="*/ 61056 w 80677"/>
                <a:gd name="connsiteY19" fmla="*/ 65818 h 81248"/>
                <a:gd name="connsiteX20" fmla="*/ 62675 w 80677"/>
                <a:gd name="connsiteY20" fmla="*/ 69914 h 81248"/>
                <a:gd name="connsiteX21" fmla="*/ 67246 w 80677"/>
                <a:gd name="connsiteY21" fmla="*/ 69152 h 81248"/>
                <a:gd name="connsiteX22" fmla="*/ 68866 w 80677"/>
                <a:gd name="connsiteY22" fmla="*/ 72009 h 81248"/>
                <a:gd name="connsiteX23" fmla="*/ 68866 w 80677"/>
                <a:gd name="connsiteY23" fmla="*/ 72009 h 81248"/>
                <a:gd name="connsiteX24" fmla="*/ 76867 w 80677"/>
                <a:gd name="connsiteY24" fmla="*/ 61913 h 81248"/>
                <a:gd name="connsiteX25" fmla="*/ 75819 w 80677"/>
                <a:gd name="connsiteY25" fmla="*/ 54674 h 81248"/>
                <a:gd name="connsiteX26" fmla="*/ 80677 w 80677"/>
                <a:gd name="connsiteY26" fmla="*/ 46673 h 81248"/>
                <a:gd name="connsiteX27" fmla="*/ 72962 w 80677"/>
                <a:gd name="connsiteY27" fmla="*/ 38481 h 81248"/>
                <a:gd name="connsiteX28" fmla="*/ 70866 w 80677"/>
                <a:gd name="connsiteY28" fmla="*/ 18288 h 81248"/>
                <a:gd name="connsiteX29" fmla="*/ 76486 w 80677"/>
                <a:gd name="connsiteY29" fmla="*/ 11716 h 81248"/>
                <a:gd name="connsiteX30" fmla="*/ 43434 w 80677"/>
                <a:gd name="connsiteY30" fmla="*/ 0 h 81248"/>
                <a:gd name="connsiteX31" fmla="*/ 42482 w 80677"/>
                <a:gd name="connsiteY31" fmla="*/ 5620 h 81248"/>
                <a:gd name="connsiteX32" fmla="*/ 25241 w 80677"/>
                <a:gd name="connsiteY32" fmla="*/ 0 h 81248"/>
                <a:gd name="connsiteX33" fmla="*/ 15716 w 80677"/>
                <a:gd name="connsiteY33" fmla="*/ 9525 h 81248"/>
                <a:gd name="connsiteX34" fmla="*/ 15716 w 80677"/>
                <a:gd name="connsiteY34" fmla="*/ 18288 h 8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677" h="81248">
                  <a:moveTo>
                    <a:pt x="6668" y="18098"/>
                  </a:moveTo>
                  <a:lnTo>
                    <a:pt x="1524" y="22003"/>
                  </a:lnTo>
                  <a:lnTo>
                    <a:pt x="4572" y="25813"/>
                  </a:lnTo>
                  <a:lnTo>
                    <a:pt x="0" y="34862"/>
                  </a:lnTo>
                  <a:lnTo>
                    <a:pt x="3620" y="44387"/>
                  </a:lnTo>
                  <a:lnTo>
                    <a:pt x="7430" y="45720"/>
                  </a:lnTo>
                  <a:lnTo>
                    <a:pt x="9811" y="51626"/>
                  </a:lnTo>
                  <a:lnTo>
                    <a:pt x="15240" y="50578"/>
                  </a:lnTo>
                  <a:lnTo>
                    <a:pt x="18002" y="62484"/>
                  </a:lnTo>
                  <a:lnTo>
                    <a:pt x="23717" y="72485"/>
                  </a:lnTo>
                  <a:lnTo>
                    <a:pt x="29337" y="74581"/>
                  </a:lnTo>
                  <a:lnTo>
                    <a:pt x="32004" y="79439"/>
                  </a:lnTo>
                  <a:lnTo>
                    <a:pt x="32004" y="79439"/>
                  </a:lnTo>
                  <a:lnTo>
                    <a:pt x="33528" y="79439"/>
                  </a:lnTo>
                  <a:lnTo>
                    <a:pt x="43053" y="81249"/>
                  </a:lnTo>
                  <a:lnTo>
                    <a:pt x="43529" y="76676"/>
                  </a:lnTo>
                  <a:lnTo>
                    <a:pt x="37338" y="72009"/>
                  </a:lnTo>
                  <a:lnTo>
                    <a:pt x="41434" y="66580"/>
                  </a:lnTo>
                  <a:lnTo>
                    <a:pt x="47434" y="70485"/>
                  </a:lnTo>
                  <a:lnTo>
                    <a:pt x="61056" y="65818"/>
                  </a:lnTo>
                  <a:lnTo>
                    <a:pt x="62675" y="69914"/>
                  </a:lnTo>
                  <a:lnTo>
                    <a:pt x="67246" y="69152"/>
                  </a:lnTo>
                  <a:lnTo>
                    <a:pt x="68866" y="72009"/>
                  </a:lnTo>
                  <a:lnTo>
                    <a:pt x="68866" y="72009"/>
                  </a:lnTo>
                  <a:lnTo>
                    <a:pt x="76867" y="61913"/>
                  </a:lnTo>
                  <a:lnTo>
                    <a:pt x="75819" y="54674"/>
                  </a:lnTo>
                  <a:lnTo>
                    <a:pt x="80677" y="46673"/>
                  </a:lnTo>
                  <a:lnTo>
                    <a:pt x="72962" y="38481"/>
                  </a:lnTo>
                  <a:lnTo>
                    <a:pt x="70866" y="18288"/>
                  </a:lnTo>
                  <a:lnTo>
                    <a:pt x="76486" y="11716"/>
                  </a:lnTo>
                  <a:lnTo>
                    <a:pt x="43434" y="0"/>
                  </a:lnTo>
                  <a:lnTo>
                    <a:pt x="42482" y="5620"/>
                  </a:lnTo>
                  <a:lnTo>
                    <a:pt x="25241" y="0"/>
                  </a:lnTo>
                  <a:lnTo>
                    <a:pt x="15716" y="9525"/>
                  </a:lnTo>
                  <a:lnTo>
                    <a:pt x="15716" y="1828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0" name="Freeform: Shape 2870">
              <a:extLst>
                <a:ext uri="{FF2B5EF4-FFF2-40B4-BE49-F238E27FC236}">
                  <a16:creationId xmlns:a16="http://schemas.microsoft.com/office/drawing/2014/main" id="{CCB3176E-1210-B423-D0FC-0096815AE3D8}"/>
                </a:ext>
              </a:extLst>
            </p:cNvPr>
            <p:cNvSpPr/>
            <p:nvPr/>
          </p:nvSpPr>
          <p:spPr>
            <a:xfrm>
              <a:off x="7275290" y="4610227"/>
              <a:ext cx="249840" cy="366236"/>
            </a:xfrm>
            <a:custGeom>
              <a:avLst/>
              <a:gdLst>
                <a:gd name="connsiteX0" fmla="*/ 239268 w 249840"/>
                <a:gd name="connsiteY0" fmla="*/ 321755 h 366236"/>
                <a:gd name="connsiteX1" fmla="*/ 234410 w 249840"/>
                <a:gd name="connsiteY1" fmla="*/ 310705 h 366236"/>
                <a:gd name="connsiteX2" fmla="*/ 241364 w 249840"/>
                <a:gd name="connsiteY2" fmla="*/ 303086 h 366236"/>
                <a:gd name="connsiteX3" fmla="*/ 235934 w 249840"/>
                <a:gd name="connsiteY3" fmla="*/ 298037 h 366236"/>
                <a:gd name="connsiteX4" fmla="*/ 235934 w 249840"/>
                <a:gd name="connsiteY4" fmla="*/ 292989 h 366236"/>
                <a:gd name="connsiteX5" fmla="*/ 246507 w 249840"/>
                <a:gd name="connsiteY5" fmla="*/ 281654 h 366236"/>
                <a:gd name="connsiteX6" fmla="*/ 240887 w 249840"/>
                <a:gd name="connsiteY6" fmla="*/ 271939 h 366236"/>
                <a:gd name="connsiteX7" fmla="*/ 243174 w 249840"/>
                <a:gd name="connsiteY7" fmla="*/ 267462 h 366236"/>
                <a:gd name="connsiteX8" fmla="*/ 243174 w 249840"/>
                <a:gd name="connsiteY8" fmla="*/ 255556 h 366236"/>
                <a:gd name="connsiteX9" fmla="*/ 249841 w 249840"/>
                <a:gd name="connsiteY9" fmla="*/ 248793 h 366236"/>
                <a:gd name="connsiteX10" fmla="*/ 232124 w 249840"/>
                <a:gd name="connsiteY10" fmla="*/ 216027 h 366236"/>
                <a:gd name="connsiteX11" fmla="*/ 232029 w 249840"/>
                <a:gd name="connsiteY11" fmla="*/ 215837 h 366236"/>
                <a:gd name="connsiteX12" fmla="*/ 224885 w 249840"/>
                <a:gd name="connsiteY12" fmla="*/ 214598 h 366236"/>
                <a:gd name="connsiteX13" fmla="*/ 218313 w 249840"/>
                <a:gd name="connsiteY13" fmla="*/ 218599 h 366236"/>
                <a:gd name="connsiteX14" fmla="*/ 211074 w 249840"/>
                <a:gd name="connsiteY14" fmla="*/ 214217 h 366236"/>
                <a:gd name="connsiteX15" fmla="*/ 212027 w 249840"/>
                <a:gd name="connsiteY15" fmla="*/ 186214 h 366236"/>
                <a:gd name="connsiteX16" fmla="*/ 196596 w 249840"/>
                <a:gd name="connsiteY16" fmla="*/ 197453 h 366236"/>
                <a:gd name="connsiteX17" fmla="*/ 181546 w 249840"/>
                <a:gd name="connsiteY17" fmla="*/ 197453 h 366236"/>
                <a:gd name="connsiteX18" fmla="*/ 175355 w 249840"/>
                <a:gd name="connsiteY18" fmla="*/ 187262 h 366236"/>
                <a:gd name="connsiteX19" fmla="*/ 160211 w 249840"/>
                <a:gd name="connsiteY19" fmla="*/ 185547 h 366236"/>
                <a:gd name="connsiteX20" fmla="*/ 164782 w 249840"/>
                <a:gd name="connsiteY20" fmla="*/ 177355 h 366236"/>
                <a:gd name="connsiteX21" fmla="*/ 150590 w 249840"/>
                <a:gd name="connsiteY21" fmla="*/ 163259 h 366236"/>
                <a:gd name="connsiteX22" fmla="*/ 150590 w 249840"/>
                <a:gd name="connsiteY22" fmla="*/ 155257 h 366236"/>
                <a:gd name="connsiteX23" fmla="*/ 144018 w 249840"/>
                <a:gd name="connsiteY23" fmla="*/ 146590 h 366236"/>
                <a:gd name="connsiteX24" fmla="*/ 149923 w 249840"/>
                <a:gd name="connsiteY24" fmla="*/ 144304 h 366236"/>
                <a:gd name="connsiteX25" fmla="*/ 149257 w 249840"/>
                <a:gd name="connsiteY25" fmla="*/ 136017 h 366236"/>
                <a:gd name="connsiteX26" fmla="*/ 161163 w 249840"/>
                <a:gd name="connsiteY26" fmla="*/ 127159 h 366236"/>
                <a:gd name="connsiteX27" fmla="*/ 166116 w 249840"/>
                <a:gd name="connsiteY27" fmla="*/ 101060 h 366236"/>
                <a:gd name="connsiteX28" fmla="*/ 185166 w 249840"/>
                <a:gd name="connsiteY28" fmla="*/ 89440 h 366236"/>
                <a:gd name="connsiteX29" fmla="*/ 203454 w 249840"/>
                <a:gd name="connsiteY29" fmla="*/ 87630 h 366236"/>
                <a:gd name="connsiteX30" fmla="*/ 208979 w 249840"/>
                <a:gd name="connsiteY30" fmla="*/ 82105 h 366236"/>
                <a:gd name="connsiteX31" fmla="*/ 224124 w 249840"/>
                <a:gd name="connsiteY31" fmla="*/ 86773 h 366236"/>
                <a:gd name="connsiteX32" fmla="*/ 225076 w 249840"/>
                <a:gd name="connsiteY32" fmla="*/ 81724 h 366236"/>
                <a:gd name="connsiteX33" fmla="*/ 217646 w 249840"/>
                <a:gd name="connsiteY33" fmla="*/ 72962 h 366236"/>
                <a:gd name="connsiteX34" fmla="*/ 213360 w 249840"/>
                <a:gd name="connsiteY34" fmla="*/ 75343 h 366236"/>
                <a:gd name="connsiteX35" fmla="*/ 208883 w 249840"/>
                <a:gd name="connsiteY35" fmla="*/ 72676 h 366236"/>
                <a:gd name="connsiteX36" fmla="*/ 221647 w 249840"/>
                <a:gd name="connsiteY36" fmla="*/ 51530 h 366236"/>
                <a:gd name="connsiteX37" fmla="*/ 209836 w 249840"/>
                <a:gd name="connsiteY37" fmla="*/ 46958 h 366236"/>
                <a:gd name="connsiteX38" fmla="*/ 203073 w 249840"/>
                <a:gd name="connsiteY38" fmla="*/ 41243 h 366236"/>
                <a:gd name="connsiteX39" fmla="*/ 195549 w 249840"/>
                <a:gd name="connsiteY39" fmla="*/ 45244 h 366236"/>
                <a:gd name="connsiteX40" fmla="*/ 188595 w 249840"/>
                <a:gd name="connsiteY40" fmla="*/ 41624 h 366236"/>
                <a:gd name="connsiteX41" fmla="*/ 179737 w 249840"/>
                <a:gd name="connsiteY41" fmla="*/ 47054 h 366236"/>
                <a:gd name="connsiteX42" fmla="*/ 172402 w 249840"/>
                <a:gd name="connsiteY42" fmla="*/ 44196 h 366236"/>
                <a:gd name="connsiteX43" fmla="*/ 167259 w 249840"/>
                <a:gd name="connsiteY43" fmla="*/ 46863 h 366236"/>
                <a:gd name="connsiteX44" fmla="*/ 160211 w 249840"/>
                <a:gd name="connsiteY44" fmla="*/ 44768 h 366236"/>
                <a:gd name="connsiteX45" fmla="*/ 161830 w 249840"/>
                <a:gd name="connsiteY45" fmla="*/ 38862 h 366236"/>
                <a:gd name="connsiteX46" fmla="*/ 159163 w 249840"/>
                <a:gd name="connsiteY46" fmla="*/ 33719 h 366236"/>
                <a:gd name="connsiteX47" fmla="*/ 153543 w 249840"/>
                <a:gd name="connsiteY47" fmla="*/ 32671 h 366236"/>
                <a:gd name="connsiteX48" fmla="*/ 151829 w 249840"/>
                <a:gd name="connsiteY48" fmla="*/ 22765 h 366236"/>
                <a:gd name="connsiteX49" fmla="*/ 146971 w 249840"/>
                <a:gd name="connsiteY49" fmla="*/ 23146 h 366236"/>
                <a:gd name="connsiteX50" fmla="*/ 138684 w 249840"/>
                <a:gd name="connsiteY50" fmla="*/ 18479 h 366236"/>
                <a:gd name="connsiteX51" fmla="*/ 137636 w 249840"/>
                <a:gd name="connsiteY51" fmla="*/ 10763 h 366236"/>
                <a:gd name="connsiteX52" fmla="*/ 134017 w 249840"/>
                <a:gd name="connsiteY52" fmla="*/ 5620 h 366236"/>
                <a:gd name="connsiteX53" fmla="*/ 128778 w 249840"/>
                <a:gd name="connsiteY53" fmla="*/ 5620 h 366236"/>
                <a:gd name="connsiteX54" fmla="*/ 120205 w 249840"/>
                <a:gd name="connsiteY54" fmla="*/ 0 h 366236"/>
                <a:gd name="connsiteX55" fmla="*/ 112681 w 249840"/>
                <a:gd name="connsiteY55" fmla="*/ 1429 h 366236"/>
                <a:gd name="connsiteX56" fmla="*/ 112681 w 249840"/>
                <a:gd name="connsiteY56" fmla="*/ 5905 h 366236"/>
                <a:gd name="connsiteX57" fmla="*/ 118586 w 249840"/>
                <a:gd name="connsiteY57" fmla="*/ 10287 h 366236"/>
                <a:gd name="connsiteX58" fmla="*/ 120205 w 249840"/>
                <a:gd name="connsiteY58" fmla="*/ 18860 h 366236"/>
                <a:gd name="connsiteX59" fmla="*/ 114967 w 249840"/>
                <a:gd name="connsiteY59" fmla="*/ 17716 h 366236"/>
                <a:gd name="connsiteX60" fmla="*/ 112395 w 249840"/>
                <a:gd name="connsiteY60" fmla="*/ 30671 h 366236"/>
                <a:gd name="connsiteX61" fmla="*/ 90392 w 249840"/>
                <a:gd name="connsiteY61" fmla="*/ 50578 h 366236"/>
                <a:gd name="connsiteX62" fmla="*/ 67056 w 249840"/>
                <a:gd name="connsiteY62" fmla="*/ 59436 h 366236"/>
                <a:gd name="connsiteX63" fmla="*/ 58484 w 249840"/>
                <a:gd name="connsiteY63" fmla="*/ 67056 h 366236"/>
                <a:gd name="connsiteX64" fmla="*/ 51911 w 249840"/>
                <a:gd name="connsiteY64" fmla="*/ 82201 h 366236"/>
                <a:gd name="connsiteX65" fmla="*/ 53530 w 249840"/>
                <a:gd name="connsiteY65" fmla="*/ 89059 h 366236"/>
                <a:gd name="connsiteX66" fmla="*/ 47911 w 249840"/>
                <a:gd name="connsiteY66" fmla="*/ 91821 h 366236"/>
                <a:gd name="connsiteX67" fmla="*/ 45339 w 249840"/>
                <a:gd name="connsiteY67" fmla="*/ 98393 h 366236"/>
                <a:gd name="connsiteX68" fmla="*/ 37529 w 249840"/>
                <a:gd name="connsiteY68" fmla="*/ 95060 h 366236"/>
                <a:gd name="connsiteX69" fmla="*/ 33909 w 249840"/>
                <a:gd name="connsiteY69" fmla="*/ 88202 h 366236"/>
                <a:gd name="connsiteX70" fmla="*/ 22860 w 249840"/>
                <a:gd name="connsiteY70" fmla="*/ 84201 h 366236"/>
                <a:gd name="connsiteX71" fmla="*/ 16193 w 249840"/>
                <a:gd name="connsiteY71" fmla="*/ 89059 h 366236"/>
                <a:gd name="connsiteX72" fmla="*/ 16193 w 249840"/>
                <a:gd name="connsiteY72" fmla="*/ 78581 h 366236"/>
                <a:gd name="connsiteX73" fmla="*/ 22384 w 249840"/>
                <a:gd name="connsiteY73" fmla="*/ 75914 h 366236"/>
                <a:gd name="connsiteX74" fmla="*/ 20479 w 249840"/>
                <a:gd name="connsiteY74" fmla="*/ 67056 h 366236"/>
                <a:gd name="connsiteX75" fmla="*/ 18669 w 249840"/>
                <a:gd name="connsiteY75" fmla="*/ 66199 h 366236"/>
                <a:gd name="connsiteX76" fmla="*/ 0 w 249840"/>
                <a:gd name="connsiteY76" fmla="*/ 84582 h 366236"/>
                <a:gd name="connsiteX77" fmla="*/ 1714 w 249840"/>
                <a:gd name="connsiteY77" fmla="*/ 102394 h 366236"/>
                <a:gd name="connsiteX78" fmla="*/ 10763 w 249840"/>
                <a:gd name="connsiteY78" fmla="*/ 108776 h 366236"/>
                <a:gd name="connsiteX79" fmla="*/ 2000 w 249840"/>
                <a:gd name="connsiteY79" fmla="*/ 118205 h 366236"/>
                <a:gd name="connsiteX80" fmla="*/ 25813 w 249840"/>
                <a:gd name="connsiteY80" fmla="*/ 133445 h 366236"/>
                <a:gd name="connsiteX81" fmla="*/ 49911 w 249840"/>
                <a:gd name="connsiteY81" fmla="*/ 169450 h 366236"/>
                <a:gd name="connsiteX82" fmla="*/ 66961 w 249840"/>
                <a:gd name="connsiteY82" fmla="*/ 222123 h 366236"/>
                <a:gd name="connsiteX83" fmla="*/ 100489 w 249840"/>
                <a:gd name="connsiteY83" fmla="*/ 261938 h 366236"/>
                <a:gd name="connsiteX84" fmla="*/ 99060 w 249840"/>
                <a:gd name="connsiteY84" fmla="*/ 281369 h 366236"/>
                <a:gd name="connsiteX85" fmla="*/ 120586 w 249840"/>
                <a:gd name="connsiteY85" fmla="*/ 305657 h 366236"/>
                <a:gd name="connsiteX86" fmla="*/ 176689 w 249840"/>
                <a:gd name="connsiteY86" fmla="*/ 333946 h 366236"/>
                <a:gd name="connsiteX87" fmla="*/ 215646 w 249840"/>
                <a:gd name="connsiteY87" fmla="*/ 366046 h 366236"/>
                <a:gd name="connsiteX88" fmla="*/ 215646 w 249840"/>
                <a:gd name="connsiteY88" fmla="*/ 366236 h 366236"/>
                <a:gd name="connsiteX89" fmla="*/ 224885 w 249840"/>
                <a:gd name="connsiteY89" fmla="*/ 364427 h 366236"/>
                <a:gd name="connsiteX90" fmla="*/ 228505 w 249840"/>
                <a:gd name="connsiteY90" fmla="*/ 358616 h 366236"/>
                <a:gd name="connsiteX91" fmla="*/ 226886 w 249840"/>
                <a:gd name="connsiteY91" fmla="*/ 351854 h 366236"/>
                <a:gd name="connsiteX92" fmla="*/ 234886 w 249840"/>
                <a:gd name="connsiteY92" fmla="*/ 347853 h 366236"/>
                <a:gd name="connsiteX93" fmla="*/ 229267 w 249840"/>
                <a:gd name="connsiteY93" fmla="*/ 342043 h 366236"/>
                <a:gd name="connsiteX94" fmla="*/ 238792 w 249840"/>
                <a:gd name="connsiteY94" fmla="*/ 332613 h 366236"/>
                <a:gd name="connsiteX95" fmla="*/ 243174 w 249840"/>
                <a:gd name="connsiteY95" fmla="*/ 331756 h 366236"/>
                <a:gd name="connsiteX96" fmla="*/ 247555 w 249840"/>
                <a:gd name="connsiteY96" fmla="*/ 325184 h 366236"/>
                <a:gd name="connsiteX97" fmla="*/ 244983 w 249840"/>
                <a:gd name="connsiteY97" fmla="*/ 321755 h 366236"/>
                <a:gd name="connsiteX98" fmla="*/ 239268 w 249840"/>
                <a:gd name="connsiteY98" fmla="*/ 321755 h 3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49840" h="366236">
                  <a:moveTo>
                    <a:pt x="239268" y="321755"/>
                  </a:moveTo>
                  <a:lnTo>
                    <a:pt x="234410" y="310705"/>
                  </a:lnTo>
                  <a:lnTo>
                    <a:pt x="241364" y="303086"/>
                  </a:lnTo>
                  <a:lnTo>
                    <a:pt x="235934" y="298037"/>
                  </a:lnTo>
                  <a:lnTo>
                    <a:pt x="235934" y="292989"/>
                  </a:lnTo>
                  <a:lnTo>
                    <a:pt x="246507" y="281654"/>
                  </a:lnTo>
                  <a:lnTo>
                    <a:pt x="240887" y="271939"/>
                  </a:lnTo>
                  <a:lnTo>
                    <a:pt x="243174" y="267462"/>
                  </a:lnTo>
                  <a:lnTo>
                    <a:pt x="243174" y="255556"/>
                  </a:lnTo>
                  <a:lnTo>
                    <a:pt x="249841" y="248793"/>
                  </a:lnTo>
                  <a:lnTo>
                    <a:pt x="232124" y="216027"/>
                  </a:lnTo>
                  <a:lnTo>
                    <a:pt x="232029" y="215837"/>
                  </a:lnTo>
                  <a:lnTo>
                    <a:pt x="224885" y="214598"/>
                  </a:lnTo>
                  <a:lnTo>
                    <a:pt x="218313" y="218599"/>
                  </a:lnTo>
                  <a:lnTo>
                    <a:pt x="211074" y="214217"/>
                  </a:lnTo>
                  <a:lnTo>
                    <a:pt x="212027" y="186214"/>
                  </a:lnTo>
                  <a:lnTo>
                    <a:pt x="196596" y="197453"/>
                  </a:lnTo>
                  <a:lnTo>
                    <a:pt x="181546" y="197453"/>
                  </a:lnTo>
                  <a:lnTo>
                    <a:pt x="175355" y="187262"/>
                  </a:lnTo>
                  <a:lnTo>
                    <a:pt x="160211" y="185547"/>
                  </a:lnTo>
                  <a:lnTo>
                    <a:pt x="164782" y="177355"/>
                  </a:lnTo>
                  <a:lnTo>
                    <a:pt x="150590" y="163259"/>
                  </a:lnTo>
                  <a:lnTo>
                    <a:pt x="150590" y="155257"/>
                  </a:lnTo>
                  <a:lnTo>
                    <a:pt x="144018" y="146590"/>
                  </a:lnTo>
                  <a:lnTo>
                    <a:pt x="149923" y="144304"/>
                  </a:lnTo>
                  <a:lnTo>
                    <a:pt x="149257" y="136017"/>
                  </a:lnTo>
                  <a:lnTo>
                    <a:pt x="161163" y="127159"/>
                  </a:lnTo>
                  <a:lnTo>
                    <a:pt x="166116" y="101060"/>
                  </a:lnTo>
                  <a:lnTo>
                    <a:pt x="185166" y="89440"/>
                  </a:lnTo>
                  <a:lnTo>
                    <a:pt x="203454" y="87630"/>
                  </a:lnTo>
                  <a:lnTo>
                    <a:pt x="208979" y="82105"/>
                  </a:lnTo>
                  <a:lnTo>
                    <a:pt x="224124" y="86773"/>
                  </a:lnTo>
                  <a:lnTo>
                    <a:pt x="225076" y="81724"/>
                  </a:lnTo>
                  <a:lnTo>
                    <a:pt x="217646" y="72962"/>
                  </a:lnTo>
                  <a:lnTo>
                    <a:pt x="213360" y="75343"/>
                  </a:lnTo>
                  <a:lnTo>
                    <a:pt x="208883" y="72676"/>
                  </a:lnTo>
                  <a:lnTo>
                    <a:pt x="221647" y="51530"/>
                  </a:lnTo>
                  <a:lnTo>
                    <a:pt x="209836" y="46958"/>
                  </a:lnTo>
                  <a:lnTo>
                    <a:pt x="203073" y="41243"/>
                  </a:lnTo>
                  <a:lnTo>
                    <a:pt x="195549" y="45244"/>
                  </a:lnTo>
                  <a:lnTo>
                    <a:pt x="188595" y="41624"/>
                  </a:lnTo>
                  <a:lnTo>
                    <a:pt x="179737" y="47054"/>
                  </a:lnTo>
                  <a:lnTo>
                    <a:pt x="172402" y="44196"/>
                  </a:lnTo>
                  <a:lnTo>
                    <a:pt x="167259" y="46863"/>
                  </a:lnTo>
                  <a:lnTo>
                    <a:pt x="160211" y="44768"/>
                  </a:lnTo>
                  <a:lnTo>
                    <a:pt x="161830" y="38862"/>
                  </a:lnTo>
                  <a:lnTo>
                    <a:pt x="159163" y="33719"/>
                  </a:lnTo>
                  <a:lnTo>
                    <a:pt x="153543" y="32671"/>
                  </a:lnTo>
                  <a:lnTo>
                    <a:pt x="151829" y="22765"/>
                  </a:lnTo>
                  <a:lnTo>
                    <a:pt x="146971" y="23146"/>
                  </a:lnTo>
                  <a:lnTo>
                    <a:pt x="138684" y="18479"/>
                  </a:lnTo>
                  <a:lnTo>
                    <a:pt x="137636" y="10763"/>
                  </a:lnTo>
                  <a:lnTo>
                    <a:pt x="134017" y="5620"/>
                  </a:lnTo>
                  <a:lnTo>
                    <a:pt x="128778" y="5620"/>
                  </a:lnTo>
                  <a:lnTo>
                    <a:pt x="120205" y="0"/>
                  </a:lnTo>
                  <a:lnTo>
                    <a:pt x="112681" y="1429"/>
                  </a:lnTo>
                  <a:lnTo>
                    <a:pt x="112681" y="5905"/>
                  </a:lnTo>
                  <a:lnTo>
                    <a:pt x="118586" y="10287"/>
                  </a:lnTo>
                  <a:lnTo>
                    <a:pt x="120205" y="18860"/>
                  </a:lnTo>
                  <a:lnTo>
                    <a:pt x="114967" y="17716"/>
                  </a:lnTo>
                  <a:lnTo>
                    <a:pt x="112395" y="30671"/>
                  </a:lnTo>
                  <a:lnTo>
                    <a:pt x="90392" y="50578"/>
                  </a:lnTo>
                  <a:lnTo>
                    <a:pt x="67056" y="59436"/>
                  </a:lnTo>
                  <a:lnTo>
                    <a:pt x="58484" y="67056"/>
                  </a:lnTo>
                  <a:lnTo>
                    <a:pt x="51911" y="82201"/>
                  </a:lnTo>
                  <a:lnTo>
                    <a:pt x="53530" y="89059"/>
                  </a:lnTo>
                  <a:lnTo>
                    <a:pt x="47911" y="91821"/>
                  </a:lnTo>
                  <a:lnTo>
                    <a:pt x="45339" y="98393"/>
                  </a:lnTo>
                  <a:lnTo>
                    <a:pt x="37529" y="95060"/>
                  </a:lnTo>
                  <a:lnTo>
                    <a:pt x="33909" y="88202"/>
                  </a:lnTo>
                  <a:lnTo>
                    <a:pt x="22860" y="84201"/>
                  </a:lnTo>
                  <a:lnTo>
                    <a:pt x="16193" y="89059"/>
                  </a:lnTo>
                  <a:lnTo>
                    <a:pt x="16193" y="78581"/>
                  </a:lnTo>
                  <a:lnTo>
                    <a:pt x="22384" y="75914"/>
                  </a:lnTo>
                  <a:lnTo>
                    <a:pt x="20479" y="67056"/>
                  </a:lnTo>
                  <a:lnTo>
                    <a:pt x="18669" y="66199"/>
                  </a:lnTo>
                  <a:lnTo>
                    <a:pt x="0" y="84582"/>
                  </a:lnTo>
                  <a:lnTo>
                    <a:pt x="1714" y="102394"/>
                  </a:lnTo>
                  <a:lnTo>
                    <a:pt x="10763" y="108776"/>
                  </a:lnTo>
                  <a:lnTo>
                    <a:pt x="2000" y="118205"/>
                  </a:lnTo>
                  <a:lnTo>
                    <a:pt x="25813" y="133445"/>
                  </a:lnTo>
                  <a:lnTo>
                    <a:pt x="49911" y="169450"/>
                  </a:lnTo>
                  <a:lnTo>
                    <a:pt x="66961" y="222123"/>
                  </a:lnTo>
                  <a:lnTo>
                    <a:pt x="100489" y="261938"/>
                  </a:lnTo>
                  <a:lnTo>
                    <a:pt x="99060" y="281369"/>
                  </a:lnTo>
                  <a:lnTo>
                    <a:pt x="120586" y="305657"/>
                  </a:lnTo>
                  <a:lnTo>
                    <a:pt x="176689" y="333946"/>
                  </a:lnTo>
                  <a:lnTo>
                    <a:pt x="215646" y="366046"/>
                  </a:lnTo>
                  <a:lnTo>
                    <a:pt x="215646" y="366236"/>
                  </a:lnTo>
                  <a:lnTo>
                    <a:pt x="224885" y="364427"/>
                  </a:lnTo>
                  <a:lnTo>
                    <a:pt x="228505" y="358616"/>
                  </a:lnTo>
                  <a:lnTo>
                    <a:pt x="226886" y="351854"/>
                  </a:lnTo>
                  <a:lnTo>
                    <a:pt x="234886" y="347853"/>
                  </a:lnTo>
                  <a:lnTo>
                    <a:pt x="229267" y="342043"/>
                  </a:lnTo>
                  <a:lnTo>
                    <a:pt x="238792" y="332613"/>
                  </a:lnTo>
                  <a:lnTo>
                    <a:pt x="243174" y="331756"/>
                  </a:lnTo>
                  <a:lnTo>
                    <a:pt x="247555" y="325184"/>
                  </a:lnTo>
                  <a:lnTo>
                    <a:pt x="244983" y="321755"/>
                  </a:lnTo>
                  <a:lnTo>
                    <a:pt x="239268" y="32175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1" name="Freeform: Shape 2871">
              <a:extLst>
                <a:ext uri="{FF2B5EF4-FFF2-40B4-BE49-F238E27FC236}">
                  <a16:creationId xmlns:a16="http://schemas.microsoft.com/office/drawing/2014/main" id="{AB80B976-AAF8-F404-6A3D-B3315BC15714}"/>
                </a:ext>
              </a:extLst>
            </p:cNvPr>
            <p:cNvSpPr/>
            <p:nvPr/>
          </p:nvSpPr>
          <p:spPr>
            <a:xfrm>
              <a:off x="7644383" y="4995227"/>
              <a:ext cx="166496" cy="174878"/>
            </a:xfrm>
            <a:custGeom>
              <a:avLst/>
              <a:gdLst>
                <a:gd name="connsiteX0" fmla="*/ 166497 w 166496"/>
                <a:gd name="connsiteY0" fmla="*/ 99822 h 174878"/>
                <a:gd name="connsiteX1" fmla="*/ 158972 w 166496"/>
                <a:gd name="connsiteY1" fmla="*/ 94583 h 174878"/>
                <a:gd name="connsiteX2" fmla="*/ 154972 w 166496"/>
                <a:gd name="connsiteY2" fmla="*/ 96869 h 174878"/>
                <a:gd name="connsiteX3" fmla="*/ 147733 w 166496"/>
                <a:gd name="connsiteY3" fmla="*/ 99155 h 174878"/>
                <a:gd name="connsiteX4" fmla="*/ 142780 w 166496"/>
                <a:gd name="connsiteY4" fmla="*/ 98107 h 174878"/>
                <a:gd name="connsiteX5" fmla="*/ 141732 w 166496"/>
                <a:gd name="connsiteY5" fmla="*/ 85820 h 174878"/>
                <a:gd name="connsiteX6" fmla="*/ 139446 w 166496"/>
                <a:gd name="connsiteY6" fmla="*/ 78200 h 174878"/>
                <a:gd name="connsiteX7" fmla="*/ 139446 w 166496"/>
                <a:gd name="connsiteY7" fmla="*/ 71818 h 174878"/>
                <a:gd name="connsiteX8" fmla="*/ 134493 w 166496"/>
                <a:gd name="connsiteY8" fmla="*/ 62674 h 174878"/>
                <a:gd name="connsiteX9" fmla="*/ 127921 w 166496"/>
                <a:gd name="connsiteY9" fmla="*/ 62674 h 174878"/>
                <a:gd name="connsiteX10" fmla="*/ 123540 w 166496"/>
                <a:gd name="connsiteY10" fmla="*/ 57150 h 174878"/>
                <a:gd name="connsiteX11" fmla="*/ 118682 w 166496"/>
                <a:gd name="connsiteY11" fmla="*/ 63055 h 174878"/>
                <a:gd name="connsiteX12" fmla="*/ 93250 w 166496"/>
                <a:gd name="connsiteY12" fmla="*/ 57817 h 174878"/>
                <a:gd name="connsiteX13" fmla="*/ 92107 w 166496"/>
                <a:gd name="connsiteY13" fmla="*/ 47815 h 174878"/>
                <a:gd name="connsiteX14" fmla="*/ 95821 w 166496"/>
                <a:gd name="connsiteY14" fmla="*/ 34671 h 174878"/>
                <a:gd name="connsiteX15" fmla="*/ 89916 w 166496"/>
                <a:gd name="connsiteY15" fmla="*/ 18859 h 174878"/>
                <a:gd name="connsiteX16" fmla="*/ 87154 w 166496"/>
                <a:gd name="connsiteY16" fmla="*/ 10287 h 174878"/>
                <a:gd name="connsiteX17" fmla="*/ 70390 w 166496"/>
                <a:gd name="connsiteY17" fmla="*/ 1048 h 174878"/>
                <a:gd name="connsiteX18" fmla="*/ 52578 w 166496"/>
                <a:gd name="connsiteY18" fmla="*/ 0 h 174878"/>
                <a:gd name="connsiteX19" fmla="*/ 17812 w 166496"/>
                <a:gd name="connsiteY19" fmla="*/ 6858 h 174878"/>
                <a:gd name="connsiteX20" fmla="*/ 14383 w 166496"/>
                <a:gd name="connsiteY20" fmla="*/ 16954 h 174878"/>
                <a:gd name="connsiteX21" fmla="*/ 7430 w 166496"/>
                <a:gd name="connsiteY21" fmla="*/ 25717 h 174878"/>
                <a:gd name="connsiteX22" fmla="*/ 7430 w 166496"/>
                <a:gd name="connsiteY22" fmla="*/ 37433 h 174878"/>
                <a:gd name="connsiteX23" fmla="*/ 0 w 166496"/>
                <a:gd name="connsiteY23" fmla="*/ 60960 h 174878"/>
                <a:gd name="connsiteX24" fmla="*/ 8763 w 166496"/>
                <a:gd name="connsiteY24" fmla="*/ 67056 h 174878"/>
                <a:gd name="connsiteX25" fmla="*/ 8763 w 166496"/>
                <a:gd name="connsiteY25" fmla="*/ 71152 h 174878"/>
                <a:gd name="connsiteX26" fmla="*/ 14668 w 166496"/>
                <a:gd name="connsiteY26" fmla="*/ 79057 h 174878"/>
                <a:gd name="connsiteX27" fmla="*/ 30385 w 166496"/>
                <a:gd name="connsiteY27" fmla="*/ 89440 h 174878"/>
                <a:gd name="connsiteX28" fmla="*/ 32766 w 166496"/>
                <a:gd name="connsiteY28" fmla="*/ 95536 h 174878"/>
                <a:gd name="connsiteX29" fmla="*/ 51816 w 166496"/>
                <a:gd name="connsiteY29" fmla="*/ 99346 h 174878"/>
                <a:gd name="connsiteX30" fmla="*/ 75819 w 166496"/>
                <a:gd name="connsiteY30" fmla="*/ 114681 h 174878"/>
                <a:gd name="connsiteX31" fmla="*/ 82010 w 166496"/>
                <a:gd name="connsiteY31" fmla="*/ 116300 h 174878"/>
                <a:gd name="connsiteX32" fmla="*/ 85058 w 166496"/>
                <a:gd name="connsiteY32" fmla="*/ 120967 h 174878"/>
                <a:gd name="connsiteX33" fmla="*/ 88964 w 166496"/>
                <a:gd name="connsiteY33" fmla="*/ 118491 h 174878"/>
                <a:gd name="connsiteX34" fmla="*/ 101822 w 166496"/>
                <a:gd name="connsiteY34" fmla="*/ 128873 h 174878"/>
                <a:gd name="connsiteX35" fmla="*/ 100299 w 166496"/>
                <a:gd name="connsiteY35" fmla="*/ 132493 h 174878"/>
                <a:gd name="connsiteX36" fmla="*/ 95155 w 166496"/>
                <a:gd name="connsiteY36" fmla="*/ 134112 h 174878"/>
                <a:gd name="connsiteX37" fmla="*/ 94869 w 166496"/>
                <a:gd name="connsiteY37" fmla="*/ 141256 h 174878"/>
                <a:gd name="connsiteX38" fmla="*/ 87630 w 166496"/>
                <a:gd name="connsiteY38" fmla="*/ 148114 h 174878"/>
                <a:gd name="connsiteX39" fmla="*/ 88964 w 166496"/>
                <a:gd name="connsiteY39" fmla="*/ 153829 h 174878"/>
                <a:gd name="connsiteX40" fmla="*/ 78867 w 166496"/>
                <a:gd name="connsiteY40" fmla="*/ 164211 h 174878"/>
                <a:gd name="connsiteX41" fmla="*/ 80677 w 166496"/>
                <a:gd name="connsiteY41" fmla="*/ 168878 h 174878"/>
                <a:gd name="connsiteX42" fmla="*/ 97441 w 166496"/>
                <a:gd name="connsiteY42" fmla="*/ 167545 h 174878"/>
                <a:gd name="connsiteX43" fmla="*/ 109633 w 166496"/>
                <a:gd name="connsiteY43" fmla="*/ 171926 h 174878"/>
                <a:gd name="connsiteX44" fmla="*/ 115062 w 166496"/>
                <a:gd name="connsiteY44" fmla="*/ 169450 h 174878"/>
                <a:gd name="connsiteX45" fmla="*/ 118110 w 166496"/>
                <a:gd name="connsiteY45" fmla="*/ 172974 h 174878"/>
                <a:gd name="connsiteX46" fmla="*/ 121253 w 166496"/>
                <a:gd name="connsiteY46" fmla="*/ 170307 h 174878"/>
                <a:gd name="connsiteX47" fmla="*/ 125825 w 166496"/>
                <a:gd name="connsiteY47" fmla="*/ 174879 h 174878"/>
                <a:gd name="connsiteX48" fmla="*/ 128683 w 166496"/>
                <a:gd name="connsiteY48" fmla="*/ 168021 h 174878"/>
                <a:gd name="connsiteX49" fmla="*/ 133826 w 166496"/>
                <a:gd name="connsiteY49" fmla="*/ 168307 h 174878"/>
                <a:gd name="connsiteX50" fmla="*/ 136398 w 166496"/>
                <a:gd name="connsiteY50" fmla="*/ 171926 h 174878"/>
                <a:gd name="connsiteX51" fmla="*/ 140780 w 166496"/>
                <a:gd name="connsiteY51" fmla="*/ 169164 h 174878"/>
                <a:gd name="connsiteX52" fmla="*/ 142113 w 166496"/>
                <a:gd name="connsiteY52" fmla="*/ 162306 h 174878"/>
                <a:gd name="connsiteX53" fmla="*/ 148590 w 166496"/>
                <a:gd name="connsiteY53" fmla="*/ 160972 h 174878"/>
                <a:gd name="connsiteX54" fmla="*/ 152209 w 166496"/>
                <a:gd name="connsiteY54" fmla="*/ 154114 h 174878"/>
                <a:gd name="connsiteX55" fmla="*/ 156591 w 166496"/>
                <a:gd name="connsiteY55" fmla="*/ 154686 h 174878"/>
                <a:gd name="connsiteX56" fmla="*/ 159353 w 166496"/>
                <a:gd name="connsiteY56" fmla="*/ 146113 h 174878"/>
                <a:gd name="connsiteX57" fmla="*/ 157639 w 166496"/>
                <a:gd name="connsiteY57" fmla="*/ 140398 h 174878"/>
                <a:gd name="connsiteX58" fmla="*/ 160306 w 166496"/>
                <a:gd name="connsiteY58" fmla="*/ 131826 h 174878"/>
                <a:gd name="connsiteX59" fmla="*/ 158591 w 166496"/>
                <a:gd name="connsiteY59" fmla="*/ 130302 h 174878"/>
                <a:gd name="connsiteX60" fmla="*/ 163259 w 166496"/>
                <a:gd name="connsiteY60" fmla="*/ 121825 h 174878"/>
                <a:gd name="connsiteX61" fmla="*/ 166211 w 166496"/>
                <a:gd name="connsiteY61" fmla="*/ 107537 h 174878"/>
                <a:gd name="connsiteX62" fmla="*/ 164306 w 166496"/>
                <a:gd name="connsiteY62" fmla="*/ 104299 h 174878"/>
                <a:gd name="connsiteX63" fmla="*/ 166497 w 166496"/>
                <a:gd name="connsiteY63" fmla="*/ 99822 h 17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66496" h="174878">
                  <a:moveTo>
                    <a:pt x="166497" y="99822"/>
                  </a:moveTo>
                  <a:lnTo>
                    <a:pt x="158972" y="94583"/>
                  </a:lnTo>
                  <a:lnTo>
                    <a:pt x="154972" y="96869"/>
                  </a:lnTo>
                  <a:lnTo>
                    <a:pt x="147733" y="99155"/>
                  </a:lnTo>
                  <a:lnTo>
                    <a:pt x="142780" y="98107"/>
                  </a:lnTo>
                  <a:lnTo>
                    <a:pt x="141732" y="85820"/>
                  </a:lnTo>
                  <a:lnTo>
                    <a:pt x="139446" y="78200"/>
                  </a:lnTo>
                  <a:lnTo>
                    <a:pt x="139446" y="71818"/>
                  </a:lnTo>
                  <a:lnTo>
                    <a:pt x="134493" y="62674"/>
                  </a:lnTo>
                  <a:lnTo>
                    <a:pt x="127921" y="62674"/>
                  </a:lnTo>
                  <a:lnTo>
                    <a:pt x="123540" y="57150"/>
                  </a:lnTo>
                  <a:lnTo>
                    <a:pt x="118682" y="63055"/>
                  </a:lnTo>
                  <a:lnTo>
                    <a:pt x="93250" y="57817"/>
                  </a:lnTo>
                  <a:lnTo>
                    <a:pt x="92107" y="47815"/>
                  </a:lnTo>
                  <a:lnTo>
                    <a:pt x="95821" y="34671"/>
                  </a:lnTo>
                  <a:lnTo>
                    <a:pt x="89916" y="18859"/>
                  </a:lnTo>
                  <a:lnTo>
                    <a:pt x="87154" y="10287"/>
                  </a:lnTo>
                  <a:lnTo>
                    <a:pt x="70390" y="1048"/>
                  </a:lnTo>
                  <a:lnTo>
                    <a:pt x="52578" y="0"/>
                  </a:lnTo>
                  <a:lnTo>
                    <a:pt x="17812" y="6858"/>
                  </a:lnTo>
                  <a:lnTo>
                    <a:pt x="14383" y="16954"/>
                  </a:lnTo>
                  <a:lnTo>
                    <a:pt x="7430" y="25717"/>
                  </a:lnTo>
                  <a:lnTo>
                    <a:pt x="7430" y="37433"/>
                  </a:lnTo>
                  <a:lnTo>
                    <a:pt x="0" y="60960"/>
                  </a:lnTo>
                  <a:lnTo>
                    <a:pt x="8763" y="67056"/>
                  </a:lnTo>
                  <a:lnTo>
                    <a:pt x="8763" y="71152"/>
                  </a:lnTo>
                  <a:lnTo>
                    <a:pt x="14668" y="79057"/>
                  </a:lnTo>
                  <a:lnTo>
                    <a:pt x="30385" y="89440"/>
                  </a:lnTo>
                  <a:lnTo>
                    <a:pt x="32766" y="95536"/>
                  </a:lnTo>
                  <a:lnTo>
                    <a:pt x="51816" y="99346"/>
                  </a:lnTo>
                  <a:lnTo>
                    <a:pt x="75819" y="114681"/>
                  </a:lnTo>
                  <a:lnTo>
                    <a:pt x="82010" y="116300"/>
                  </a:lnTo>
                  <a:lnTo>
                    <a:pt x="85058" y="120967"/>
                  </a:lnTo>
                  <a:lnTo>
                    <a:pt x="88964" y="118491"/>
                  </a:lnTo>
                  <a:lnTo>
                    <a:pt x="101822" y="128873"/>
                  </a:lnTo>
                  <a:lnTo>
                    <a:pt x="100299" y="132493"/>
                  </a:lnTo>
                  <a:lnTo>
                    <a:pt x="95155" y="134112"/>
                  </a:lnTo>
                  <a:lnTo>
                    <a:pt x="94869" y="141256"/>
                  </a:lnTo>
                  <a:lnTo>
                    <a:pt x="87630" y="148114"/>
                  </a:lnTo>
                  <a:lnTo>
                    <a:pt x="88964" y="153829"/>
                  </a:lnTo>
                  <a:lnTo>
                    <a:pt x="78867" y="164211"/>
                  </a:lnTo>
                  <a:lnTo>
                    <a:pt x="80677" y="168878"/>
                  </a:lnTo>
                  <a:lnTo>
                    <a:pt x="97441" y="167545"/>
                  </a:lnTo>
                  <a:lnTo>
                    <a:pt x="109633" y="171926"/>
                  </a:lnTo>
                  <a:lnTo>
                    <a:pt x="115062" y="169450"/>
                  </a:lnTo>
                  <a:lnTo>
                    <a:pt x="118110" y="172974"/>
                  </a:lnTo>
                  <a:lnTo>
                    <a:pt x="121253" y="170307"/>
                  </a:lnTo>
                  <a:lnTo>
                    <a:pt x="125825" y="174879"/>
                  </a:lnTo>
                  <a:lnTo>
                    <a:pt x="128683" y="168021"/>
                  </a:lnTo>
                  <a:lnTo>
                    <a:pt x="133826" y="168307"/>
                  </a:lnTo>
                  <a:lnTo>
                    <a:pt x="136398" y="171926"/>
                  </a:lnTo>
                  <a:lnTo>
                    <a:pt x="140780" y="169164"/>
                  </a:lnTo>
                  <a:lnTo>
                    <a:pt x="142113" y="162306"/>
                  </a:lnTo>
                  <a:lnTo>
                    <a:pt x="148590" y="160972"/>
                  </a:lnTo>
                  <a:lnTo>
                    <a:pt x="152209" y="154114"/>
                  </a:lnTo>
                  <a:lnTo>
                    <a:pt x="156591" y="154686"/>
                  </a:lnTo>
                  <a:lnTo>
                    <a:pt x="159353" y="146113"/>
                  </a:lnTo>
                  <a:lnTo>
                    <a:pt x="157639" y="140398"/>
                  </a:lnTo>
                  <a:lnTo>
                    <a:pt x="160306" y="131826"/>
                  </a:lnTo>
                  <a:lnTo>
                    <a:pt x="158591" y="130302"/>
                  </a:lnTo>
                  <a:lnTo>
                    <a:pt x="163259" y="121825"/>
                  </a:lnTo>
                  <a:lnTo>
                    <a:pt x="166211" y="107537"/>
                  </a:lnTo>
                  <a:lnTo>
                    <a:pt x="164306" y="104299"/>
                  </a:lnTo>
                  <a:lnTo>
                    <a:pt x="166497" y="9982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2" name="Freeform: Shape 2872">
              <a:extLst>
                <a:ext uri="{FF2B5EF4-FFF2-40B4-BE49-F238E27FC236}">
                  <a16:creationId xmlns:a16="http://schemas.microsoft.com/office/drawing/2014/main" id="{AC770D2E-990E-DCEF-DA80-0A19B15E5D5F}"/>
                </a:ext>
              </a:extLst>
            </p:cNvPr>
            <p:cNvSpPr/>
            <p:nvPr/>
          </p:nvSpPr>
          <p:spPr>
            <a:xfrm>
              <a:off x="7668863" y="4440491"/>
              <a:ext cx="98202" cy="145923"/>
            </a:xfrm>
            <a:custGeom>
              <a:avLst/>
              <a:gdLst>
                <a:gd name="connsiteX0" fmla="*/ 27337 w 98202"/>
                <a:gd name="connsiteY0" fmla="*/ 10001 h 145923"/>
                <a:gd name="connsiteX1" fmla="*/ 16954 w 98202"/>
                <a:gd name="connsiteY1" fmla="*/ 14383 h 145923"/>
                <a:gd name="connsiteX2" fmla="*/ 14383 w 98202"/>
                <a:gd name="connsiteY2" fmla="*/ 25241 h 145923"/>
                <a:gd name="connsiteX3" fmla="*/ 21145 w 98202"/>
                <a:gd name="connsiteY3" fmla="*/ 26479 h 145923"/>
                <a:gd name="connsiteX4" fmla="*/ 21907 w 98202"/>
                <a:gd name="connsiteY4" fmla="*/ 31623 h 145923"/>
                <a:gd name="connsiteX5" fmla="*/ 5143 w 98202"/>
                <a:gd name="connsiteY5" fmla="*/ 36004 h 145923"/>
                <a:gd name="connsiteX6" fmla="*/ 5905 w 98202"/>
                <a:gd name="connsiteY6" fmla="*/ 46387 h 145923"/>
                <a:gd name="connsiteX7" fmla="*/ 0 w 98202"/>
                <a:gd name="connsiteY7" fmla="*/ 51245 h 145923"/>
                <a:gd name="connsiteX8" fmla="*/ 12668 w 98202"/>
                <a:gd name="connsiteY8" fmla="*/ 66199 h 145923"/>
                <a:gd name="connsiteX9" fmla="*/ 12668 w 98202"/>
                <a:gd name="connsiteY9" fmla="*/ 66199 h 145923"/>
                <a:gd name="connsiteX10" fmla="*/ 23622 w 98202"/>
                <a:gd name="connsiteY10" fmla="*/ 64675 h 145923"/>
                <a:gd name="connsiteX11" fmla="*/ 28289 w 98202"/>
                <a:gd name="connsiteY11" fmla="*/ 68294 h 145923"/>
                <a:gd name="connsiteX12" fmla="*/ 24669 w 98202"/>
                <a:gd name="connsiteY12" fmla="*/ 79629 h 145923"/>
                <a:gd name="connsiteX13" fmla="*/ 33433 w 98202"/>
                <a:gd name="connsiteY13" fmla="*/ 81915 h 145923"/>
                <a:gd name="connsiteX14" fmla="*/ 37052 w 98202"/>
                <a:gd name="connsiteY14" fmla="*/ 91440 h 145923"/>
                <a:gd name="connsiteX15" fmla="*/ 30575 w 98202"/>
                <a:gd name="connsiteY15" fmla="*/ 98203 h 145923"/>
                <a:gd name="connsiteX16" fmla="*/ 31337 w 98202"/>
                <a:gd name="connsiteY16" fmla="*/ 102584 h 145923"/>
                <a:gd name="connsiteX17" fmla="*/ 27717 w 98202"/>
                <a:gd name="connsiteY17" fmla="*/ 114681 h 145923"/>
                <a:gd name="connsiteX18" fmla="*/ 33147 w 98202"/>
                <a:gd name="connsiteY18" fmla="*/ 124206 h 145923"/>
                <a:gd name="connsiteX19" fmla="*/ 33147 w 98202"/>
                <a:gd name="connsiteY19" fmla="*/ 133731 h 145923"/>
                <a:gd name="connsiteX20" fmla="*/ 38291 w 98202"/>
                <a:gd name="connsiteY20" fmla="*/ 135541 h 145923"/>
                <a:gd name="connsiteX21" fmla="*/ 42958 w 98202"/>
                <a:gd name="connsiteY21" fmla="*/ 142304 h 145923"/>
                <a:gd name="connsiteX22" fmla="*/ 51435 w 98202"/>
                <a:gd name="connsiteY22" fmla="*/ 145923 h 145923"/>
                <a:gd name="connsiteX23" fmla="*/ 57626 w 98202"/>
                <a:gd name="connsiteY23" fmla="*/ 144113 h 145923"/>
                <a:gd name="connsiteX24" fmla="*/ 56864 w 98202"/>
                <a:gd name="connsiteY24" fmla="*/ 139732 h 145923"/>
                <a:gd name="connsiteX25" fmla="*/ 60007 w 98202"/>
                <a:gd name="connsiteY25" fmla="*/ 136303 h 145923"/>
                <a:gd name="connsiteX26" fmla="*/ 67246 w 98202"/>
                <a:gd name="connsiteY26" fmla="*/ 139922 h 145923"/>
                <a:gd name="connsiteX27" fmla="*/ 71628 w 98202"/>
                <a:gd name="connsiteY27" fmla="*/ 134779 h 145923"/>
                <a:gd name="connsiteX28" fmla="*/ 77248 w 98202"/>
                <a:gd name="connsiteY28" fmla="*/ 136112 h 145923"/>
                <a:gd name="connsiteX29" fmla="*/ 80391 w 98202"/>
                <a:gd name="connsiteY29" fmla="*/ 130397 h 145923"/>
                <a:gd name="connsiteX30" fmla="*/ 85249 w 98202"/>
                <a:gd name="connsiteY30" fmla="*/ 129159 h 145923"/>
                <a:gd name="connsiteX31" fmla="*/ 88106 w 98202"/>
                <a:gd name="connsiteY31" fmla="*/ 132493 h 145923"/>
                <a:gd name="connsiteX32" fmla="*/ 98203 w 98202"/>
                <a:gd name="connsiteY32" fmla="*/ 131350 h 145923"/>
                <a:gd name="connsiteX33" fmla="*/ 98203 w 98202"/>
                <a:gd name="connsiteY33" fmla="*/ 131350 h 145923"/>
                <a:gd name="connsiteX34" fmla="*/ 95535 w 98202"/>
                <a:gd name="connsiteY34" fmla="*/ 126492 h 145923"/>
                <a:gd name="connsiteX35" fmla="*/ 89916 w 98202"/>
                <a:gd name="connsiteY35" fmla="*/ 124396 h 145923"/>
                <a:gd name="connsiteX36" fmla="*/ 84201 w 98202"/>
                <a:gd name="connsiteY36" fmla="*/ 114395 h 145923"/>
                <a:gd name="connsiteX37" fmla="*/ 81439 w 98202"/>
                <a:gd name="connsiteY37" fmla="*/ 102489 h 145923"/>
                <a:gd name="connsiteX38" fmla="*/ 76009 w 98202"/>
                <a:gd name="connsiteY38" fmla="*/ 103537 h 145923"/>
                <a:gd name="connsiteX39" fmla="*/ 73628 w 98202"/>
                <a:gd name="connsiteY39" fmla="*/ 97631 h 145923"/>
                <a:gd name="connsiteX40" fmla="*/ 69818 w 98202"/>
                <a:gd name="connsiteY40" fmla="*/ 96298 h 145923"/>
                <a:gd name="connsiteX41" fmla="*/ 66199 w 98202"/>
                <a:gd name="connsiteY41" fmla="*/ 86773 h 145923"/>
                <a:gd name="connsiteX42" fmla="*/ 70771 w 98202"/>
                <a:gd name="connsiteY42" fmla="*/ 77724 h 145923"/>
                <a:gd name="connsiteX43" fmla="*/ 67723 w 98202"/>
                <a:gd name="connsiteY43" fmla="*/ 73914 h 145923"/>
                <a:gd name="connsiteX44" fmla="*/ 72866 w 98202"/>
                <a:gd name="connsiteY44" fmla="*/ 70009 h 145923"/>
                <a:gd name="connsiteX45" fmla="*/ 82391 w 98202"/>
                <a:gd name="connsiteY45" fmla="*/ 69437 h 145923"/>
                <a:gd name="connsiteX46" fmla="*/ 82391 w 98202"/>
                <a:gd name="connsiteY46" fmla="*/ 60674 h 145923"/>
                <a:gd name="connsiteX47" fmla="*/ 82391 w 98202"/>
                <a:gd name="connsiteY47" fmla="*/ 46387 h 145923"/>
                <a:gd name="connsiteX48" fmla="*/ 65437 w 98202"/>
                <a:gd name="connsiteY48" fmla="*/ 35433 h 145923"/>
                <a:gd name="connsiteX49" fmla="*/ 54578 w 98202"/>
                <a:gd name="connsiteY49" fmla="*/ 39243 h 145923"/>
                <a:gd name="connsiteX50" fmla="*/ 57817 w 98202"/>
                <a:gd name="connsiteY50" fmla="*/ 23146 h 145923"/>
                <a:gd name="connsiteX51" fmla="*/ 28099 w 98202"/>
                <a:gd name="connsiteY51" fmla="*/ 0 h 145923"/>
                <a:gd name="connsiteX52" fmla="*/ 28099 w 98202"/>
                <a:gd name="connsiteY52" fmla="*/ 0 h 145923"/>
                <a:gd name="connsiteX53" fmla="*/ 30575 w 98202"/>
                <a:gd name="connsiteY53" fmla="*/ 6096 h 14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8202" h="145923">
                  <a:moveTo>
                    <a:pt x="27337" y="10001"/>
                  </a:moveTo>
                  <a:lnTo>
                    <a:pt x="16954" y="14383"/>
                  </a:lnTo>
                  <a:lnTo>
                    <a:pt x="14383" y="25241"/>
                  </a:lnTo>
                  <a:lnTo>
                    <a:pt x="21145" y="26479"/>
                  </a:lnTo>
                  <a:lnTo>
                    <a:pt x="21907" y="31623"/>
                  </a:lnTo>
                  <a:lnTo>
                    <a:pt x="5143" y="36004"/>
                  </a:lnTo>
                  <a:lnTo>
                    <a:pt x="5905" y="46387"/>
                  </a:lnTo>
                  <a:lnTo>
                    <a:pt x="0" y="51245"/>
                  </a:lnTo>
                  <a:lnTo>
                    <a:pt x="12668" y="66199"/>
                  </a:lnTo>
                  <a:lnTo>
                    <a:pt x="12668" y="66199"/>
                  </a:lnTo>
                  <a:lnTo>
                    <a:pt x="23622" y="64675"/>
                  </a:lnTo>
                  <a:lnTo>
                    <a:pt x="28289" y="68294"/>
                  </a:lnTo>
                  <a:lnTo>
                    <a:pt x="24669" y="79629"/>
                  </a:lnTo>
                  <a:lnTo>
                    <a:pt x="33433" y="81915"/>
                  </a:lnTo>
                  <a:lnTo>
                    <a:pt x="37052" y="91440"/>
                  </a:lnTo>
                  <a:lnTo>
                    <a:pt x="30575" y="98203"/>
                  </a:lnTo>
                  <a:lnTo>
                    <a:pt x="31337" y="102584"/>
                  </a:lnTo>
                  <a:lnTo>
                    <a:pt x="27717" y="114681"/>
                  </a:lnTo>
                  <a:lnTo>
                    <a:pt x="33147" y="124206"/>
                  </a:lnTo>
                  <a:lnTo>
                    <a:pt x="33147" y="133731"/>
                  </a:lnTo>
                  <a:lnTo>
                    <a:pt x="38291" y="135541"/>
                  </a:lnTo>
                  <a:lnTo>
                    <a:pt x="42958" y="142304"/>
                  </a:lnTo>
                  <a:lnTo>
                    <a:pt x="51435" y="145923"/>
                  </a:lnTo>
                  <a:lnTo>
                    <a:pt x="57626" y="144113"/>
                  </a:lnTo>
                  <a:lnTo>
                    <a:pt x="56864" y="139732"/>
                  </a:lnTo>
                  <a:lnTo>
                    <a:pt x="60007" y="136303"/>
                  </a:lnTo>
                  <a:lnTo>
                    <a:pt x="67246" y="139922"/>
                  </a:lnTo>
                  <a:lnTo>
                    <a:pt x="71628" y="134779"/>
                  </a:lnTo>
                  <a:lnTo>
                    <a:pt x="77248" y="136112"/>
                  </a:lnTo>
                  <a:lnTo>
                    <a:pt x="80391" y="130397"/>
                  </a:lnTo>
                  <a:lnTo>
                    <a:pt x="85249" y="129159"/>
                  </a:lnTo>
                  <a:lnTo>
                    <a:pt x="88106" y="132493"/>
                  </a:lnTo>
                  <a:lnTo>
                    <a:pt x="98203" y="131350"/>
                  </a:lnTo>
                  <a:lnTo>
                    <a:pt x="98203" y="131350"/>
                  </a:lnTo>
                  <a:lnTo>
                    <a:pt x="95535" y="126492"/>
                  </a:lnTo>
                  <a:lnTo>
                    <a:pt x="89916" y="124396"/>
                  </a:lnTo>
                  <a:lnTo>
                    <a:pt x="84201" y="114395"/>
                  </a:lnTo>
                  <a:lnTo>
                    <a:pt x="81439" y="102489"/>
                  </a:lnTo>
                  <a:lnTo>
                    <a:pt x="76009" y="103537"/>
                  </a:lnTo>
                  <a:lnTo>
                    <a:pt x="73628" y="97631"/>
                  </a:lnTo>
                  <a:lnTo>
                    <a:pt x="69818" y="96298"/>
                  </a:lnTo>
                  <a:lnTo>
                    <a:pt x="66199" y="86773"/>
                  </a:lnTo>
                  <a:lnTo>
                    <a:pt x="70771" y="77724"/>
                  </a:lnTo>
                  <a:lnTo>
                    <a:pt x="67723" y="73914"/>
                  </a:lnTo>
                  <a:lnTo>
                    <a:pt x="72866" y="70009"/>
                  </a:lnTo>
                  <a:lnTo>
                    <a:pt x="82391" y="69437"/>
                  </a:lnTo>
                  <a:lnTo>
                    <a:pt x="82391" y="60674"/>
                  </a:lnTo>
                  <a:lnTo>
                    <a:pt x="82391" y="46387"/>
                  </a:lnTo>
                  <a:lnTo>
                    <a:pt x="65437" y="35433"/>
                  </a:lnTo>
                  <a:lnTo>
                    <a:pt x="54578" y="39243"/>
                  </a:lnTo>
                  <a:lnTo>
                    <a:pt x="57817" y="23146"/>
                  </a:lnTo>
                  <a:lnTo>
                    <a:pt x="28099" y="0"/>
                  </a:lnTo>
                  <a:lnTo>
                    <a:pt x="28099" y="0"/>
                  </a:lnTo>
                  <a:lnTo>
                    <a:pt x="30575" y="60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3" name="Freeform: Shape 2873">
              <a:extLst>
                <a:ext uri="{FF2B5EF4-FFF2-40B4-BE49-F238E27FC236}">
                  <a16:creationId xmlns:a16="http://schemas.microsoft.com/office/drawing/2014/main" id="{EBD0530A-D986-D83C-8008-2687F636C43E}"/>
                </a:ext>
              </a:extLst>
            </p:cNvPr>
            <p:cNvSpPr/>
            <p:nvPr/>
          </p:nvSpPr>
          <p:spPr>
            <a:xfrm>
              <a:off x="7804594" y="4501642"/>
              <a:ext cx="56959" cy="65722"/>
            </a:xfrm>
            <a:custGeom>
              <a:avLst/>
              <a:gdLst>
                <a:gd name="connsiteX0" fmla="*/ 8001 w 56959"/>
                <a:gd name="connsiteY0" fmla="*/ 1905 h 65722"/>
                <a:gd name="connsiteX1" fmla="*/ 7620 w 56959"/>
                <a:gd name="connsiteY1" fmla="*/ 1810 h 65722"/>
                <a:gd name="connsiteX2" fmla="*/ 2000 w 56959"/>
                <a:gd name="connsiteY2" fmla="*/ 8382 h 65722"/>
                <a:gd name="connsiteX3" fmla="*/ 4096 w 56959"/>
                <a:gd name="connsiteY3" fmla="*/ 28575 h 65722"/>
                <a:gd name="connsiteX4" fmla="*/ 11811 w 56959"/>
                <a:gd name="connsiteY4" fmla="*/ 36766 h 65722"/>
                <a:gd name="connsiteX5" fmla="*/ 6953 w 56959"/>
                <a:gd name="connsiteY5" fmla="*/ 44767 h 65722"/>
                <a:gd name="connsiteX6" fmla="*/ 8001 w 56959"/>
                <a:gd name="connsiteY6" fmla="*/ 52006 h 65722"/>
                <a:gd name="connsiteX7" fmla="*/ 0 w 56959"/>
                <a:gd name="connsiteY7" fmla="*/ 62103 h 65722"/>
                <a:gd name="connsiteX8" fmla="*/ 0 w 56959"/>
                <a:gd name="connsiteY8" fmla="*/ 62103 h 65722"/>
                <a:gd name="connsiteX9" fmla="*/ 952 w 56959"/>
                <a:gd name="connsiteY9" fmla="*/ 63913 h 65722"/>
                <a:gd name="connsiteX10" fmla="*/ 9239 w 56959"/>
                <a:gd name="connsiteY10" fmla="*/ 65722 h 65722"/>
                <a:gd name="connsiteX11" fmla="*/ 15907 w 56959"/>
                <a:gd name="connsiteY11" fmla="*/ 60484 h 65722"/>
                <a:gd name="connsiteX12" fmla="*/ 20098 w 56959"/>
                <a:gd name="connsiteY12" fmla="*/ 63913 h 65722"/>
                <a:gd name="connsiteX13" fmla="*/ 24765 w 56959"/>
                <a:gd name="connsiteY13" fmla="*/ 60770 h 65722"/>
                <a:gd name="connsiteX14" fmla="*/ 27527 w 56959"/>
                <a:gd name="connsiteY14" fmla="*/ 63913 h 65722"/>
                <a:gd name="connsiteX15" fmla="*/ 32957 w 56959"/>
                <a:gd name="connsiteY15" fmla="*/ 63913 h 65722"/>
                <a:gd name="connsiteX16" fmla="*/ 39148 w 56959"/>
                <a:gd name="connsiteY16" fmla="*/ 58198 h 65722"/>
                <a:gd name="connsiteX17" fmla="*/ 43815 w 56959"/>
                <a:gd name="connsiteY17" fmla="*/ 45815 h 65722"/>
                <a:gd name="connsiteX18" fmla="*/ 56959 w 56959"/>
                <a:gd name="connsiteY18" fmla="*/ 28289 h 65722"/>
                <a:gd name="connsiteX19" fmla="*/ 56959 w 56959"/>
                <a:gd name="connsiteY19" fmla="*/ 27718 h 65722"/>
                <a:gd name="connsiteX20" fmla="*/ 32385 w 56959"/>
                <a:gd name="connsiteY20" fmla="*/ 0 h 65722"/>
                <a:gd name="connsiteX21" fmla="*/ 8001 w 56959"/>
                <a:gd name="connsiteY21" fmla="*/ 1905 h 6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959" h="65722">
                  <a:moveTo>
                    <a:pt x="8001" y="1905"/>
                  </a:moveTo>
                  <a:lnTo>
                    <a:pt x="7620" y="1810"/>
                  </a:lnTo>
                  <a:lnTo>
                    <a:pt x="2000" y="8382"/>
                  </a:lnTo>
                  <a:lnTo>
                    <a:pt x="4096" y="28575"/>
                  </a:lnTo>
                  <a:lnTo>
                    <a:pt x="11811" y="36766"/>
                  </a:lnTo>
                  <a:lnTo>
                    <a:pt x="6953" y="44767"/>
                  </a:lnTo>
                  <a:lnTo>
                    <a:pt x="8001" y="52006"/>
                  </a:lnTo>
                  <a:lnTo>
                    <a:pt x="0" y="62103"/>
                  </a:lnTo>
                  <a:lnTo>
                    <a:pt x="0" y="62103"/>
                  </a:lnTo>
                  <a:lnTo>
                    <a:pt x="952" y="63913"/>
                  </a:lnTo>
                  <a:lnTo>
                    <a:pt x="9239" y="65722"/>
                  </a:lnTo>
                  <a:lnTo>
                    <a:pt x="15907" y="60484"/>
                  </a:lnTo>
                  <a:lnTo>
                    <a:pt x="20098" y="63913"/>
                  </a:lnTo>
                  <a:lnTo>
                    <a:pt x="24765" y="60770"/>
                  </a:lnTo>
                  <a:lnTo>
                    <a:pt x="27527" y="63913"/>
                  </a:lnTo>
                  <a:lnTo>
                    <a:pt x="32957" y="63913"/>
                  </a:lnTo>
                  <a:lnTo>
                    <a:pt x="39148" y="58198"/>
                  </a:lnTo>
                  <a:lnTo>
                    <a:pt x="43815" y="45815"/>
                  </a:lnTo>
                  <a:lnTo>
                    <a:pt x="56959" y="28289"/>
                  </a:lnTo>
                  <a:lnTo>
                    <a:pt x="56959" y="27718"/>
                  </a:lnTo>
                  <a:lnTo>
                    <a:pt x="32385" y="0"/>
                  </a:lnTo>
                  <a:lnTo>
                    <a:pt x="8001" y="190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4" name="Freeform: Shape 2874">
              <a:extLst>
                <a:ext uri="{FF2B5EF4-FFF2-40B4-BE49-F238E27FC236}">
                  <a16:creationId xmlns:a16="http://schemas.microsoft.com/office/drawing/2014/main" id="{C5E4D2AB-3D10-A1AC-2532-5D43DAA13C70}"/>
                </a:ext>
              </a:extLst>
            </p:cNvPr>
            <p:cNvSpPr/>
            <p:nvPr/>
          </p:nvSpPr>
          <p:spPr>
            <a:xfrm>
              <a:off x="7673149" y="5726176"/>
              <a:ext cx="36004" cy="22955"/>
            </a:xfrm>
            <a:custGeom>
              <a:avLst/>
              <a:gdLst>
                <a:gd name="connsiteX0" fmla="*/ 0 w 36004"/>
                <a:gd name="connsiteY0" fmla="*/ 16954 h 22955"/>
                <a:gd name="connsiteX1" fmla="*/ 0 w 36004"/>
                <a:gd name="connsiteY1" fmla="*/ 16954 h 22955"/>
                <a:gd name="connsiteX2" fmla="*/ 36004 w 36004"/>
                <a:gd name="connsiteY2" fmla="*/ 0 h 22955"/>
                <a:gd name="connsiteX3" fmla="*/ 23050 w 36004"/>
                <a:gd name="connsiteY3" fmla="*/ 15145 h 22955"/>
                <a:gd name="connsiteX4" fmla="*/ 8858 w 36004"/>
                <a:gd name="connsiteY4" fmla="*/ 22955 h 22955"/>
                <a:gd name="connsiteX5" fmla="*/ 0 w 36004"/>
                <a:gd name="connsiteY5" fmla="*/ 16954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04" h="22955">
                  <a:moveTo>
                    <a:pt x="0" y="16954"/>
                  </a:moveTo>
                  <a:lnTo>
                    <a:pt x="0" y="16954"/>
                  </a:lnTo>
                  <a:lnTo>
                    <a:pt x="36004" y="0"/>
                  </a:lnTo>
                  <a:lnTo>
                    <a:pt x="23050" y="15145"/>
                  </a:lnTo>
                  <a:lnTo>
                    <a:pt x="8858" y="22955"/>
                  </a:lnTo>
                  <a:lnTo>
                    <a:pt x="0" y="169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5" name="Freeform: Shape 2875">
              <a:extLst>
                <a:ext uri="{FF2B5EF4-FFF2-40B4-BE49-F238E27FC236}">
                  <a16:creationId xmlns:a16="http://schemas.microsoft.com/office/drawing/2014/main" id="{73F56431-9CD7-CF9D-2059-026C9EFC0A6D}"/>
                </a:ext>
              </a:extLst>
            </p:cNvPr>
            <p:cNvSpPr/>
            <p:nvPr/>
          </p:nvSpPr>
          <p:spPr>
            <a:xfrm>
              <a:off x="7702581" y="5722746"/>
              <a:ext cx="39338" cy="30289"/>
            </a:xfrm>
            <a:custGeom>
              <a:avLst/>
              <a:gdLst>
                <a:gd name="connsiteX0" fmla="*/ 0 w 39338"/>
                <a:gd name="connsiteY0" fmla="*/ 23336 h 30289"/>
                <a:gd name="connsiteX1" fmla="*/ 0 w 39338"/>
                <a:gd name="connsiteY1" fmla="*/ 23336 h 30289"/>
                <a:gd name="connsiteX2" fmla="*/ 7620 w 39338"/>
                <a:gd name="connsiteY2" fmla="*/ 30290 h 30289"/>
                <a:gd name="connsiteX3" fmla="*/ 8954 w 39338"/>
                <a:gd name="connsiteY3" fmla="*/ 21717 h 30289"/>
                <a:gd name="connsiteX4" fmla="*/ 12859 w 39338"/>
                <a:gd name="connsiteY4" fmla="*/ 27051 h 30289"/>
                <a:gd name="connsiteX5" fmla="*/ 39338 w 39338"/>
                <a:gd name="connsiteY5" fmla="*/ 12383 h 30289"/>
                <a:gd name="connsiteX6" fmla="*/ 32957 w 39338"/>
                <a:gd name="connsiteY6" fmla="*/ 6858 h 30289"/>
                <a:gd name="connsiteX7" fmla="*/ 29433 w 39338"/>
                <a:gd name="connsiteY7" fmla="*/ 10954 h 30289"/>
                <a:gd name="connsiteX8" fmla="*/ 26098 w 39338"/>
                <a:gd name="connsiteY8" fmla="*/ 2286 h 30289"/>
                <a:gd name="connsiteX9" fmla="*/ 15240 w 39338"/>
                <a:gd name="connsiteY9" fmla="*/ 0 h 30289"/>
                <a:gd name="connsiteX10" fmla="*/ 0 w 39338"/>
                <a:gd name="connsiteY10" fmla="*/ 23336 h 3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38" h="30289">
                  <a:moveTo>
                    <a:pt x="0" y="23336"/>
                  </a:moveTo>
                  <a:lnTo>
                    <a:pt x="0" y="23336"/>
                  </a:lnTo>
                  <a:lnTo>
                    <a:pt x="7620" y="30290"/>
                  </a:lnTo>
                  <a:lnTo>
                    <a:pt x="8954" y="21717"/>
                  </a:lnTo>
                  <a:lnTo>
                    <a:pt x="12859" y="27051"/>
                  </a:lnTo>
                  <a:lnTo>
                    <a:pt x="39338" y="12383"/>
                  </a:lnTo>
                  <a:lnTo>
                    <a:pt x="32957" y="6858"/>
                  </a:lnTo>
                  <a:lnTo>
                    <a:pt x="29433" y="10954"/>
                  </a:lnTo>
                  <a:lnTo>
                    <a:pt x="26098" y="2286"/>
                  </a:lnTo>
                  <a:lnTo>
                    <a:pt x="15240" y="0"/>
                  </a:lnTo>
                  <a:lnTo>
                    <a:pt x="0" y="2333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6" name="Freeform: Shape 2876">
              <a:extLst>
                <a:ext uri="{FF2B5EF4-FFF2-40B4-BE49-F238E27FC236}">
                  <a16:creationId xmlns:a16="http://schemas.microsoft.com/office/drawing/2014/main" id="{B4627552-8A5F-4537-37D9-1943F2572F39}"/>
                </a:ext>
              </a:extLst>
            </p:cNvPr>
            <p:cNvSpPr/>
            <p:nvPr/>
          </p:nvSpPr>
          <p:spPr>
            <a:xfrm>
              <a:off x="7282624" y="4582794"/>
              <a:ext cx="112871" cy="125825"/>
            </a:xfrm>
            <a:custGeom>
              <a:avLst/>
              <a:gdLst>
                <a:gd name="connsiteX0" fmla="*/ 16764 w 112871"/>
                <a:gd name="connsiteY0" fmla="*/ 25432 h 125825"/>
                <a:gd name="connsiteX1" fmla="*/ 8191 w 112871"/>
                <a:gd name="connsiteY1" fmla="*/ 34004 h 125825"/>
                <a:gd name="connsiteX2" fmla="*/ 12859 w 112871"/>
                <a:gd name="connsiteY2" fmla="*/ 39338 h 125825"/>
                <a:gd name="connsiteX3" fmla="*/ 0 w 112871"/>
                <a:gd name="connsiteY3" fmla="*/ 47244 h 125825"/>
                <a:gd name="connsiteX4" fmla="*/ 0 w 112871"/>
                <a:gd name="connsiteY4" fmla="*/ 72676 h 125825"/>
                <a:gd name="connsiteX5" fmla="*/ 22764 w 112871"/>
                <a:gd name="connsiteY5" fmla="*/ 66770 h 125825"/>
                <a:gd name="connsiteX6" fmla="*/ 11525 w 112871"/>
                <a:gd name="connsiteY6" fmla="*/ 93536 h 125825"/>
                <a:gd name="connsiteX7" fmla="*/ 11335 w 112871"/>
                <a:gd name="connsiteY7" fmla="*/ 93631 h 125825"/>
                <a:gd name="connsiteX8" fmla="*/ 13145 w 112871"/>
                <a:gd name="connsiteY8" fmla="*/ 94488 h 125825"/>
                <a:gd name="connsiteX9" fmla="*/ 15049 w 112871"/>
                <a:gd name="connsiteY9" fmla="*/ 103346 h 125825"/>
                <a:gd name="connsiteX10" fmla="*/ 8858 w 112871"/>
                <a:gd name="connsiteY10" fmla="*/ 106013 h 125825"/>
                <a:gd name="connsiteX11" fmla="*/ 8858 w 112871"/>
                <a:gd name="connsiteY11" fmla="*/ 116491 h 125825"/>
                <a:gd name="connsiteX12" fmla="*/ 15526 w 112871"/>
                <a:gd name="connsiteY12" fmla="*/ 111633 h 125825"/>
                <a:gd name="connsiteX13" fmla="*/ 26575 w 112871"/>
                <a:gd name="connsiteY13" fmla="*/ 115634 h 125825"/>
                <a:gd name="connsiteX14" fmla="*/ 30194 w 112871"/>
                <a:gd name="connsiteY14" fmla="*/ 122492 h 125825"/>
                <a:gd name="connsiteX15" fmla="*/ 38005 w 112871"/>
                <a:gd name="connsiteY15" fmla="*/ 125825 h 125825"/>
                <a:gd name="connsiteX16" fmla="*/ 40577 w 112871"/>
                <a:gd name="connsiteY16" fmla="*/ 119253 h 125825"/>
                <a:gd name="connsiteX17" fmla="*/ 46196 w 112871"/>
                <a:gd name="connsiteY17" fmla="*/ 116491 h 125825"/>
                <a:gd name="connsiteX18" fmla="*/ 44577 w 112871"/>
                <a:gd name="connsiteY18" fmla="*/ 109633 h 125825"/>
                <a:gd name="connsiteX19" fmla="*/ 51149 w 112871"/>
                <a:gd name="connsiteY19" fmla="*/ 94488 h 125825"/>
                <a:gd name="connsiteX20" fmla="*/ 59721 w 112871"/>
                <a:gd name="connsiteY20" fmla="*/ 86868 h 125825"/>
                <a:gd name="connsiteX21" fmla="*/ 83058 w 112871"/>
                <a:gd name="connsiteY21" fmla="*/ 78010 h 125825"/>
                <a:gd name="connsiteX22" fmla="*/ 105060 w 112871"/>
                <a:gd name="connsiteY22" fmla="*/ 58103 h 125825"/>
                <a:gd name="connsiteX23" fmla="*/ 107632 w 112871"/>
                <a:gd name="connsiteY23" fmla="*/ 45148 h 125825"/>
                <a:gd name="connsiteX24" fmla="*/ 112871 w 112871"/>
                <a:gd name="connsiteY24" fmla="*/ 46292 h 125825"/>
                <a:gd name="connsiteX25" fmla="*/ 111252 w 112871"/>
                <a:gd name="connsiteY25" fmla="*/ 37719 h 125825"/>
                <a:gd name="connsiteX26" fmla="*/ 105346 w 112871"/>
                <a:gd name="connsiteY26" fmla="*/ 33338 h 125825"/>
                <a:gd name="connsiteX27" fmla="*/ 105346 w 112871"/>
                <a:gd name="connsiteY27" fmla="*/ 28861 h 125825"/>
                <a:gd name="connsiteX28" fmla="*/ 112871 w 112871"/>
                <a:gd name="connsiteY28" fmla="*/ 27432 h 125825"/>
                <a:gd name="connsiteX29" fmla="*/ 101060 w 112871"/>
                <a:gd name="connsiteY29" fmla="*/ 22574 h 125825"/>
                <a:gd name="connsiteX30" fmla="*/ 96964 w 112871"/>
                <a:gd name="connsiteY30" fmla="*/ 18574 h 125825"/>
                <a:gd name="connsiteX31" fmla="*/ 89439 w 112871"/>
                <a:gd name="connsiteY31" fmla="*/ 16764 h 125825"/>
                <a:gd name="connsiteX32" fmla="*/ 89154 w 112871"/>
                <a:gd name="connsiteY32" fmla="*/ 23241 h 125825"/>
                <a:gd name="connsiteX33" fmla="*/ 69628 w 112871"/>
                <a:gd name="connsiteY33" fmla="*/ 18860 h 125825"/>
                <a:gd name="connsiteX34" fmla="*/ 68294 w 112871"/>
                <a:gd name="connsiteY34" fmla="*/ 13621 h 125825"/>
                <a:gd name="connsiteX35" fmla="*/ 45815 w 112871"/>
                <a:gd name="connsiteY35" fmla="*/ 1714 h 125825"/>
                <a:gd name="connsiteX36" fmla="*/ 38005 w 112871"/>
                <a:gd name="connsiteY36" fmla="*/ 0 h 125825"/>
                <a:gd name="connsiteX37" fmla="*/ 16764 w 112871"/>
                <a:gd name="connsiteY37" fmla="*/ 10287 h 125825"/>
                <a:gd name="connsiteX38" fmla="*/ 16764 w 112871"/>
                <a:gd name="connsiteY38" fmla="*/ 25432 h 12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2871" h="125825">
                  <a:moveTo>
                    <a:pt x="16764" y="25432"/>
                  </a:moveTo>
                  <a:lnTo>
                    <a:pt x="8191" y="34004"/>
                  </a:lnTo>
                  <a:lnTo>
                    <a:pt x="12859" y="39338"/>
                  </a:lnTo>
                  <a:lnTo>
                    <a:pt x="0" y="47244"/>
                  </a:lnTo>
                  <a:lnTo>
                    <a:pt x="0" y="72676"/>
                  </a:lnTo>
                  <a:lnTo>
                    <a:pt x="22764" y="66770"/>
                  </a:lnTo>
                  <a:lnTo>
                    <a:pt x="11525" y="93536"/>
                  </a:lnTo>
                  <a:lnTo>
                    <a:pt x="11335" y="93631"/>
                  </a:lnTo>
                  <a:lnTo>
                    <a:pt x="13145" y="94488"/>
                  </a:lnTo>
                  <a:lnTo>
                    <a:pt x="15049" y="103346"/>
                  </a:lnTo>
                  <a:lnTo>
                    <a:pt x="8858" y="106013"/>
                  </a:lnTo>
                  <a:lnTo>
                    <a:pt x="8858" y="116491"/>
                  </a:lnTo>
                  <a:lnTo>
                    <a:pt x="15526" y="111633"/>
                  </a:lnTo>
                  <a:lnTo>
                    <a:pt x="26575" y="115634"/>
                  </a:lnTo>
                  <a:lnTo>
                    <a:pt x="30194" y="122492"/>
                  </a:lnTo>
                  <a:lnTo>
                    <a:pt x="38005" y="125825"/>
                  </a:lnTo>
                  <a:lnTo>
                    <a:pt x="40577" y="119253"/>
                  </a:lnTo>
                  <a:lnTo>
                    <a:pt x="46196" y="116491"/>
                  </a:lnTo>
                  <a:lnTo>
                    <a:pt x="44577" y="109633"/>
                  </a:lnTo>
                  <a:lnTo>
                    <a:pt x="51149" y="94488"/>
                  </a:lnTo>
                  <a:lnTo>
                    <a:pt x="59721" y="86868"/>
                  </a:lnTo>
                  <a:lnTo>
                    <a:pt x="83058" y="78010"/>
                  </a:lnTo>
                  <a:lnTo>
                    <a:pt x="105060" y="58103"/>
                  </a:lnTo>
                  <a:lnTo>
                    <a:pt x="107632" y="45148"/>
                  </a:lnTo>
                  <a:lnTo>
                    <a:pt x="112871" y="46292"/>
                  </a:lnTo>
                  <a:lnTo>
                    <a:pt x="111252" y="37719"/>
                  </a:lnTo>
                  <a:lnTo>
                    <a:pt x="105346" y="33338"/>
                  </a:lnTo>
                  <a:lnTo>
                    <a:pt x="105346" y="28861"/>
                  </a:lnTo>
                  <a:lnTo>
                    <a:pt x="112871" y="27432"/>
                  </a:lnTo>
                  <a:lnTo>
                    <a:pt x="101060" y="22574"/>
                  </a:lnTo>
                  <a:lnTo>
                    <a:pt x="96964" y="18574"/>
                  </a:lnTo>
                  <a:lnTo>
                    <a:pt x="89439" y="16764"/>
                  </a:lnTo>
                  <a:lnTo>
                    <a:pt x="89154" y="23241"/>
                  </a:lnTo>
                  <a:lnTo>
                    <a:pt x="69628" y="18860"/>
                  </a:lnTo>
                  <a:lnTo>
                    <a:pt x="68294" y="13621"/>
                  </a:lnTo>
                  <a:lnTo>
                    <a:pt x="45815" y="1714"/>
                  </a:lnTo>
                  <a:lnTo>
                    <a:pt x="38005" y="0"/>
                  </a:lnTo>
                  <a:lnTo>
                    <a:pt x="16764" y="10287"/>
                  </a:lnTo>
                  <a:lnTo>
                    <a:pt x="16764" y="2543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7" name="Freeform: Shape 2877">
              <a:extLst>
                <a:ext uri="{FF2B5EF4-FFF2-40B4-BE49-F238E27FC236}">
                  <a16:creationId xmlns:a16="http://schemas.microsoft.com/office/drawing/2014/main" id="{D1D0954B-D138-5EC2-F6DC-C0BA7A8E0C8F}"/>
                </a:ext>
              </a:extLst>
            </p:cNvPr>
            <p:cNvSpPr/>
            <p:nvPr/>
          </p:nvSpPr>
          <p:spPr>
            <a:xfrm>
              <a:off x="7319581" y="4373340"/>
              <a:ext cx="241363" cy="318611"/>
            </a:xfrm>
            <a:custGeom>
              <a:avLst/>
              <a:gdLst>
                <a:gd name="connsiteX0" fmla="*/ 234791 w 241363"/>
                <a:gd name="connsiteY0" fmla="*/ 189071 h 318611"/>
                <a:gd name="connsiteX1" fmla="*/ 228029 w 241363"/>
                <a:gd name="connsiteY1" fmla="*/ 181356 h 318611"/>
                <a:gd name="connsiteX2" fmla="*/ 221361 w 241363"/>
                <a:gd name="connsiteY2" fmla="*/ 180308 h 318611"/>
                <a:gd name="connsiteX3" fmla="*/ 232886 w 241363"/>
                <a:gd name="connsiteY3" fmla="*/ 168688 h 318611"/>
                <a:gd name="connsiteX4" fmla="*/ 229838 w 241363"/>
                <a:gd name="connsiteY4" fmla="*/ 162496 h 318611"/>
                <a:gd name="connsiteX5" fmla="*/ 225742 w 241363"/>
                <a:gd name="connsiteY5" fmla="*/ 161449 h 318611"/>
                <a:gd name="connsiteX6" fmla="*/ 221361 w 241363"/>
                <a:gd name="connsiteY6" fmla="*/ 146495 h 318611"/>
                <a:gd name="connsiteX7" fmla="*/ 221837 w 241363"/>
                <a:gd name="connsiteY7" fmla="*/ 131350 h 318611"/>
                <a:gd name="connsiteX8" fmla="*/ 226695 w 241363"/>
                <a:gd name="connsiteY8" fmla="*/ 126682 h 318611"/>
                <a:gd name="connsiteX9" fmla="*/ 225742 w 241363"/>
                <a:gd name="connsiteY9" fmla="*/ 121729 h 318611"/>
                <a:gd name="connsiteX10" fmla="*/ 230124 w 241363"/>
                <a:gd name="connsiteY10" fmla="*/ 117348 h 318611"/>
                <a:gd name="connsiteX11" fmla="*/ 228029 w 241363"/>
                <a:gd name="connsiteY11" fmla="*/ 110966 h 318611"/>
                <a:gd name="connsiteX12" fmla="*/ 217932 w 241363"/>
                <a:gd name="connsiteY12" fmla="*/ 113538 h 318611"/>
                <a:gd name="connsiteX13" fmla="*/ 212788 w 241363"/>
                <a:gd name="connsiteY13" fmla="*/ 111157 h 318611"/>
                <a:gd name="connsiteX14" fmla="*/ 207930 w 241363"/>
                <a:gd name="connsiteY14" fmla="*/ 115062 h 318611"/>
                <a:gd name="connsiteX15" fmla="*/ 196786 w 241363"/>
                <a:gd name="connsiteY15" fmla="*/ 112966 h 318611"/>
                <a:gd name="connsiteX16" fmla="*/ 191928 w 241363"/>
                <a:gd name="connsiteY16" fmla="*/ 116872 h 318611"/>
                <a:gd name="connsiteX17" fmla="*/ 176974 w 241363"/>
                <a:gd name="connsiteY17" fmla="*/ 97727 h 318611"/>
                <a:gd name="connsiteX18" fmla="*/ 167640 w 241363"/>
                <a:gd name="connsiteY18" fmla="*/ 94964 h 318611"/>
                <a:gd name="connsiteX19" fmla="*/ 158686 w 241363"/>
                <a:gd name="connsiteY19" fmla="*/ 98012 h 318611"/>
                <a:gd name="connsiteX20" fmla="*/ 148018 w 241363"/>
                <a:gd name="connsiteY20" fmla="*/ 95917 h 318611"/>
                <a:gd name="connsiteX21" fmla="*/ 138779 w 241363"/>
                <a:gd name="connsiteY21" fmla="*/ 96964 h 318611"/>
                <a:gd name="connsiteX22" fmla="*/ 135445 w 241363"/>
                <a:gd name="connsiteY22" fmla="*/ 89821 h 318611"/>
                <a:gd name="connsiteX23" fmla="*/ 129254 w 241363"/>
                <a:gd name="connsiteY23" fmla="*/ 89535 h 318611"/>
                <a:gd name="connsiteX24" fmla="*/ 133635 w 241363"/>
                <a:gd name="connsiteY24" fmla="*/ 76105 h 318611"/>
                <a:gd name="connsiteX25" fmla="*/ 127159 w 241363"/>
                <a:gd name="connsiteY25" fmla="*/ 65818 h 318611"/>
                <a:gd name="connsiteX26" fmla="*/ 125063 w 241363"/>
                <a:gd name="connsiteY26" fmla="*/ 55721 h 318611"/>
                <a:gd name="connsiteX27" fmla="*/ 120967 w 241363"/>
                <a:gd name="connsiteY27" fmla="*/ 56197 h 318611"/>
                <a:gd name="connsiteX28" fmla="*/ 119729 w 241363"/>
                <a:gd name="connsiteY28" fmla="*/ 52102 h 318611"/>
                <a:gd name="connsiteX29" fmla="*/ 111728 w 241363"/>
                <a:gd name="connsiteY29" fmla="*/ 53626 h 318611"/>
                <a:gd name="connsiteX30" fmla="*/ 119919 w 241363"/>
                <a:gd name="connsiteY30" fmla="*/ 41243 h 318611"/>
                <a:gd name="connsiteX31" fmla="*/ 121729 w 241363"/>
                <a:gd name="connsiteY31" fmla="*/ 29718 h 318611"/>
                <a:gd name="connsiteX32" fmla="*/ 129254 w 241363"/>
                <a:gd name="connsiteY32" fmla="*/ 15240 h 318611"/>
                <a:gd name="connsiteX33" fmla="*/ 133826 w 241363"/>
                <a:gd name="connsiteY33" fmla="*/ 14954 h 318611"/>
                <a:gd name="connsiteX34" fmla="*/ 139065 w 241363"/>
                <a:gd name="connsiteY34" fmla="*/ 3334 h 318611"/>
                <a:gd name="connsiteX35" fmla="*/ 152685 w 241363"/>
                <a:gd name="connsiteY35" fmla="*/ 762 h 318611"/>
                <a:gd name="connsiteX36" fmla="*/ 152971 w 241363"/>
                <a:gd name="connsiteY36" fmla="*/ 762 h 318611"/>
                <a:gd name="connsiteX37" fmla="*/ 153162 w 241363"/>
                <a:gd name="connsiteY37" fmla="*/ 667 h 318611"/>
                <a:gd name="connsiteX38" fmla="*/ 134683 w 241363"/>
                <a:gd name="connsiteY38" fmla="*/ 0 h 318611"/>
                <a:gd name="connsiteX39" fmla="*/ 114205 w 241363"/>
                <a:gd name="connsiteY39" fmla="*/ 11811 h 318611"/>
                <a:gd name="connsiteX40" fmla="*/ 102108 w 241363"/>
                <a:gd name="connsiteY40" fmla="*/ 10763 h 318611"/>
                <a:gd name="connsiteX41" fmla="*/ 98012 w 241363"/>
                <a:gd name="connsiteY41" fmla="*/ 25527 h 318611"/>
                <a:gd name="connsiteX42" fmla="*/ 88201 w 241363"/>
                <a:gd name="connsiteY42" fmla="*/ 20193 h 318611"/>
                <a:gd name="connsiteX43" fmla="*/ 94964 w 241363"/>
                <a:gd name="connsiteY43" fmla="*/ 14954 h 318611"/>
                <a:gd name="connsiteX44" fmla="*/ 82867 w 241363"/>
                <a:gd name="connsiteY44" fmla="*/ 15145 h 318611"/>
                <a:gd name="connsiteX45" fmla="*/ 69628 w 241363"/>
                <a:gd name="connsiteY45" fmla="*/ 34480 h 318611"/>
                <a:gd name="connsiteX46" fmla="*/ 67723 w 241363"/>
                <a:gd name="connsiteY46" fmla="*/ 49054 h 318611"/>
                <a:gd name="connsiteX47" fmla="*/ 46863 w 241363"/>
                <a:gd name="connsiteY47" fmla="*/ 61627 h 318611"/>
                <a:gd name="connsiteX48" fmla="*/ 47339 w 241363"/>
                <a:gd name="connsiteY48" fmla="*/ 75914 h 318611"/>
                <a:gd name="connsiteX49" fmla="*/ 32575 w 241363"/>
                <a:gd name="connsiteY49" fmla="*/ 65246 h 318611"/>
                <a:gd name="connsiteX50" fmla="*/ 31051 w 241363"/>
                <a:gd name="connsiteY50" fmla="*/ 68008 h 318611"/>
                <a:gd name="connsiteX51" fmla="*/ 38005 w 241363"/>
                <a:gd name="connsiteY51" fmla="*/ 78486 h 318611"/>
                <a:gd name="connsiteX52" fmla="*/ 32480 w 241363"/>
                <a:gd name="connsiteY52" fmla="*/ 80391 h 318611"/>
                <a:gd name="connsiteX53" fmla="*/ 34385 w 241363"/>
                <a:gd name="connsiteY53" fmla="*/ 83820 h 318611"/>
                <a:gd name="connsiteX54" fmla="*/ 30670 w 241363"/>
                <a:gd name="connsiteY54" fmla="*/ 87249 h 318611"/>
                <a:gd name="connsiteX55" fmla="*/ 25527 w 241363"/>
                <a:gd name="connsiteY55" fmla="*/ 84201 h 318611"/>
                <a:gd name="connsiteX56" fmla="*/ 23146 w 241363"/>
                <a:gd name="connsiteY56" fmla="*/ 92964 h 318611"/>
                <a:gd name="connsiteX57" fmla="*/ 38671 w 241363"/>
                <a:gd name="connsiteY57" fmla="*/ 119729 h 318611"/>
                <a:gd name="connsiteX58" fmla="*/ 29718 w 241363"/>
                <a:gd name="connsiteY58" fmla="*/ 127254 h 318611"/>
                <a:gd name="connsiteX59" fmla="*/ 32004 w 241363"/>
                <a:gd name="connsiteY59" fmla="*/ 156686 h 318611"/>
                <a:gd name="connsiteX60" fmla="*/ 39910 w 241363"/>
                <a:gd name="connsiteY60" fmla="*/ 158687 h 318611"/>
                <a:gd name="connsiteX61" fmla="*/ 25717 w 241363"/>
                <a:gd name="connsiteY61" fmla="*/ 184690 h 318611"/>
                <a:gd name="connsiteX62" fmla="*/ 9525 w 241363"/>
                <a:gd name="connsiteY62" fmla="*/ 187738 h 318611"/>
                <a:gd name="connsiteX63" fmla="*/ 9810 w 241363"/>
                <a:gd name="connsiteY63" fmla="*/ 199168 h 318611"/>
                <a:gd name="connsiteX64" fmla="*/ 0 w 241363"/>
                <a:gd name="connsiteY64" fmla="*/ 200215 h 318611"/>
                <a:gd name="connsiteX65" fmla="*/ 1048 w 241363"/>
                <a:gd name="connsiteY65" fmla="*/ 209455 h 318611"/>
                <a:gd name="connsiteX66" fmla="*/ 8858 w 241363"/>
                <a:gd name="connsiteY66" fmla="*/ 211169 h 318611"/>
                <a:gd name="connsiteX67" fmla="*/ 31337 w 241363"/>
                <a:gd name="connsiteY67" fmla="*/ 223075 h 318611"/>
                <a:gd name="connsiteX68" fmla="*/ 32671 w 241363"/>
                <a:gd name="connsiteY68" fmla="*/ 228314 h 318611"/>
                <a:gd name="connsiteX69" fmla="*/ 52197 w 241363"/>
                <a:gd name="connsiteY69" fmla="*/ 232696 h 318611"/>
                <a:gd name="connsiteX70" fmla="*/ 52482 w 241363"/>
                <a:gd name="connsiteY70" fmla="*/ 226219 h 318611"/>
                <a:gd name="connsiteX71" fmla="*/ 60007 w 241363"/>
                <a:gd name="connsiteY71" fmla="*/ 228029 h 318611"/>
                <a:gd name="connsiteX72" fmla="*/ 64103 w 241363"/>
                <a:gd name="connsiteY72" fmla="*/ 232029 h 318611"/>
                <a:gd name="connsiteX73" fmla="*/ 75914 w 241363"/>
                <a:gd name="connsiteY73" fmla="*/ 236887 h 318611"/>
                <a:gd name="connsiteX74" fmla="*/ 84487 w 241363"/>
                <a:gd name="connsiteY74" fmla="*/ 242506 h 318611"/>
                <a:gd name="connsiteX75" fmla="*/ 89725 w 241363"/>
                <a:gd name="connsiteY75" fmla="*/ 242506 h 318611"/>
                <a:gd name="connsiteX76" fmla="*/ 93345 w 241363"/>
                <a:gd name="connsiteY76" fmla="*/ 247650 h 318611"/>
                <a:gd name="connsiteX77" fmla="*/ 94392 w 241363"/>
                <a:gd name="connsiteY77" fmla="*/ 255365 h 318611"/>
                <a:gd name="connsiteX78" fmla="*/ 102679 w 241363"/>
                <a:gd name="connsiteY78" fmla="*/ 260032 h 318611"/>
                <a:gd name="connsiteX79" fmla="*/ 107537 w 241363"/>
                <a:gd name="connsiteY79" fmla="*/ 259652 h 318611"/>
                <a:gd name="connsiteX80" fmla="*/ 109251 w 241363"/>
                <a:gd name="connsiteY80" fmla="*/ 269557 h 318611"/>
                <a:gd name="connsiteX81" fmla="*/ 114871 w 241363"/>
                <a:gd name="connsiteY81" fmla="*/ 270605 h 318611"/>
                <a:gd name="connsiteX82" fmla="*/ 117538 w 241363"/>
                <a:gd name="connsiteY82" fmla="*/ 275749 h 318611"/>
                <a:gd name="connsiteX83" fmla="*/ 115919 w 241363"/>
                <a:gd name="connsiteY83" fmla="*/ 281654 h 318611"/>
                <a:gd name="connsiteX84" fmla="*/ 122967 w 241363"/>
                <a:gd name="connsiteY84" fmla="*/ 283750 h 318611"/>
                <a:gd name="connsiteX85" fmla="*/ 128111 w 241363"/>
                <a:gd name="connsiteY85" fmla="*/ 281083 h 318611"/>
                <a:gd name="connsiteX86" fmla="*/ 135445 w 241363"/>
                <a:gd name="connsiteY86" fmla="*/ 283940 h 318611"/>
                <a:gd name="connsiteX87" fmla="*/ 144303 w 241363"/>
                <a:gd name="connsiteY87" fmla="*/ 278511 h 318611"/>
                <a:gd name="connsiteX88" fmla="*/ 151257 w 241363"/>
                <a:gd name="connsiteY88" fmla="*/ 282130 h 318611"/>
                <a:gd name="connsiteX89" fmla="*/ 158782 w 241363"/>
                <a:gd name="connsiteY89" fmla="*/ 278130 h 318611"/>
                <a:gd name="connsiteX90" fmla="*/ 165545 w 241363"/>
                <a:gd name="connsiteY90" fmla="*/ 283845 h 318611"/>
                <a:gd name="connsiteX91" fmla="*/ 177355 w 241363"/>
                <a:gd name="connsiteY91" fmla="*/ 288417 h 318611"/>
                <a:gd name="connsiteX92" fmla="*/ 164592 w 241363"/>
                <a:gd name="connsiteY92" fmla="*/ 309563 h 318611"/>
                <a:gd name="connsiteX93" fmla="*/ 169069 w 241363"/>
                <a:gd name="connsiteY93" fmla="*/ 312230 h 318611"/>
                <a:gd name="connsiteX94" fmla="*/ 173355 w 241363"/>
                <a:gd name="connsiteY94" fmla="*/ 309848 h 318611"/>
                <a:gd name="connsiteX95" fmla="*/ 180784 w 241363"/>
                <a:gd name="connsiteY95" fmla="*/ 318611 h 318611"/>
                <a:gd name="connsiteX96" fmla="*/ 191548 w 241363"/>
                <a:gd name="connsiteY96" fmla="*/ 260985 h 318611"/>
                <a:gd name="connsiteX97" fmla="*/ 186880 w 241363"/>
                <a:gd name="connsiteY97" fmla="*/ 250793 h 318611"/>
                <a:gd name="connsiteX98" fmla="*/ 186880 w 241363"/>
                <a:gd name="connsiteY98" fmla="*/ 246126 h 318611"/>
                <a:gd name="connsiteX99" fmla="*/ 178308 w 241363"/>
                <a:gd name="connsiteY99" fmla="*/ 239173 h 318611"/>
                <a:gd name="connsiteX100" fmla="*/ 178308 w 241363"/>
                <a:gd name="connsiteY100" fmla="*/ 224695 h 318611"/>
                <a:gd name="connsiteX101" fmla="*/ 196501 w 241363"/>
                <a:gd name="connsiteY101" fmla="*/ 223742 h 318611"/>
                <a:gd name="connsiteX102" fmla="*/ 195739 w 241363"/>
                <a:gd name="connsiteY102" fmla="*/ 216217 h 318611"/>
                <a:gd name="connsiteX103" fmla="*/ 182308 w 241363"/>
                <a:gd name="connsiteY103" fmla="*/ 213836 h 318611"/>
                <a:gd name="connsiteX104" fmla="*/ 182308 w 241363"/>
                <a:gd name="connsiteY104" fmla="*/ 202216 h 318611"/>
                <a:gd name="connsiteX105" fmla="*/ 213074 w 241363"/>
                <a:gd name="connsiteY105" fmla="*/ 202216 h 318611"/>
                <a:gd name="connsiteX106" fmla="*/ 213836 w 241363"/>
                <a:gd name="connsiteY106" fmla="*/ 195834 h 318611"/>
                <a:gd name="connsiteX107" fmla="*/ 222313 w 241363"/>
                <a:gd name="connsiteY107" fmla="*/ 200596 h 318611"/>
                <a:gd name="connsiteX108" fmla="*/ 229552 w 241363"/>
                <a:gd name="connsiteY108" fmla="*/ 195834 h 318611"/>
                <a:gd name="connsiteX109" fmla="*/ 232410 w 241363"/>
                <a:gd name="connsiteY109" fmla="*/ 213836 h 318611"/>
                <a:gd name="connsiteX110" fmla="*/ 241363 w 241363"/>
                <a:gd name="connsiteY110" fmla="*/ 212122 h 318611"/>
                <a:gd name="connsiteX111" fmla="*/ 234791 w 241363"/>
                <a:gd name="connsiteY111" fmla="*/ 189071 h 318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41363" h="318611">
                  <a:moveTo>
                    <a:pt x="234791" y="189071"/>
                  </a:moveTo>
                  <a:lnTo>
                    <a:pt x="228029" y="181356"/>
                  </a:lnTo>
                  <a:lnTo>
                    <a:pt x="221361" y="180308"/>
                  </a:lnTo>
                  <a:lnTo>
                    <a:pt x="232886" y="168688"/>
                  </a:lnTo>
                  <a:lnTo>
                    <a:pt x="229838" y="162496"/>
                  </a:lnTo>
                  <a:lnTo>
                    <a:pt x="225742" y="161449"/>
                  </a:lnTo>
                  <a:lnTo>
                    <a:pt x="221361" y="146495"/>
                  </a:lnTo>
                  <a:lnTo>
                    <a:pt x="221837" y="131350"/>
                  </a:lnTo>
                  <a:lnTo>
                    <a:pt x="226695" y="126682"/>
                  </a:lnTo>
                  <a:lnTo>
                    <a:pt x="225742" y="121729"/>
                  </a:lnTo>
                  <a:lnTo>
                    <a:pt x="230124" y="117348"/>
                  </a:lnTo>
                  <a:lnTo>
                    <a:pt x="228029" y="110966"/>
                  </a:lnTo>
                  <a:lnTo>
                    <a:pt x="217932" y="113538"/>
                  </a:lnTo>
                  <a:lnTo>
                    <a:pt x="212788" y="111157"/>
                  </a:lnTo>
                  <a:lnTo>
                    <a:pt x="207930" y="115062"/>
                  </a:lnTo>
                  <a:lnTo>
                    <a:pt x="196786" y="112966"/>
                  </a:lnTo>
                  <a:lnTo>
                    <a:pt x="191928" y="116872"/>
                  </a:lnTo>
                  <a:lnTo>
                    <a:pt x="176974" y="97727"/>
                  </a:lnTo>
                  <a:lnTo>
                    <a:pt x="167640" y="94964"/>
                  </a:lnTo>
                  <a:lnTo>
                    <a:pt x="158686" y="98012"/>
                  </a:lnTo>
                  <a:lnTo>
                    <a:pt x="148018" y="95917"/>
                  </a:lnTo>
                  <a:lnTo>
                    <a:pt x="138779" y="96964"/>
                  </a:lnTo>
                  <a:lnTo>
                    <a:pt x="135445" y="89821"/>
                  </a:lnTo>
                  <a:lnTo>
                    <a:pt x="129254" y="89535"/>
                  </a:lnTo>
                  <a:lnTo>
                    <a:pt x="133635" y="76105"/>
                  </a:lnTo>
                  <a:lnTo>
                    <a:pt x="127159" y="65818"/>
                  </a:lnTo>
                  <a:lnTo>
                    <a:pt x="125063" y="55721"/>
                  </a:lnTo>
                  <a:lnTo>
                    <a:pt x="120967" y="56197"/>
                  </a:lnTo>
                  <a:lnTo>
                    <a:pt x="119729" y="52102"/>
                  </a:lnTo>
                  <a:lnTo>
                    <a:pt x="111728" y="53626"/>
                  </a:lnTo>
                  <a:lnTo>
                    <a:pt x="119919" y="41243"/>
                  </a:lnTo>
                  <a:lnTo>
                    <a:pt x="121729" y="29718"/>
                  </a:lnTo>
                  <a:lnTo>
                    <a:pt x="129254" y="15240"/>
                  </a:lnTo>
                  <a:lnTo>
                    <a:pt x="133826" y="14954"/>
                  </a:lnTo>
                  <a:lnTo>
                    <a:pt x="139065" y="3334"/>
                  </a:lnTo>
                  <a:lnTo>
                    <a:pt x="152685" y="762"/>
                  </a:lnTo>
                  <a:lnTo>
                    <a:pt x="152971" y="762"/>
                  </a:lnTo>
                  <a:lnTo>
                    <a:pt x="153162" y="667"/>
                  </a:lnTo>
                  <a:lnTo>
                    <a:pt x="134683" y="0"/>
                  </a:lnTo>
                  <a:lnTo>
                    <a:pt x="114205" y="11811"/>
                  </a:lnTo>
                  <a:lnTo>
                    <a:pt x="102108" y="10763"/>
                  </a:lnTo>
                  <a:lnTo>
                    <a:pt x="98012" y="25527"/>
                  </a:lnTo>
                  <a:lnTo>
                    <a:pt x="88201" y="20193"/>
                  </a:lnTo>
                  <a:lnTo>
                    <a:pt x="94964" y="14954"/>
                  </a:lnTo>
                  <a:lnTo>
                    <a:pt x="82867" y="15145"/>
                  </a:lnTo>
                  <a:lnTo>
                    <a:pt x="69628" y="34480"/>
                  </a:lnTo>
                  <a:lnTo>
                    <a:pt x="67723" y="49054"/>
                  </a:lnTo>
                  <a:lnTo>
                    <a:pt x="46863" y="61627"/>
                  </a:lnTo>
                  <a:lnTo>
                    <a:pt x="47339" y="75914"/>
                  </a:lnTo>
                  <a:lnTo>
                    <a:pt x="32575" y="65246"/>
                  </a:lnTo>
                  <a:lnTo>
                    <a:pt x="31051" y="68008"/>
                  </a:lnTo>
                  <a:lnTo>
                    <a:pt x="38005" y="78486"/>
                  </a:lnTo>
                  <a:lnTo>
                    <a:pt x="32480" y="80391"/>
                  </a:lnTo>
                  <a:lnTo>
                    <a:pt x="34385" y="83820"/>
                  </a:lnTo>
                  <a:lnTo>
                    <a:pt x="30670" y="87249"/>
                  </a:lnTo>
                  <a:lnTo>
                    <a:pt x="25527" y="84201"/>
                  </a:lnTo>
                  <a:lnTo>
                    <a:pt x="23146" y="92964"/>
                  </a:lnTo>
                  <a:lnTo>
                    <a:pt x="38671" y="119729"/>
                  </a:lnTo>
                  <a:lnTo>
                    <a:pt x="29718" y="127254"/>
                  </a:lnTo>
                  <a:lnTo>
                    <a:pt x="32004" y="156686"/>
                  </a:lnTo>
                  <a:lnTo>
                    <a:pt x="39910" y="158687"/>
                  </a:lnTo>
                  <a:lnTo>
                    <a:pt x="25717" y="184690"/>
                  </a:lnTo>
                  <a:lnTo>
                    <a:pt x="9525" y="187738"/>
                  </a:lnTo>
                  <a:lnTo>
                    <a:pt x="9810" y="199168"/>
                  </a:lnTo>
                  <a:lnTo>
                    <a:pt x="0" y="200215"/>
                  </a:lnTo>
                  <a:lnTo>
                    <a:pt x="1048" y="209455"/>
                  </a:lnTo>
                  <a:lnTo>
                    <a:pt x="8858" y="211169"/>
                  </a:lnTo>
                  <a:lnTo>
                    <a:pt x="31337" y="223075"/>
                  </a:lnTo>
                  <a:lnTo>
                    <a:pt x="32671" y="228314"/>
                  </a:lnTo>
                  <a:lnTo>
                    <a:pt x="52197" y="232696"/>
                  </a:lnTo>
                  <a:lnTo>
                    <a:pt x="52482" y="226219"/>
                  </a:lnTo>
                  <a:lnTo>
                    <a:pt x="60007" y="228029"/>
                  </a:lnTo>
                  <a:lnTo>
                    <a:pt x="64103" y="232029"/>
                  </a:lnTo>
                  <a:lnTo>
                    <a:pt x="75914" y="236887"/>
                  </a:lnTo>
                  <a:lnTo>
                    <a:pt x="84487" y="242506"/>
                  </a:lnTo>
                  <a:lnTo>
                    <a:pt x="89725" y="242506"/>
                  </a:lnTo>
                  <a:lnTo>
                    <a:pt x="93345" y="247650"/>
                  </a:lnTo>
                  <a:lnTo>
                    <a:pt x="94392" y="255365"/>
                  </a:lnTo>
                  <a:lnTo>
                    <a:pt x="102679" y="260032"/>
                  </a:lnTo>
                  <a:lnTo>
                    <a:pt x="107537" y="259652"/>
                  </a:lnTo>
                  <a:lnTo>
                    <a:pt x="109251" y="269557"/>
                  </a:lnTo>
                  <a:lnTo>
                    <a:pt x="114871" y="270605"/>
                  </a:lnTo>
                  <a:lnTo>
                    <a:pt x="117538" y="275749"/>
                  </a:lnTo>
                  <a:lnTo>
                    <a:pt x="115919" y="281654"/>
                  </a:lnTo>
                  <a:lnTo>
                    <a:pt x="122967" y="283750"/>
                  </a:lnTo>
                  <a:lnTo>
                    <a:pt x="128111" y="281083"/>
                  </a:lnTo>
                  <a:lnTo>
                    <a:pt x="135445" y="283940"/>
                  </a:lnTo>
                  <a:lnTo>
                    <a:pt x="144303" y="278511"/>
                  </a:lnTo>
                  <a:lnTo>
                    <a:pt x="151257" y="282130"/>
                  </a:lnTo>
                  <a:lnTo>
                    <a:pt x="158782" y="278130"/>
                  </a:lnTo>
                  <a:lnTo>
                    <a:pt x="165545" y="283845"/>
                  </a:lnTo>
                  <a:lnTo>
                    <a:pt x="177355" y="288417"/>
                  </a:lnTo>
                  <a:lnTo>
                    <a:pt x="164592" y="309563"/>
                  </a:lnTo>
                  <a:lnTo>
                    <a:pt x="169069" y="312230"/>
                  </a:lnTo>
                  <a:lnTo>
                    <a:pt x="173355" y="309848"/>
                  </a:lnTo>
                  <a:lnTo>
                    <a:pt x="180784" y="318611"/>
                  </a:lnTo>
                  <a:lnTo>
                    <a:pt x="191548" y="260985"/>
                  </a:lnTo>
                  <a:lnTo>
                    <a:pt x="186880" y="250793"/>
                  </a:lnTo>
                  <a:lnTo>
                    <a:pt x="186880" y="246126"/>
                  </a:lnTo>
                  <a:lnTo>
                    <a:pt x="178308" y="239173"/>
                  </a:lnTo>
                  <a:lnTo>
                    <a:pt x="178308" y="224695"/>
                  </a:lnTo>
                  <a:lnTo>
                    <a:pt x="196501" y="223742"/>
                  </a:lnTo>
                  <a:lnTo>
                    <a:pt x="195739" y="216217"/>
                  </a:lnTo>
                  <a:lnTo>
                    <a:pt x="182308" y="213836"/>
                  </a:lnTo>
                  <a:lnTo>
                    <a:pt x="182308" y="202216"/>
                  </a:lnTo>
                  <a:lnTo>
                    <a:pt x="213074" y="202216"/>
                  </a:lnTo>
                  <a:lnTo>
                    <a:pt x="213836" y="195834"/>
                  </a:lnTo>
                  <a:lnTo>
                    <a:pt x="222313" y="200596"/>
                  </a:lnTo>
                  <a:lnTo>
                    <a:pt x="229552" y="195834"/>
                  </a:lnTo>
                  <a:lnTo>
                    <a:pt x="232410" y="213836"/>
                  </a:lnTo>
                  <a:lnTo>
                    <a:pt x="241363" y="212122"/>
                  </a:lnTo>
                  <a:lnTo>
                    <a:pt x="234791" y="18907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8" name="Freeform: Shape 2878">
              <a:extLst>
                <a:ext uri="{FF2B5EF4-FFF2-40B4-BE49-F238E27FC236}">
                  <a16:creationId xmlns:a16="http://schemas.microsoft.com/office/drawing/2014/main" id="{8A664A64-9271-4534-6A05-2E6C04B068C1}"/>
                </a:ext>
              </a:extLst>
            </p:cNvPr>
            <p:cNvSpPr/>
            <p:nvPr/>
          </p:nvSpPr>
          <p:spPr>
            <a:xfrm>
              <a:off x="7394828" y="5641689"/>
              <a:ext cx="11430" cy="16763"/>
            </a:xfrm>
            <a:custGeom>
              <a:avLst/>
              <a:gdLst>
                <a:gd name="connsiteX0" fmla="*/ 4191 w 11430"/>
                <a:gd name="connsiteY0" fmla="*/ 16764 h 16763"/>
                <a:gd name="connsiteX1" fmla="*/ 0 w 11430"/>
                <a:gd name="connsiteY1" fmla="*/ 0 h 16763"/>
                <a:gd name="connsiteX2" fmla="*/ 11430 w 11430"/>
                <a:gd name="connsiteY2" fmla="*/ 9049 h 16763"/>
                <a:gd name="connsiteX3" fmla="*/ 4191 w 11430"/>
                <a:gd name="connsiteY3" fmla="*/ 16764 h 16763"/>
              </a:gdLst>
              <a:ahLst/>
              <a:cxnLst>
                <a:cxn ang="0">
                  <a:pos x="connsiteX0" y="connsiteY0"/>
                </a:cxn>
                <a:cxn ang="0">
                  <a:pos x="connsiteX1" y="connsiteY1"/>
                </a:cxn>
                <a:cxn ang="0">
                  <a:pos x="connsiteX2" y="connsiteY2"/>
                </a:cxn>
                <a:cxn ang="0">
                  <a:pos x="connsiteX3" y="connsiteY3"/>
                </a:cxn>
              </a:cxnLst>
              <a:rect l="l" t="t" r="r" b="b"/>
              <a:pathLst>
                <a:path w="11430" h="16763">
                  <a:moveTo>
                    <a:pt x="4191" y="16764"/>
                  </a:moveTo>
                  <a:lnTo>
                    <a:pt x="0" y="0"/>
                  </a:lnTo>
                  <a:lnTo>
                    <a:pt x="11430" y="9049"/>
                  </a:lnTo>
                  <a:lnTo>
                    <a:pt x="4191" y="1676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89" name="Freeform: Shape 2879">
              <a:extLst>
                <a:ext uri="{FF2B5EF4-FFF2-40B4-BE49-F238E27FC236}">
                  <a16:creationId xmlns:a16="http://schemas.microsoft.com/office/drawing/2014/main" id="{BFC5AD7A-1B4C-B165-CB64-2E437F85603B}"/>
                </a:ext>
              </a:extLst>
            </p:cNvPr>
            <p:cNvSpPr/>
            <p:nvPr/>
          </p:nvSpPr>
          <p:spPr>
            <a:xfrm>
              <a:off x="7399591" y="5665406"/>
              <a:ext cx="10287" cy="16859"/>
            </a:xfrm>
            <a:custGeom>
              <a:avLst/>
              <a:gdLst>
                <a:gd name="connsiteX0" fmla="*/ 6954 w 10287"/>
                <a:gd name="connsiteY0" fmla="*/ 16859 h 16859"/>
                <a:gd name="connsiteX1" fmla="*/ 0 w 10287"/>
                <a:gd name="connsiteY1" fmla="*/ 3810 h 16859"/>
                <a:gd name="connsiteX2" fmla="*/ 4858 w 10287"/>
                <a:gd name="connsiteY2" fmla="*/ 0 h 16859"/>
                <a:gd name="connsiteX3" fmla="*/ 10287 w 10287"/>
                <a:gd name="connsiteY3" fmla="*/ 5429 h 16859"/>
                <a:gd name="connsiteX4" fmla="*/ 6954 w 10287"/>
                <a:gd name="connsiteY4" fmla="*/ 16859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 h="16859">
                  <a:moveTo>
                    <a:pt x="6954" y="16859"/>
                  </a:moveTo>
                  <a:lnTo>
                    <a:pt x="0" y="3810"/>
                  </a:lnTo>
                  <a:lnTo>
                    <a:pt x="4858" y="0"/>
                  </a:lnTo>
                  <a:lnTo>
                    <a:pt x="10287" y="5429"/>
                  </a:lnTo>
                  <a:lnTo>
                    <a:pt x="6954" y="1685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0" name="Freeform: Shape 2880">
              <a:extLst>
                <a:ext uri="{FF2B5EF4-FFF2-40B4-BE49-F238E27FC236}">
                  <a16:creationId xmlns:a16="http://schemas.microsoft.com/office/drawing/2014/main" id="{D11F1B77-4BD4-AEB1-07BD-9CC544B851D5}"/>
                </a:ext>
              </a:extLst>
            </p:cNvPr>
            <p:cNvSpPr/>
            <p:nvPr/>
          </p:nvSpPr>
          <p:spPr>
            <a:xfrm>
              <a:off x="7397686" y="5698362"/>
              <a:ext cx="8858" cy="10953"/>
            </a:xfrm>
            <a:custGeom>
              <a:avLst/>
              <a:gdLst>
                <a:gd name="connsiteX0" fmla="*/ 8859 w 8858"/>
                <a:gd name="connsiteY0" fmla="*/ 10954 h 10953"/>
                <a:gd name="connsiteX1" fmla="*/ 8859 w 8858"/>
                <a:gd name="connsiteY1" fmla="*/ 10954 h 10953"/>
                <a:gd name="connsiteX2" fmla="*/ 3620 w 8858"/>
                <a:gd name="connsiteY2" fmla="*/ 8192 h 10953"/>
                <a:gd name="connsiteX3" fmla="*/ 0 w 8858"/>
                <a:gd name="connsiteY3" fmla="*/ 857 h 10953"/>
                <a:gd name="connsiteX4" fmla="*/ 5620 w 8858"/>
                <a:gd name="connsiteY4" fmla="*/ 0 h 10953"/>
                <a:gd name="connsiteX5" fmla="*/ 8573 w 8858"/>
                <a:gd name="connsiteY5" fmla="*/ 6382 h 10953"/>
                <a:gd name="connsiteX6" fmla="*/ 8859 w 8858"/>
                <a:gd name="connsiteY6" fmla="*/ 10954 h 1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8" h="10953">
                  <a:moveTo>
                    <a:pt x="8859" y="10954"/>
                  </a:moveTo>
                  <a:lnTo>
                    <a:pt x="8859" y="10954"/>
                  </a:lnTo>
                  <a:lnTo>
                    <a:pt x="3620" y="8192"/>
                  </a:lnTo>
                  <a:lnTo>
                    <a:pt x="0" y="857"/>
                  </a:lnTo>
                  <a:lnTo>
                    <a:pt x="5620" y="0"/>
                  </a:lnTo>
                  <a:lnTo>
                    <a:pt x="8573" y="6382"/>
                  </a:lnTo>
                  <a:lnTo>
                    <a:pt x="8859" y="1095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1" name="Freeform: Shape 2881">
              <a:extLst>
                <a:ext uri="{FF2B5EF4-FFF2-40B4-BE49-F238E27FC236}">
                  <a16:creationId xmlns:a16="http://schemas.microsoft.com/office/drawing/2014/main" id="{46CFDA28-ED1A-7D57-F21D-DAA2FACD8044}"/>
                </a:ext>
              </a:extLst>
            </p:cNvPr>
            <p:cNvSpPr/>
            <p:nvPr/>
          </p:nvSpPr>
          <p:spPr>
            <a:xfrm>
              <a:off x="7461789" y="5760085"/>
              <a:ext cx="63626" cy="62483"/>
            </a:xfrm>
            <a:custGeom>
              <a:avLst/>
              <a:gdLst>
                <a:gd name="connsiteX0" fmla="*/ 63627 w 63626"/>
                <a:gd name="connsiteY0" fmla="*/ 2286 h 62483"/>
                <a:gd name="connsiteX1" fmla="*/ 60388 w 63626"/>
                <a:gd name="connsiteY1" fmla="*/ 0 h 62483"/>
                <a:gd name="connsiteX2" fmla="*/ 30670 w 63626"/>
                <a:gd name="connsiteY2" fmla="*/ 8572 h 62483"/>
                <a:gd name="connsiteX3" fmla="*/ 34861 w 63626"/>
                <a:gd name="connsiteY3" fmla="*/ 33909 h 62483"/>
                <a:gd name="connsiteX4" fmla="*/ 47244 w 63626"/>
                <a:gd name="connsiteY4" fmla="*/ 48387 h 62483"/>
                <a:gd name="connsiteX5" fmla="*/ 20955 w 63626"/>
                <a:gd name="connsiteY5" fmla="*/ 43624 h 62483"/>
                <a:gd name="connsiteX6" fmla="*/ 0 w 63626"/>
                <a:gd name="connsiteY6" fmla="*/ 53816 h 62483"/>
                <a:gd name="connsiteX7" fmla="*/ 21907 w 63626"/>
                <a:gd name="connsiteY7" fmla="*/ 61341 h 62483"/>
                <a:gd name="connsiteX8" fmla="*/ 37719 w 63626"/>
                <a:gd name="connsiteY8" fmla="*/ 57150 h 62483"/>
                <a:gd name="connsiteX9" fmla="*/ 63627 w 63626"/>
                <a:gd name="connsiteY9" fmla="*/ 62484 h 62483"/>
                <a:gd name="connsiteX10" fmla="*/ 63627 w 63626"/>
                <a:gd name="connsiteY10" fmla="*/ 2286 h 62483"/>
                <a:gd name="connsiteX11" fmla="*/ 63627 w 63626"/>
                <a:gd name="connsiteY11" fmla="*/ 2286 h 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626" h="62483">
                  <a:moveTo>
                    <a:pt x="63627" y="2286"/>
                  </a:moveTo>
                  <a:lnTo>
                    <a:pt x="60388" y="0"/>
                  </a:lnTo>
                  <a:lnTo>
                    <a:pt x="30670" y="8572"/>
                  </a:lnTo>
                  <a:lnTo>
                    <a:pt x="34861" y="33909"/>
                  </a:lnTo>
                  <a:lnTo>
                    <a:pt x="47244" y="48387"/>
                  </a:lnTo>
                  <a:lnTo>
                    <a:pt x="20955" y="43624"/>
                  </a:lnTo>
                  <a:lnTo>
                    <a:pt x="0" y="53816"/>
                  </a:lnTo>
                  <a:lnTo>
                    <a:pt x="21907" y="61341"/>
                  </a:lnTo>
                  <a:lnTo>
                    <a:pt x="37719" y="57150"/>
                  </a:lnTo>
                  <a:lnTo>
                    <a:pt x="63627" y="62484"/>
                  </a:lnTo>
                  <a:lnTo>
                    <a:pt x="63627" y="2286"/>
                  </a:lnTo>
                  <a:lnTo>
                    <a:pt x="63627" y="228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2" name="Freeform: Shape 2882">
              <a:extLst>
                <a:ext uri="{FF2B5EF4-FFF2-40B4-BE49-F238E27FC236}">
                  <a16:creationId xmlns:a16="http://schemas.microsoft.com/office/drawing/2014/main" id="{70518AA9-3A60-E4DD-C2B0-D4B8346DC645}"/>
                </a:ext>
              </a:extLst>
            </p:cNvPr>
            <p:cNvSpPr/>
            <p:nvPr/>
          </p:nvSpPr>
          <p:spPr>
            <a:xfrm>
              <a:off x="7451217" y="5786469"/>
              <a:ext cx="18097" cy="17430"/>
            </a:xfrm>
            <a:custGeom>
              <a:avLst/>
              <a:gdLst>
                <a:gd name="connsiteX0" fmla="*/ 17526 w 18097"/>
                <a:gd name="connsiteY0" fmla="*/ 4191 h 17430"/>
                <a:gd name="connsiteX1" fmla="*/ 17526 w 18097"/>
                <a:gd name="connsiteY1" fmla="*/ 4191 h 17430"/>
                <a:gd name="connsiteX2" fmla="*/ 18097 w 18097"/>
                <a:gd name="connsiteY2" fmla="*/ 9716 h 17430"/>
                <a:gd name="connsiteX3" fmla="*/ 9048 w 18097"/>
                <a:gd name="connsiteY3" fmla="*/ 6953 h 17430"/>
                <a:gd name="connsiteX4" fmla="*/ 14573 w 18097"/>
                <a:gd name="connsiteY4" fmla="*/ 17431 h 17430"/>
                <a:gd name="connsiteX5" fmla="*/ 4953 w 18097"/>
                <a:gd name="connsiteY5" fmla="*/ 13240 h 17430"/>
                <a:gd name="connsiteX6" fmla="*/ 0 w 18097"/>
                <a:gd name="connsiteY6" fmla="*/ 4858 h 17430"/>
                <a:gd name="connsiteX7" fmla="*/ 9525 w 18097"/>
                <a:gd name="connsiteY7" fmla="*/ 0 h 17430"/>
                <a:gd name="connsiteX8" fmla="*/ 17526 w 18097"/>
                <a:gd name="connsiteY8" fmla="*/ 2762 h 17430"/>
                <a:gd name="connsiteX9" fmla="*/ 17526 w 18097"/>
                <a:gd name="connsiteY9" fmla="*/ 4191 h 1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 h="17430">
                  <a:moveTo>
                    <a:pt x="17526" y="4191"/>
                  </a:moveTo>
                  <a:lnTo>
                    <a:pt x="17526" y="4191"/>
                  </a:lnTo>
                  <a:lnTo>
                    <a:pt x="18097" y="9716"/>
                  </a:lnTo>
                  <a:lnTo>
                    <a:pt x="9048" y="6953"/>
                  </a:lnTo>
                  <a:lnTo>
                    <a:pt x="14573" y="17431"/>
                  </a:lnTo>
                  <a:lnTo>
                    <a:pt x="4953" y="13240"/>
                  </a:lnTo>
                  <a:lnTo>
                    <a:pt x="0" y="4858"/>
                  </a:lnTo>
                  <a:lnTo>
                    <a:pt x="9525" y="0"/>
                  </a:lnTo>
                  <a:lnTo>
                    <a:pt x="17526" y="2762"/>
                  </a:lnTo>
                  <a:lnTo>
                    <a:pt x="17526" y="419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3" name="Freeform: Shape 2883">
              <a:extLst>
                <a:ext uri="{FF2B5EF4-FFF2-40B4-BE49-F238E27FC236}">
                  <a16:creationId xmlns:a16="http://schemas.microsoft.com/office/drawing/2014/main" id="{C301BAEB-B3CB-A60A-59C5-B65FDABAC113}"/>
                </a:ext>
              </a:extLst>
            </p:cNvPr>
            <p:cNvSpPr/>
            <p:nvPr/>
          </p:nvSpPr>
          <p:spPr>
            <a:xfrm>
              <a:off x="7413974" y="5514625"/>
              <a:ext cx="14954" cy="23145"/>
            </a:xfrm>
            <a:custGeom>
              <a:avLst/>
              <a:gdLst>
                <a:gd name="connsiteX0" fmla="*/ 3334 w 14954"/>
                <a:gd name="connsiteY0" fmla="*/ 7620 h 23145"/>
                <a:gd name="connsiteX1" fmla="*/ 14954 w 14954"/>
                <a:gd name="connsiteY1" fmla="*/ 0 h 23145"/>
                <a:gd name="connsiteX2" fmla="*/ 12859 w 14954"/>
                <a:gd name="connsiteY2" fmla="*/ 14192 h 23145"/>
                <a:gd name="connsiteX3" fmla="*/ 0 w 14954"/>
                <a:gd name="connsiteY3" fmla="*/ 23146 h 23145"/>
                <a:gd name="connsiteX4" fmla="*/ 3334 w 14954"/>
                <a:gd name="connsiteY4" fmla="*/ 7620 h 2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54" h="23145">
                  <a:moveTo>
                    <a:pt x="3334" y="7620"/>
                  </a:moveTo>
                  <a:lnTo>
                    <a:pt x="14954" y="0"/>
                  </a:lnTo>
                  <a:lnTo>
                    <a:pt x="12859" y="14192"/>
                  </a:lnTo>
                  <a:lnTo>
                    <a:pt x="0" y="23146"/>
                  </a:lnTo>
                  <a:lnTo>
                    <a:pt x="3334" y="762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4" name="Freeform: Shape 2884">
              <a:extLst>
                <a:ext uri="{FF2B5EF4-FFF2-40B4-BE49-F238E27FC236}">
                  <a16:creationId xmlns:a16="http://schemas.microsoft.com/office/drawing/2014/main" id="{4DE67BF6-7D77-E9BF-7FA9-2D2BE9A834BD}"/>
                </a:ext>
              </a:extLst>
            </p:cNvPr>
            <p:cNvSpPr/>
            <p:nvPr/>
          </p:nvSpPr>
          <p:spPr>
            <a:xfrm>
              <a:off x="7498175" y="5829331"/>
              <a:ext cx="37147" cy="20669"/>
            </a:xfrm>
            <a:custGeom>
              <a:avLst/>
              <a:gdLst>
                <a:gd name="connsiteX0" fmla="*/ 31146 w 37147"/>
                <a:gd name="connsiteY0" fmla="*/ 0 h 20669"/>
                <a:gd name="connsiteX1" fmla="*/ 31146 w 37147"/>
                <a:gd name="connsiteY1" fmla="*/ 0 h 20669"/>
                <a:gd name="connsiteX2" fmla="*/ 37147 w 37147"/>
                <a:gd name="connsiteY2" fmla="*/ 20669 h 20669"/>
                <a:gd name="connsiteX3" fmla="*/ 0 w 37147"/>
                <a:gd name="connsiteY3" fmla="*/ 10859 h 20669"/>
                <a:gd name="connsiteX4" fmla="*/ 7429 w 37147"/>
                <a:gd name="connsiteY4" fmla="*/ 1905 h 20669"/>
                <a:gd name="connsiteX5" fmla="*/ 31146 w 37147"/>
                <a:gd name="connsiteY5" fmla="*/ 0 h 2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 h="20669">
                  <a:moveTo>
                    <a:pt x="31146" y="0"/>
                  </a:moveTo>
                  <a:lnTo>
                    <a:pt x="31146" y="0"/>
                  </a:lnTo>
                  <a:lnTo>
                    <a:pt x="37147" y="20669"/>
                  </a:lnTo>
                  <a:lnTo>
                    <a:pt x="0" y="10859"/>
                  </a:lnTo>
                  <a:lnTo>
                    <a:pt x="7429" y="1905"/>
                  </a:lnTo>
                  <a:lnTo>
                    <a:pt x="31146"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5" name="Freeform: Shape 2885">
              <a:extLst>
                <a:ext uri="{FF2B5EF4-FFF2-40B4-BE49-F238E27FC236}">
                  <a16:creationId xmlns:a16="http://schemas.microsoft.com/office/drawing/2014/main" id="{24E09761-C7DD-8615-6A18-3C6FB80C54B8}"/>
                </a:ext>
              </a:extLst>
            </p:cNvPr>
            <p:cNvSpPr/>
            <p:nvPr/>
          </p:nvSpPr>
          <p:spPr>
            <a:xfrm>
              <a:off x="7392066" y="5548058"/>
              <a:ext cx="32099" cy="22859"/>
            </a:xfrm>
            <a:custGeom>
              <a:avLst/>
              <a:gdLst>
                <a:gd name="connsiteX0" fmla="*/ 0 w 32099"/>
                <a:gd name="connsiteY0" fmla="*/ 22860 h 22859"/>
                <a:gd name="connsiteX1" fmla="*/ 0 w 32099"/>
                <a:gd name="connsiteY1" fmla="*/ 22860 h 22859"/>
                <a:gd name="connsiteX2" fmla="*/ 20574 w 32099"/>
                <a:gd name="connsiteY2" fmla="*/ 3334 h 22859"/>
                <a:gd name="connsiteX3" fmla="*/ 32099 w 32099"/>
                <a:gd name="connsiteY3" fmla="*/ 0 h 22859"/>
                <a:gd name="connsiteX4" fmla="*/ 23146 w 32099"/>
                <a:gd name="connsiteY4" fmla="*/ 22860 h 22859"/>
                <a:gd name="connsiteX5" fmla="*/ 0 w 32099"/>
                <a:gd name="connsiteY5" fmla="*/ 22860 h 2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99" h="22859">
                  <a:moveTo>
                    <a:pt x="0" y="22860"/>
                  </a:moveTo>
                  <a:lnTo>
                    <a:pt x="0" y="22860"/>
                  </a:lnTo>
                  <a:lnTo>
                    <a:pt x="20574" y="3334"/>
                  </a:lnTo>
                  <a:lnTo>
                    <a:pt x="32099" y="0"/>
                  </a:lnTo>
                  <a:lnTo>
                    <a:pt x="23146" y="22860"/>
                  </a:lnTo>
                  <a:lnTo>
                    <a:pt x="0" y="2286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6" name="Freeform: Shape 2886">
              <a:extLst>
                <a:ext uri="{FF2B5EF4-FFF2-40B4-BE49-F238E27FC236}">
                  <a16:creationId xmlns:a16="http://schemas.microsoft.com/office/drawing/2014/main" id="{37E2EED1-BC05-8DD9-DFDE-C90B4A73EE3B}"/>
                </a:ext>
              </a:extLst>
            </p:cNvPr>
            <p:cNvSpPr/>
            <p:nvPr/>
          </p:nvSpPr>
          <p:spPr>
            <a:xfrm>
              <a:off x="7385970" y="4958079"/>
              <a:ext cx="172783" cy="822960"/>
            </a:xfrm>
            <a:custGeom>
              <a:avLst/>
              <a:gdLst>
                <a:gd name="connsiteX0" fmla="*/ 166211 w 172783"/>
                <a:gd name="connsiteY0" fmla="*/ 136208 h 822960"/>
                <a:gd name="connsiteX1" fmla="*/ 172784 w 172783"/>
                <a:gd name="connsiteY1" fmla="*/ 115253 h 822960"/>
                <a:gd name="connsiteX2" fmla="*/ 168593 w 172783"/>
                <a:gd name="connsiteY2" fmla="*/ 110776 h 822960"/>
                <a:gd name="connsiteX3" fmla="*/ 155162 w 172783"/>
                <a:gd name="connsiteY3" fmla="*/ 111824 h 822960"/>
                <a:gd name="connsiteX4" fmla="*/ 154400 w 172783"/>
                <a:gd name="connsiteY4" fmla="*/ 96203 h 822960"/>
                <a:gd name="connsiteX5" fmla="*/ 150019 w 172783"/>
                <a:gd name="connsiteY5" fmla="*/ 92107 h 822960"/>
                <a:gd name="connsiteX6" fmla="*/ 149257 w 172783"/>
                <a:gd name="connsiteY6" fmla="*/ 78962 h 822960"/>
                <a:gd name="connsiteX7" fmla="*/ 145161 w 172783"/>
                <a:gd name="connsiteY7" fmla="*/ 71914 h 822960"/>
                <a:gd name="connsiteX8" fmla="*/ 140018 w 172783"/>
                <a:gd name="connsiteY8" fmla="*/ 69913 h 822960"/>
                <a:gd name="connsiteX9" fmla="*/ 143542 w 172783"/>
                <a:gd name="connsiteY9" fmla="*/ 64770 h 822960"/>
                <a:gd name="connsiteX10" fmla="*/ 137922 w 172783"/>
                <a:gd name="connsiteY10" fmla="*/ 61436 h 822960"/>
                <a:gd name="connsiteX11" fmla="*/ 137160 w 172783"/>
                <a:gd name="connsiteY11" fmla="*/ 54388 h 822960"/>
                <a:gd name="connsiteX12" fmla="*/ 142780 w 172783"/>
                <a:gd name="connsiteY12" fmla="*/ 50578 h 822960"/>
                <a:gd name="connsiteX13" fmla="*/ 138684 w 172783"/>
                <a:gd name="connsiteY13" fmla="*/ 45053 h 822960"/>
                <a:gd name="connsiteX14" fmla="*/ 144113 w 172783"/>
                <a:gd name="connsiteY14" fmla="*/ 39243 h 822960"/>
                <a:gd name="connsiteX15" fmla="*/ 133255 w 172783"/>
                <a:gd name="connsiteY15" fmla="*/ 30290 h 822960"/>
                <a:gd name="connsiteX16" fmla="*/ 129635 w 172783"/>
                <a:gd name="connsiteY16" fmla="*/ 15335 h 822960"/>
                <a:gd name="connsiteX17" fmla="*/ 132207 w 172783"/>
                <a:gd name="connsiteY17" fmla="*/ 11811 h 822960"/>
                <a:gd name="connsiteX18" fmla="*/ 126587 w 172783"/>
                <a:gd name="connsiteY18" fmla="*/ 8192 h 822960"/>
                <a:gd name="connsiteX19" fmla="*/ 124206 w 172783"/>
                <a:gd name="connsiteY19" fmla="*/ 0 h 822960"/>
                <a:gd name="connsiteX20" fmla="*/ 116205 w 172783"/>
                <a:gd name="connsiteY20" fmla="*/ 4001 h 822960"/>
                <a:gd name="connsiteX21" fmla="*/ 117824 w 172783"/>
                <a:gd name="connsiteY21" fmla="*/ 10763 h 822960"/>
                <a:gd name="connsiteX22" fmla="*/ 114205 w 172783"/>
                <a:gd name="connsiteY22" fmla="*/ 16574 h 822960"/>
                <a:gd name="connsiteX23" fmla="*/ 104966 w 172783"/>
                <a:gd name="connsiteY23" fmla="*/ 18383 h 822960"/>
                <a:gd name="connsiteX24" fmla="*/ 111919 w 172783"/>
                <a:gd name="connsiteY24" fmla="*/ 81915 h 822960"/>
                <a:gd name="connsiteX25" fmla="*/ 107252 w 172783"/>
                <a:gd name="connsiteY25" fmla="*/ 112776 h 822960"/>
                <a:gd name="connsiteX26" fmla="*/ 98774 w 172783"/>
                <a:gd name="connsiteY26" fmla="*/ 116300 h 822960"/>
                <a:gd name="connsiteX27" fmla="*/ 98107 w 172783"/>
                <a:gd name="connsiteY27" fmla="*/ 125444 h 822960"/>
                <a:gd name="connsiteX28" fmla="*/ 104870 w 172783"/>
                <a:gd name="connsiteY28" fmla="*/ 132969 h 822960"/>
                <a:gd name="connsiteX29" fmla="*/ 104013 w 172783"/>
                <a:gd name="connsiteY29" fmla="*/ 164306 h 822960"/>
                <a:gd name="connsiteX30" fmla="*/ 82868 w 172783"/>
                <a:gd name="connsiteY30" fmla="*/ 240411 h 822960"/>
                <a:gd name="connsiteX31" fmla="*/ 87439 w 172783"/>
                <a:gd name="connsiteY31" fmla="*/ 260033 h 822960"/>
                <a:gd name="connsiteX32" fmla="*/ 78867 w 172783"/>
                <a:gd name="connsiteY32" fmla="*/ 275749 h 822960"/>
                <a:gd name="connsiteX33" fmla="*/ 84201 w 172783"/>
                <a:gd name="connsiteY33" fmla="*/ 321374 h 822960"/>
                <a:gd name="connsiteX34" fmla="*/ 78200 w 172783"/>
                <a:gd name="connsiteY34" fmla="*/ 331470 h 822960"/>
                <a:gd name="connsiteX35" fmla="*/ 68961 w 172783"/>
                <a:gd name="connsiteY35" fmla="*/ 376333 h 822960"/>
                <a:gd name="connsiteX36" fmla="*/ 60389 w 172783"/>
                <a:gd name="connsiteY36" fmla="*/ 387096 h 822960"/>
                <a:gd name="connsiteX37" fmla="*/ 56865 w 172783"/>
                <a:gd name="connsiteY37" fmla="*/ 405670 h 822960"/>
                <a:gd name="connsiteX38" fmla="*/ 48673 w 172783"/>
                <a:gd name="connsiteY38" fmla="*/ 409194 h 822960"/>
                <a:gd name="connsiteX39" fmla="*/ 53816 w 172783"/>
                <a:gd name="connsiteY39" fmla="*/ 421386 h 822960"/>
                <a:gd name="connsiteX40" fmla="*/ 39910 w 172783"/>
                <a:gd name="connsiteY40" fmla="*/ 426339 h 822960"/>
                <a:gd name="connsiteX41" fmla="*/ 49530 w 172783"/>
                <a:gd name="connsiteY41" fmla="*/ 468630 h 822960"/>
                <a:gd name="connsiteX42" fmla="*/ 34004 w 172783"/>
                <a:gd name="connsiteY42" fmla="*/ 513207 h 822960"/>
                <a:gd name="connsiteX43" fmla="*/ 40386 w 172783"/>
                <a:gd name="connsiteY43" fmla="*/ 536353 h 822960"/>
                <a:gd name="connsiteX44" fmla="*/ 54483 w 172783"/>
                <a:gd name="connsiteY44" fmla="*/ 522161 h 822960"/>
                <a:gd name="connsiteX45" fmla="*/ 63722 w 172783"/>
                <a:gd name="connsiteY45" fmla="*/ 527113 h 822960"/>
                <a:gd name="connsiteX46" fmla="*/ 56483 w 172783"/>
                <a:gd name="connsiteY46" fmla="*/ 548735 h 822960"/>
                <a:gd name="connsiteX47" fmla="*/ 58769 w 172783"/>
                <a:gd name="connsiteY47" fmla="*/ 561309 h 822960"/>
                <a:gd name="connsiteX48" fmla="*/ 51149 w 172783"/>
                <a:gd name="connsiteY48" fmla="*/ 569881 h 822960"/>
                <a:gd name="connsiteX49" fmla="*/ 57055 w 172783"/>
                <a:gd name="connsiteY49" fmla="*/ 579311 h 822960"/>
                <a:gd name="connsiteX50" fmla="*/ 47816 w 172783"/>
                <a:gd name="connsiteY50" fmla="*/ 587026 h 822960"/>
                <a:gd name="connsiteX51" fmla="*/ 59722 w 172783"/>
                <a:gd name="connsiteY51" fmla="*/ 599980 h 822960"/>
                <a:gd name="connsiteX52" fmla="*/ 49816 w 172783"/>
                <a:gd name="connsiteY52" fmla="*/ 624459 h 822960"/>
                <a:gd name="connsiteX53" fmla="*/ 40291 w 172783"/>
                <a:gd name="connsiteY53" fmla="*/ 624840 h 822960"/>
                <a:gd name="connsiteX54" fmla="*/ 39910 w 172783"/>
                <a:gd name="connsiteY54" fmla="*/ 633413 h 822960"/>
                <a:gd name="connsiteX55" fmla="*/ 46577 w 172783"/>
                <a:gd name="connsiteY55" fmla="*/ 633508 h 822960"/>
                <a:gd name="connsiteX56" fmla="*/ 38958 w 172783"/>
                <a:gd name="connsiteY56" fmla="*/ 645700 h 822960"/>
                <a:gd name="connsiteX57" fmla="*/ 30385 w 172783"/>
                <a:gd name="connsiteY57" fmla="*/ 627793 h 822960"/>
                <a:gd name="connsiteX58" fmla="*/ 0 w 172783"/>
                <a:gd name="connsiteY58" fmla="*/ 648176 h 822960"/>
                <a:gd name="connsiteX59" fmla="*/ 23432 w 172783"/>
                <a:gd name="connsiteY59" fmla="*/ 652177 h 822960"/>
                <a:gd name="connsiteX60" fmla="*/ 31147 w 172783"/>
                <a:gd name="connsiteY60" fmla="*/ 667512 h 822960"/>
                <a:gd name="connsiteX61" fmla="*/ 49149 w 172783"/>
                <a:gd name="connsiteY61" fmla="*/ 681609 h 822960"/>
                <a:gd name="connsiteX62" fmla="*/ 19717 w 172783"/>
                <a:gd name="connsiteY62" fmla="*/ 677037 h 822960"/>
                <a:gd name="connsiteX63" fmla="*/ 35338 w 172783"/>
                <a:gd name="connsiteY63" fmla="*/ 705993 h 822960"/>
                <a:gd name="connsiteX64" fmla="*/ 36386 w 172783"/>
                <a:gd name="connsiteY64" fmla="*/ 712375 h 822960"/>
                <a:gd name="connsiteX65" fmla="*/ 31337 w 172783"/>
                <a:gd name="connsiteY65" fmla="*/ 717804 h 822960"/>
                <a:gd name="connsiteX66" fmla="*/ 38100 w 172783"/>
                <a:gd name="connsiteY66" fmla="*/ 720947 h 822960"/>
                <a:gd name="connsiteX67" fmla="*/ 32385 w 172783"/>
                <a:gd name="connsiteY67" fmla="*/ 723995 h 822960"/>
                <a:gd name="connsiteX68" fmla="*/ 35623 w 172783"/>
                <a:gd name="connsiteY68" fmla="*/ 727234 h 822960"/>
                <a:gd name="connsiteX69" fmla="*/ 28099 w 172783"/>
                <a:gd name="connsiteY69" fmla="*/ 730758 h 822960"/>
                <a:gd name="connsiteX70" fmla="*/ 36290 w 172783"/>
                <a:gd name="connsiteY70" fmla="*/ 738473 h 822960"/>
                <a:gd name="connsiteX71" fmla="*/ 19812 w 172783"/>
                <a:gd name="connsiteY71" fmla="*/ 735711 h 822960"/>
                <a:gd name="connsiteX72" fmla="*/ 35623 w 172783"/>
                <a:gd name="connsiteY72" fmla="*/ 767810 h 822960"/>
                <a:gd name="connsiteX73" fmla="*/ 35623 w 172783"/>
                <a:gd name="connsiteY73" fmla="*/ 774763 h 822960"/>
                <a:gd name="connsiteX74" fmla="*/ 44196 w 172783"/>
                <a:gd name="connsiteY74" fmla="*/ 776573 h 822960"/>
                <a:gd name="connsiteX75" fmla="*/ 45530 w 172783"/>
                <a:gd name="connsiteY75" fmla="*/ 785717 h 822960"/>
                <a:gd name="connsiteX76" fmla="*/ 64008 w 172783"/>
                <a:gd name="connsiteY76" fmla="*/ 779336 h 822960"/>
                <a:gd name="connsiteX77" fmla="*/ 44577 w 172783"/>
                <a:gd name="connsiteY77" fmla="*/ 812863 h 822960"/>
                <a:gd name="connsiteX78" fmla="*/ 83820 w 172783"/>
                <a:gd name="connsiteY78" fmla="*/ 802672 h 822960"/>
                <a:gd name="connsiteX79" fmla="*/ 61532 w 172783"/>
                <a:gd name="connsiteY79" fmla="*/ 820865 h 822960"/>
                <a:gd name="connsiteX80" fmla="*/ 80867 w 172783"/>
                <a:gd name="connsiteY80" fmla="*/ 822960 h 822960"/>
                <a:gd name="connsiteX81" fmla="*/ 90964 w 172783"/>
                <a:gd name="connsiteY81" fmla="*/ 804672 h 822960"/>
                <a:gd name="connsiteX82" fmla="*/ 119539 w 172783"/>
                <a:gd name="connsiteY82" fmla="*/ 799910 h 822960"/>
                <a:gd name="connsiteX83" fmla="*/ 124111 w 172783"/>
                <a:gd name="connsiteY83" fmla="*/ 792194 h 822960"/>
                <a:gd name="connsiteX84" fmla="*/ 143923 w 172783"/>
                <a:gd name="connsiteY84" fmla="*/ 795814 h 822960"/>
                <a:gd name="connsiteX85" fmla="*/ 139922 w 172783"/>
                <a:gd name="connsiteY85" fmla="*/ 787242 h 822960"/>
                <a:gd name="connsiteX86" fmla="*/ 127921 w 172783"/>
                <a:gd name="connsiteY86" fmla="*/ 786098 h 822960"/>
                <a:gd name="connsiteX87" fmla="*/ 122301 w 172783"/>
                <a:gd name="connsiteY87" fmla="*/ 786956 h 822960"/>
                <a:gd name="connsiteX88" fmla="*/ 112205 w 172783"/>
                <a:gd name="connsiteY88" fmla="*/ 782384 h 822960"/>
                <a:gd name="connsiteX89" fmla="*/ 74105 w 172783"/>
                <a:gd name="connsiteY89" fmla="*/ 782384 h 822960"/>
                <a:gd name="connsiteX90" fmla="*/ 75057 w 172783"/>
                <a:gd name="connsiteY90" fmla="*/ 777240 h 822960"/>
                <a:gd name="connsiteX91" fmla="*/ 66008 w 172783"/>
                <a:gd name="connsiteY91" fmla="*/ 770287 h 822960"/>
                <a:gd name="connsiteX92" fmla="*/ 68675 w 172783"/>
                <a:gd name="connsiteY92" fmla="*/ 764858 h 822960"/>
                <a:gd name="connsiteX93" fmla="*/ 64294 w 172783"/>
                <a:gd name="connsiteY93" fmla="*/ 761143 h 822960"/>
                <a:gd name="connsiteX94" fmla="*/ 68675 w 172783"/>
                <a:gd name="connsiteY94" fmla="*/ 756571 h 822960"/>
                <a:gd name="connsiteX95" fmla="*/ 67342 w 172783"/>
                <a:gd name="connsiteY95" fmla="*/ 747427 h 822960"/>
                <a:gd name="connsiteX96" fmla="*/ 61532 w 172783"/>
                <a:gd name="connsiteY96" fmla="*/ 748760 h 822960"/>
                <a:gd name="connsiteX97" fmla="*/ 57721 w 172783"/>
                <a:gd name="connsiteY97" fmla="*/ 746379 h 822960"/>
                <a:gd name="connsiteX98" fmla="*/ 50482 w 172783"/>
                <a:gd name="connsiteY98" fmla="*/ 751142 h 822960"/>
                <a:gd name="connsiteX99" fmla="*/ 48578 w 172783"/>
                <a:gd name="connsiteY99" fmla="*/ 737997 h 822960"/>
                <a:gd name="connsiteX100" fmla="*/ 43149 w 172783"/>
                <a:gd name="connsiteY100" fmla="*/ 733330 h 822960"/>
                <a:gd name="connsiteX101" fmla="*/ 45339 w 172783"/>
                <a:gd name="connsiteY101" fmla="*/ 725234 h 822960"/>
                <a:gd name="connsiteX102" fmla="*/ 44101 w 172783"/>
                <a:gd name="connsiteY102" fmla="*/ 713994 h 822960"/>
                <a:gd name="connsiteX103" fmla="*/ 50864 w 172783"/>
                <a:gd name="connsiteY103" fmla="*/ 713042 h 822960"/>
                <a:gd name="connsiteX104" fmla="*/ 53816 w 172783"/>
                <a:gd name="connsiteY104" fmla="*/ 704945 h 822960"/>
                <a:gd name="connsiteX105" fmla="*/ 63055 w 172783"/>
                <a:gd name="connsiteY105" fmla="*/ 700850 h 822960"/>
                <a:gd name="connsiteX106" fmla="*/ 62103 w 172783"/>
                <a:gd name="connsiteY106" fmla="*/ 694182 h 822960"/>
                <a:gd name="connsiteX107" fmla="*/ 68675 w 172783"/>
                <a:gd name="connsiteY107" fmla="*/ 691325 h 822960"/>
                <a:gd name="connsiteX108" fmla="*/ 67723 w 172783"/>
                <a:gd name="connsiteY108" fmla="*/ 683895 h 822960"/>
                <a:gd name="connsiteX109" fmla="*/ 62293 w 172783"/>
                <a:gd name="connsiteY109" fmla="*/ 679609 h 822960"/>
                <a:gd name="connsiteX110" fmla="*/ 70295 w 172783"/>
                <a:gd name="connsiteY110" fmla="*/ 667417 h 822960"/>
                <a:gd name="connsiteX111" fmla="*/ 71818 w 172783"/>
                <a:gd name="connsiteY111" fmla="*/ 661988 h 822960"/>
                <a:gd name="connsiteX112" fmla="*/ 75819 w 172783"/>
                <a:gd name="connsiteY112" fmla="*/ 661988 h 822960"/>
                <a:gd name="connsiteX113" fmla="*/ 74105 w 172783"/>
                <a:gd name="connsiteY113" fmla="*/ 653129 h 822960"/>
                <a:gd name="connsiteX114" fmla="*/ 80106 w 172783"/>
                <a:gd name="connsiteY114" fmla="*/ 649319 h 822960"/>
                <a:gd name="connsiteX115" fmla="*/ 75819 w 172783"/>
                <a:gd name="connsiteY115" fmla="*/ 636365 h 822960"/>
                <a:gd name="connsiteX116" fmla="*/ 81629 w 172783"/>
                <a:gd name="connsiteY116" fmla="*/ 632555 h 822960"/>
                <a:gd name="connsiteX117" fmla="*/ 77058 w 172783"/>
                <a:gd name="connsiteY117" fmla="*/ 626555 h 822960"/>
                <a:gd name="connsiteX118" fmla="*/ 79343 w 172783"/>
                <a:gd name="connsiteY118" fmla="*/ 621125 h 822960"/>
                <a:gd name="connsiteX119" fmla="*/ 86678 w 172783"/>
                <a:gd name="connsiteY119" fmla="*/ 615887 h 822960"/>
                <a:gd name="connsiteX120" fmla="*/ 82010 w 172783"/>
                <a:gd name="connsiteY120" fmla="*/ 609886 h 822960"/>
                <a:gd name="connsiteX121" fmla="*/ 71438 w 172783"/>
                <a:gd name="connsiteY121" fmla="*/ 607028 h 822960"/>
                <a:gd name="connsiteX122" fmla="*/ 72200 w 172783"/>
                <a:gd name="connsiteY122" fmla="*/ 600551 h 822960"/>
                <a:gd name="connsiteX123" fmla="*/ 87630 w 172783"/>
                <a:gd name="connsiteY123" fmla="*/ 603885 h 822960"/>
                <a:gd name="connsiteX124" fmla="*/ 90774 w 172783"/>
                <a:gd name="connsiteY124" fmla="*/ 593884 h 822960"/>
                <a:gd name="connsiteX125" fmla="*/ 76867 w 172783"/>
                <a:gd name="connsiteY125" fmla="*/ 592646 h 822960"/>
                <a:gd name="connsiteX126" fmla="*/ 75533 w 172783"/>
                <a:gd name="connsiteY126" fmla="*/ 586740 h 822960"/>
                <a:gd name="connsiteX127" fmla="*/ 80106 w 172783"/>
                <a:gd name="connsiteY127" fmla="*/ 581692 h 822960"/>
                <a:gd name="connsiteX128" fmla="*/ 78962 w 172783"/>
                <a:gd name="connsiteY128" fmla="*/ 575025 h 822960"/>
                <a:gd name="connsiteX129" fmla="*/ 74295 w 172783"/>
                <a:gd name="connsiteY129" fmla="*/ 569976 h 822960"/>
                <a:gd name="connsiteX130" fmla="*/ 79724 w 172783"/>
                <a:gd name="connsiteY130" fmla="*/ 564737 h 822960"/>
                <a:gd name="connsiteX131" fmla="*/ 70485 w 172783"/>
                <a:gd name="connsiteY131" fmla="*/ 558546 h 822960"/>
                <a:gd name="connsiteX132" fmla="*/ 72771 w 172783"/>
                <a:gd name="connsiteY132" fmla="*/ 546545 h 822960"/>
                <a:gd name="connsiteX133" fmla="*/ 71818 w 172783"/>
                <a:gd name="connsiteY133" fmla="*/ 538258 h 822960"/>
                <a:gd name="connsiteX134" fmla="*/ 76486 w 172783"/>
                <a:gd name="connsiteY134" fmla="*/ 541115 h 822960"/>
                <a:gd name="connsiteX135" fmla="*/ 79343 w 172783"/>
                <a:gd name="connsiteY135" fmla="*/ 537020 h 822960"/>
                <a:gd name="connsiteX136" fmla="*/ 75248 w 172783"/>
                <a:gd name="connsiteY136" fmla="*/ 526066 h 822960"/>
                <a:gd name="connsiteX137" fmla="*/ 76867 w 172783"/>
                <a:gd name="connsiteY137" fmla="*/ 510254 h 822960"/>
                <a:gd name="connsiteX138" fmla="*/ 74486 w 172783"/>
                <a:gd name="connsiteY138" fmla="*/ 503587 h 822960"/>
                <a:gd name="connsiteX139" fmla="*/ 80106 w 172783"/>
                <a:gd name="connsiteY139" fmla="*/ 495491 h 822960"/>
                <a:gd name="connsiteX140" fmla="*/ 76676 w 172783"/>
                <a:gd name="connsiteY140" fmla="*/ 489776 h 822960"/>
                <a:gd name="connsiteX141" fmla="*/ 81249 w 172783"/>
                <a:gd name="connsiteY141" fmla="*/ 486823 h 822960"/>
                <a:gd name="connsiteX142" fmla="*/ 78772 w 172783"/>
                <a:gd name="connsiteY142" fmla="*/ 476250 h 822960"/>
                <a:gd name="connsiteX143" fmla="*/ 84582 w 172783"/>
                <a:gd name="connsiteY143" fmla="*/ 476917 h 822960"/>
                <a:gd name="connsiteX144" fmla="*/ 84963 w 172783"/>
                <a:gd name="connsiteY144" fmla="*/ 462725 h 822960"/>
                <a:gd name="connsiteX145" fmla="*/ 96012 w 172783"/>
                <a:gd name="connsiteY145" fmla="*/ 457486 h 822960"/>
                <a:gd name="connsiteX146" fmla="*/ 96964 w 172783"/>
                <a:gd name="connsiteY146" fmla="*/ 453295 h 822960"/>
                <a:gd name="connsiteX147" fmla="*/ 92869 w 172783"/>
                <a:gd name="connsiteY147" fmla="*/ 448723 h 822960"/>
                <a:gd name="connsiteX148" fmla="*/ 88868 w 172783"/>
                <a:gd name="connsiteY148" fmla="*/ 434721 h 822960"/>
                <a:gd name="connsiteX149" fmla="*/ 91726 w 172783"/>
                <a:gd name="connsiteY149" fmla="*/ 429863 h 822960"/>
                <a:gd name="connsiteX150" fmla="*/ 88487 w 172783"/>
                <a:gd name="connsiteY150" fmla="*/ 426149 h 822960"/>
                <a:gd name="connsiteX151" fmla="*/ 91916 w 172783"/>
                <a:gd name="connsiteY151" fmla="*/ 421577 h 822960"/>
                <a:gd name="connsiteX152" fmla="*/ 89059 w 172783"/>
                <a:gd name="connsiteY152" fmla="*/ 417576 h 822960"/>
                <a:gd name="connsiteX153" fmla="*/ 93250 w 172783"/>
                <a:gd name="connsiteY153" fmla="*/ 406051 h 822960"/>
                <a:gd name="connsiteX154" fmla="*/ 98679 w 172783"/>
                <a:gd name="connsiteY154" fmla="*/ 406241 h 822960"/>
                <a:gd name="connsiteX155" fmla="*/ 99632 w 172783"/>
                <a:gd name="connsiteY155" fmla="*/ 399669 h 822960"/>
                <a:gd name="connsiteX156" fmla="*/ 105061 w 172783"/>
                <a:gd name="connsiteY156" fmla="*/ 399193 h 822960"/>
                <a:gd name="connsiteX157" fmla="*/ 106489 w 172783"/>
                <a:gd name="connsiteY157" fmla="*/ 392430 h 822960"/>
                <a:gd name="connsiteX158" fmla="*/ 104870 w 172783"/>
                <a:gd name="connsiteY158" fmla="*/ 384334 h 822960"/>
                <a:gd name="connsiteX159" fmla="*/ 101251 w 172783"/>
                <a:gd name="connsiteY159" fmla="*/ 379571 h 822960"/>
                <a:gd name="connsiteX160" fmla="*/ 106204 w 172783"/>
                <a:gd name="connsiteY160" fmla="*/ 376238 h 822960"/>
                <a:gd name="connsiteX161" fmla="*/ 105823 w 172783"/>
                <a:gd name="connsiteY161" fmla="*/ 367951 h 822960"/>
                <a:gd name="connsiteX162" fmla="*/ 111443 w 172783"/>
                <a:gd name="connsiteY162" fmla="*/ 361760 h 822960"/>
                <a:gd name="connsiteX163" fmla="*/ 111633 w 172783"/>
                <a:gd name="connsiteY163" fmla="*/ 357569 h 822960"/>
                <a:gd name="connsiteX164" fmla="*/ 116491 w 172783"/>
                <a:gd name="connsiteY164" fmla="*/ 356521 h 822960"/>
                <a:gd name="connsiteX165" fmla="*/ 114586 w 172783"/>
                <a:gd name="connsiteY165" fmla="*/ 344710 h 822960"/>
                <a:gd name="connsiteX166" fmla="*/ 118015 w 172783"/>
                <a:gd name="connsiteY166" fmla="*/ 338614 h 822960"/>
                <a:gd name="connsiteX167" fmla="*/ 116110 w 172783"/>
                <a:gd name="connsiteY167" fmla="*/ 333566 h 822960"/>
                <a:gd name="connsiteX168" fmla="*/ 112205 w 172783"/>
                <a:gd name="connsiteY168" fmla="*/ 336137 h 822960"/>
                <a:gd name="connsiteX169" fmla="*/ 110300 w 172783"/>
                <a:gd name="connsiteY169" fmla="*/ 332042 h 822960"/>
                <a:gd name="connsiteX170" fmla="*/ 114015 w 172783"/>
                <a:gd name="connsiteY170" fmla="*/ 326708 h 822960"/>
                <a:gd name="connsiteX171" fmla="*/ 109918 w 172783"/>
                <a:gd name="connsiteY171" fmla="*/ 322612 h 822960"/>
                <a:gd name="connsiteX172" fmla="*/ 105061 w 172783"/>
                <a:gd name="connsiteY172" fmla="*/ 309277 h 822960"/>
                <a:gd name="connsiteX173" fmla="*/ 109157 w 172783"/>
                <a:gd name="connsiteY173" fmla="*/ 306419 h 822960"/>
                <a:gd name="connsiteX174" fmla="*/ 103347 w 172783"/>
                <a:gd name="connsiteY174" fmla="*/ 302038 h 822960"/>
                <a:gd name="connsiteX175" fmla="*/ 101060 w 172783"/>
                <a:gd name="connsiteY175" fmla="*/ 296323 h 822960"/>
                <a:gd name="connsiteX176" fmla="*/ 103156 w 172783"/>
                <a:gd name="connsiteY176" fmla="*/ 286893 h 822960"/>
                <a:gd name="connsiteX177" fmla="*/ 107442 w 172783"/>
                <a:gd name="connsiteY177" fmla="*/ 286417 h 822960"/>
                <a:gd name="connsiteX178" fmla="*/ 106775 w 172783"/>
                <a:gd name="connsiteY178" fmla="*/ 279273 h 822960"/>
                <a:gd name="connsiteX179" fmla="*/ 109728 w 172783"/>
                <a:gd name="connsiteY179" fmla="*/ 269843 h 822960"/>
                <a:gd name="connsiteX180" fmla="*/ 114776 w 172783"/>
                <a:gd name="connsiteY180" fmla="*/ 270891 h 822960"/>
                <a:gd name="connsiteX181" fmla="*/ 116872 w 172783"/>
                <a:gd name="connsiteY181" fmla="*/ 264605 h 822960"/>
                <a:gd name="connsiteX182" fmla="*/ 113252 w 172783"/>
                <a:gd name="connsiteY182" fmla="*/ 263081 h 822960"/>
                <a:gd name="connsiteX183" fmla="*/ 114586 w 172783"/>
                <a:gd name="connsiteY183" fmla="*/ 258223 h 822960"/>
                <a:gd name="connsiteX184" fmla="*/ 112014 w 172783"/>
                <a:gd name="connsiteY184" fmla="*/ 247079 h 822960"/>
                <a:gd name="connsiteX185" fmla="*/ 116491 w 172783"/>
                <a:gd name="connsiteY185" fmla="*/ 243459 h 822960"/>
                <a:gd name="connsiteX186" fmla="*/ 119443 w 172783"/>
                <a:gd name="connsiteY186" fmla="*/ 227838 h 822960"/>
                <a:gd name="connsiteX187" fmla="*/ 123444 w 172783"/>
                <a:gd name="connsiteY187" fmla="*/ 222695 h 822960"/>
                <a:gd name="connsiteX188" fmla="*/ 129254 w 172783"/>
                <a:gd name="connsiteY188" fmla="*/ 219361 h 822960"/>
                <a:gd name="connsiteX189" fmla="*/ 135064 w 172783"/>
                <a:gd name="connsiteY189" fmla="*/ 206216 h 822960"/>
                <a:gd name="connsiteX190" fmla="*/ 135255 w 172783"/>
                <a:gd name="connsiteY190" fmla="*/ 201930 h 822960"/>
                <a:gd name="connsiteX191" fmla="*/ 146114 w 172783"/>
                <a:gd name="connsiteY191" fmla="*/ 200692 h 822960"/>
                <a:gd name="connsiteX192" fmla="*/ 147066 w 172783"/>
                <a:gd name="connsiteY192" fmla="*/ 197834 h 822960"/>
                <a:gd name="connsiteX193" fmla="*/ 140875 w 172783"/>
                <a:gd name="connsiteY193" fmla="*/ 188786 h 822960"/>
                <a:gd name="connsiteX194" fmla="*/ 140875 w 172783"/>
                <a:gd name="connsiteY194" fmla="*/ 184880 h 822960"/>
                <a:gd name="connsiteX195" fmla="*/ 145161 w 172783"/>
                <a:gd name="connsiteY195" fmla="*/ 181166 h 822960"/>
                <a:gd name="connsiteX196" fmla="*/ 140303 w 172783"/>
                <a:gd name="connsiteY196" fmla="*/ 167640 h 822960"/>
                <a:gd name="connsiteX197" fmla="*/ 142018 w 172783"/>
                <a:gd name="connsiteY197" fmla="*/ 161068 h 822960"/>
                <a:gd name="connsiteX198" fmla="*/ 146304 w 172783"/>
                <a:gd name="connsiteY198" fmla="*/ 159449 h 822960"/>
                <a:gd name="connsiteX199" fmla="*/ 144589 w 172783"/>
                <a:gd name="connsiteY199" fmla="*/ 154496 h 822960"/>
                <a:gd name="connsiteX200" fmla="*/ 140684 w 172783"/>
                <a:gd name="connsiteY200" fmla="*/ 153067 h 822960"/>
                <a:gd name="connsiteX201" fmla="*/ 144589 w 172783"/>
                <a:gd name="connsiteY201" fmla="*/ 145447 h 822960"/>
                <a:gd name="connsiteX202" fmla="*/ 166211 w 172783"/>
                <a:gd name="connsiteY202" fmla="*/ 136208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172783" h="822960">
                  <a:moveTo>
                    <a:pt x="166211" y="136208"/>
                  </a:moveTo>
                  <a:lnTo>
                    <a:pt x="172784" y="115253"/>
                  </a:lnTo>
                  <a:lnTo>
                    <a:pt x="168593" y="110776"/>
                  </a:lnTo>
                  <a:lnTo>
                    <a:pt x="155162" y="111824"/>
                  </a:lnTo>
                  <a:lnTo>
                    <a:pt x="154400" y="96203"/>
                  </a:lnTo>
                  <a:lnTo>
                    <a:pt x="150019" y="92107"/>
                  </a:lnTo>
                  <a:lnTo>
                    <a:pt x="149257" y="78962"/>
                  </a:lnTo>
                  <a:lnTo>
                    <a:pt x="145161" y="71914"/>
                  </a:lnTo>
                  <a:lnTo>
                    <a:pt x="140018" y="69913"/>
                  </a:lnTo>
                  <a:lnTo>
                    <a:pt x="143542" y="64770"/>
                  </a:lnTo>
                  <a:lnTo>
                    <a:pt x="137922" y="61436"/>
                  </a:lnTo>
                  <a:lnTo>
                    <a:pt x="137160" y="54388"/>
                  </a:lnTo>
                  <a:lnTo>
                    <a:pt x="142780" y="50578"/>
                  </a:lnTo>
                  <a:lnTo>
                    <a:pt x="138684" y="45053"/>
                  </a:lnTo>
                  <a:lnTo>
                    <a:pt x="144113" y="39243"/>
                  </a:lnTo>
                  <a:lnTo>
                    <a:pt x="133255" y="30290"/>
                  </a:lnTo>
                  <a:lnTo>
                    <a:pt x="129635" y="15335"/>
                  </a:lnTo>
                  <a:lnTo>
                    <a:pt x="132207" y="11811"/>
                  </a:lnTo>
                  <a:lnTo>
                    <a:pt x="126587" y="8192"/>
                  </a:lnTo>
                  <a:lnTo>
                    <a:pt x="124206" y="0"/>
                  </a:lnTo>
                  <a:lnTo>
                    <a:pt x="116205" y="4001"/>
                  </a:lnTo>
                  <a:lnTo>
                    <a:pt x="117824" y="10763"/>
                  </a:lnTo>
                  <a:lnTo>
                    <a:pt x="114205" y="16574"/>
                  </a:lnTo>
                  <a:lnTo>
                    <a:pt x="104966" y="18383"/>
                  </a:lnTo>
                  <a:lnTo>
                    <a:pt x="111919" y="81915"/>
                  </a:lnTo>
                  <a:lnTo>
                    <a:pt x="107252" y="112776"/>
                  </a:lnTo>
                  <a:lnTo>
                    <a:pt x="98774" y="116300"/>
                  </a:lnTo>
                  <a:lnTo>
                    <a:pt x="98107" y="125444"/>
                  </a:lnTo>
                  <a:lnTo>
                    <a:pt x="104870" y="132969"/>
                  </a:lnTo>
                  <a:lnTo>
                    <a:pt x="104013" y="164306"/>
                  </a:lnTo>
                  <a:lnTo>
                    <a:pt x="82868" y="240411"/>
                  </a:lnTo>
                  <a:lnTo>
                    <a:pt x="87439" y="260033"/>
                  </a:lnTo>
                  <a:lnTo>
                    <a:pt x="78867" y="275749"/>
                  </a:lnTo>
                  <a:lnTo>
                    <a:pt x="84201" y="321374"/>
                  </a:lnTo>
                  <a:lnTo>
                    <a:pt x="78200" y="331470"/>
                  </a:lnTo>
                  <a:lnTo>
                    <a:pt x="68961" y="376333"/>
                  </a:lnTo>
                  <a:lnTo>
                    <a:pt x="60389" y="387096"/>
                  </a:lnTo>
                  <a:lnTo>
                    <a:pt x="56865" y="405670"/>
                  </a:lnTo>
                  <a:lnTo>
                    <a:pt x="48673" y="409194"/>
                  </a:lnTo>
                  <a:lnTo>
                    <a:pt x="53816" y="421386"/>
                  </a:lnTo>
                  <a:lnTo>
                    <a:pt x="39910" y="426339"/>
                  </a:lnTo>
                  <a:lnTo>
                    <a:pt x="49530" y="468630"/>
                  </a:lnTo>
                  <a:lnTo>
                    <a:pt x="34004" y="513207"/>
                  </a:lnTo>
                  <a:lnTo>
                    <a:pt x="40386" y="536353"/>
                  </a:lnTo>
                  <a:lnTo>
                    <a:pt x="54483" y="522161"/>
                  </a:lnTo>
                  <a:lnTo>
                    <a:pt x="63722" y="527113"/>
                  </a:lnTo>
                  <a:lnTo>
                    <a:pt x="56483" y="548735"/>
                  </a:lnTo>
                  <a:lnTo>
                    <a:pt x="58769" y="561309"/>
                  </a:lnTo>
                  <a:lnTo>
                    <a:pt x="51149" y="569881"/>
                  </a:lnTo>
                  <a:lnTo>
                    <a:pt x="57055" y="579311"/>
                  </a:lnTo>
                  <a:lnTo>
                    <a:pt x="47816" y="587026"/>
                  </a:lnTo>
                  <a:lnTo>
                    <a:pt x="59722" y="599980"/>
                  </a:lnTo>
                  <a:lnTo>
                    <a:pt x="49816" y="624459"/>
                  </a:lnTo>
                  <a:lnTo>
                    <a:pt x="40291" y="624840"/>
                  </a:lnTo>
                  <a:lnTo>
                    <a:pt x="39910" y="633413"/>
                  </a:lnTo>
                  <a:lnTo>
                    <a:pt x="46577" y="633508"/>
                  </a:lnTo>
                  <a:lnTo>
                    <a:pt x="38958" y="645700"/>
                  </a:lnTo>
                  <a:lnTo>
                    <a:pt x="30385" y="627793"/>
                  </a:lnTo>
                  <a:lnTo>
                    <a:pt x="0" y="648176"/>
                  </a:lnTo>
                  <a:lnTo>
                    <a:pt x="23432" y="652177"/>
                  </a:lnTo>
                  <a:lnTo>
                    <a:pt x="31147" y="667512"/>
                  </a:lnTo>
                  <a:lnTo>
                    <a:pt x="49149" y="681609"/>
                  </a:lnTo>
                  <a:lnTo>
                    <a:pt x="19717" y="677037"/>
                  </a:lnTo>
                  <a:lnTo>
                    <a:pt x="35338" y="705993"/>
                  </a:lnTo>
                  <a:lnTo>
                    <a:pt x="36386" y="712375"/>
                  </a:lnTo>
                  <a:lnTo>
                    <a:pt x="31337" y="717804"/>
                  </a:lnTo>
                  <a:lnTo>
                    <a:pt x="38100" y="720947"/>
                  </a:lnTo>
                  <a:lnTo>
                    <a:pt x="32385" y="723995"/>
                  </a:lnTo>
                  <a:lnTo>
                    <a:pt x="35623" y="727234"/>
                  </a:lnTo>
                  <a:lnTo>
                    <a:pt x="28099" y="730758"/>
                  </a:lnTo>
                  <a:lnTo>
                    <a:pt x="36290" y="738473"/>
                  </a:lnTo>
                  <a:lnTo>
                    <a:pt x="19812" y="735711"/>
                  </a:lnTo>
                  <a:lnTo>
                    <a:pt x="35623" y="767810"/>
                  </a:lnTo>
                  <a:lnTo>
                    <a:pt x="35623" y="774763"/>
                  </a:lnTo>
                  <a:lnTo>
                    <a:pt x="44196" y="776573"/>
                  </a:lnTo>
                  <a:lnTo>
                    <a:pt x="45530" y="785717"/>
                  </a:lnTo>
                  <a:lnTo>
                    <a:pt x="64008" y="779336"/>
                  </a:lnTo>
                  <a:lnTo>
                    <a:pt x="44577" y="812863"/>
                  </a:lnTo>
                  <a:lnTo>
                    <a:pt x="83820" y="802672"/>
                  </a:lnTo>
                  <a:lnTo>
                    <a:pt x="61532" y="820865"/>
                  </a:lnTo>
                  <a:lnTo>
                    <a:pt x="80867" y="822960"/>
                  </a:lnTo>
                  <a:lnTo>
                    <a:pt x="90964" y="804672"/>
                  </a:lnTo>
                  <a:lnTo>
                    <a:pt x="119539" y="799910"/>
                  </a:lnTo>
                  <a:lnTo>
                    <a:pt x="124111" y="792194"/>
                  </a:lnTo>
                  <a:lnTo>
                    <a:pt x="143923" y="795814"/>
                  </a:lnTo>
                  <a:lnTo>
                    <a:pt x="139922" y="787242"/>
                  </a:lnTo>
                  <a:lnTo>
                    <a:pt x="127921" y="786098"/>
                  </a:lnTo>
                  <a:lnTo>
                    <a:pt x="122301" y="786956"/>
                  </a:lnTo>
                  <a:lnTo>
                    <a:pt x="112205" y="782384"/>
                  </a:lnTo>
                  <a:lnTo>
                    <a:pt x="74105" y="782384"/>
                  </a:lnTo>
                  <a:lnTo>
                    <a:pt x="75057" y="777240"/>
                  </a:lnTo>
                  <a:lnTo>
                    <a:pt x="66008" y="770287"/>
                  </a:lnTo>
                  <a:lnTo>
                    <a:pt x="68675" y="764858"/>
                  </a:lnTo>
                  <a:lnTo>
                    <a:pt x="64294" y="761143"/>
                  </a:lnTo>
                  <a:lnTo>
                    <a:pt x="68675" y="756571"/>
                  </a:lnTo>
                  <a:lnTo>
                    <a:pt x="67342" y="747427"/>
                  </a:lnTo>
                  <a:lnTo>
                    <a:pt x="61532" y="748760"/>
                  </a:lnTo>
                  <a:lnTo>
                    <a:pt x="57721" y="746379"/>
                  </a:lnTo>
                  <a:lnTo>
                    <a:pt x="50482" y="751142"/>
                  </a:lnTo>
                  <a:lnTo>
                    <a:pt x="48578" y="737997"/>
                  </a:lnTo>
                  <a:lnTo>
                    <a:pt x="43149" y="733330"/>
                  </a:lnTo>
                  <a:lnTo>
                    <a:pt x="45339" y="725234"/>
                  </a:lnTo>
                  <a:lnTo>
                    <a:pt x="44101" y="713994"/>
                  </a:lnTo>
                  <a:lnTo>
                    <a:pt x="50864" y="713042"/>
                  </a:lnTo>
                  <a:lnTo>
                    <a:pt x="53816" y="704945"/>
                  </a:lnTo>
                  <a:lnTo>
                    <a:pt x="63055" y="700850"/>
                  </a:lnTo>
                  <a:lnTo>
                    <a:pt x="62103" y="694182"/>
                  </a:lnTo>
                  <a:lnTo>
                    <a:pt x="68675" y="691325"/>
                  </a:lnTo>
                  <a:lnTo>
                    <a:pt x="67723" y="683895"/>
                  </a:lnTo>
                  <a:lnTo>
                    <a:pt x="62293" y="679609"/>
                  </a:lnTo>
                  <a:lnTo>
                    <a:pt x="70295" y="667417"/>
                  </a:lnTo>
                  <a:lnTo>
                    <a:pt x="71818" y="661988"/>
                  </a:lnTo>
                  <a:lnTo>
                    <a:pt x="75819" y="661988"/>
                  </a:lnTo>
                  <a:lnTo>
                    <a:pt x="74105" y="653129"/>
                  </a:lnTo>
                  <a:lnTo>
                    <a:pt x="80106" y="649319"/>
                  </a:lnTo>
                  <a:lnTo>
                    <a:pt x="75819" y="636365"/>
                  </a:lnTo>
                  <a:lnTo>
                    <a:pt x="81629" y="632555"/>
                  </a:lnTo>
                  <a:lnTo>
                    <a:pt x="77058" y="626555"/>
                  </a:lnTo>
                  <a:lnTo>
                    <a:pt x="79343" y="621125"/>
                  </a:lnTo>
                  <a:lnTo>
                    <a:pt x="86678" y="615887"/>
                  </a:lnTo>
                  <a:lnTo>
                    <a:pt x="82010" y="609886"/>
                  </a:lnTo>
                  <a:lnTo>
                    <a:pt x="71438" y="607028"/>
                  </a:lnTo>
                  <a:lnTo>
                    <a:pt x="72200" y="600551"/>
                  </a:lnTo>
                  <a:lnTo>
                    <a:pt x="87630" y="603885"/>
                  </a:lnTo>
                  <a:lnTo>
                    <a:pt x="90774" y="593884"/>
                  </a:lnTo>
                  <a:lnTo>
                    <a:pt x="76867" y="592646"/>
                  </a:lnTo>
                  <a:lnTo>
                    <a:pt x="75533" y="586740"/>
                  </a:lnTo>
                  <a:lnTo>
                    <a:pt x="80106" y="581692"/>
                  </a:lnTo>
                  <a:lnTo>
                    <a:pt x="78962" y="575025"/>
                  </a:lnTo>
                  <a:lnTo>
                    <a:pt x="74295" y="569976"/>
                  </a:lnTo>
                  <a:lnTo>
                    <a:pt x="79724" y="564737"/>
                  </a:lnTo>
                  <a:lnTo>
                    <a:pt x="70485" y="558546"/>
                  </a:lnTo>
                  <a:lnTo>
                    <a:pt x="72771" y="546545"/>
                  </a:lnTo>
                  <a:lnTo>
                    <a:pt x="71818" y="538258"/>
                  </a:lnTo>
                  <a:lnTo>
                    <a:pt x="76486" y="541115"/>
                  </a:lnTo>
                  <a:lnTo>
                    <a:pt x="79343" y="537020"/>
                  </a:lnTo>
                  <a:lnTo>
                    <a:pt x="75248" y="526066"/>
                  </a:lnTo>
                  <a:lnTo>
                    <a:pt x="76867" y="510254"/>
                  </a:lnTo>
                  <a:lnTo>
                    <a:pt x="74486" y="503587"/>
                  </a:lnTo>
                  <a:lnTo>
                    <a:pt x="80106" y="495491"/>
                  </a:lnTo>
                  <a:lnTo>
                    <a:pt x="76676" y="489776"/>
                  </a:lnTo>
                  <a:lnTo>
                    <a:pt x="81249" y="486823"/>
                  </a:lnTo>
                  <a:lnTo>
                    <a:pt x="78772" y="476250"/>
                  </a:lnTo>
                  <a:lnTo>
                    <a:pt x="84582" y="476917"/>
                  </a:lnTo>
                  <a:lnTo>
                    <a:pt x="84963" y="462725"/>
                  </a:lnTo>
                  <a:lnTo>
                    <a:pt x="96012" y="457486"/>
                  </a:lnTo>
                  <a:lnTo>
                    <a:pt x="96964" y="453295"/>
                  </a:lnTo>
                  <a:lnTo>
                    <a:pt x="92869" y="448723"/>
                  </a:lnTo>
                  <a:lnTo>
                    <a:pt x="88868" y="434721"/>
                  </a:lnTo>
                  <a:lnTo>
                    <a:pt x="91726" y="429863"/>
                  </a:lnTo>
                  <a:lnTo>
                    <a:pt x="88487" y="426149"/>
                  </a:lnTo>
                  <a:lnTo>
                    <a:pt x="91916" y="421577"/>
                  </a:lnTo>
                  <a:lnTo>
                    <a:pt x="89059" y="417576"/>
                  </a:lnTo>
                  <a:lnTo>
                    <a:pt x="93250" y="406051"/>
                  </a:lnTo>
                  <a:lnTo>
                    <a:pt x="98679" y="406241"/>
                  </a:lnTo>
                  <a:lnTo>
                    <a:pt x="99632" y="399669"/>
                  </a:lnTo>
                  <a:lnTo>
                    <a:pt x="105061" y="399193"/>
                  </a:lnTo>
                  <a:lnTo>
                    <a:pt x="106489" y="392430"/>
                  </a:lnTo>
                  <a:lnTo>
                    <a:pt x="104870" y="384334"/>
                  </a:lnTo>
                  <a:lnTo>
                    <a:pt x="101251" y="379571"/>
                  </a:lnTo>
                  <a:lnTo>
                    <a:pt x="106204" y="376238"/>
                  </a:lnTo>
                  <a:lnTo>
                    <a:pt x="105823" y="367951"/>
                  </a:lnTo>
                  <a:lnTo>
                    <a:pt x="111443" y="361760"/>
                  </a:lnTo>
                  <a:lnTo>
                    <a:pt x="111633" y="357569"/>
                  </a:lnTo>
                  <a:lnTo>
                    <a:pt x="116491" y="356521"/>
                  </a:lnTo>
                  <a:lnTo>
                    <a:pt x="114586" y="344710"/>
                  </a:lnTo>
                  <a:lnTo>
                    <a:pt x="118015" y="338614"/>
                  </a:lnTo>
                  <a:lnTo>
                    <a:pt x="116110" y="333566"/>
                  </a:lnTo>
                  <a:lnTo>
                    <a:pt x="112205" y="336137"/>
                  </a:lnTo>
                  <a:lnTo>
                    <a:pt x="110300" y="332042"/>
                  </a:lnTo>
                  <a:lnTo>
                    <a:pt x="114015" y="326708"/>
                  </a:lnTo>
                  <a:lnTo>
                    <a:pt x="109918" y="322612"/>
                  </a:lnTo>
                  <a:lnTo>
                    <a:pt x="105061" y="309277"/>
                  </a:lnTo>
                  <a:lnTo>
                    <a:pt x="109157" y="306419"/>
                  </a:lnTo>
                  <a:lnTo>
                    <a:pt x="103347" y="302038"/>
                  </a:lnTo>
                  <a:lnTo>
                    <a:pt x="101060" y="296323"/>
                  </a:lnTo>
                  <a:lnTo>
                    <a:pt x="103156" y="286893"/>
                  </a:lnTo>
                  <a:lnTo>
                    <a:pt x="107442" y="286417"/>
                  </a:lnTo>
                  <a:lnTo>
                    <a:pt x="106775" y="279273"/>
                  </a:lnTo>
                  <a:lnTo>
                    <a:pt x="109728" y="269843"/>
                  </a:lnTo>
                  <a:lnTo>
                    <a:pt x="114776" y="270891"/>
                  </a:lnTo>
                  <a:lnTo>
                    <a:pt x="116872" y="264605"/>
                  </a:lnTo>
                  <a:lnTo>
                    <a:pt x="113252" y="263081"/>
                  </a:lnTo>
                  <a:lnTo>
                    <a:pt x="114586" y="258223"/>
                  </a:lnTo>
                  <a:lnTo>
                    <a:pt x="112014" y="247079"/>
                  </a:lnTo>
                  <a:lnTo>
                    <a:pt x="116491" y="243459"/>
                  </a:lnTo>
                  <a:lnTo>
                    <a:pt x="119443" y="227838"/>
                  </a:lnTo>
                  <a:lnTo>
                    <a:pt x="123444" y="222695"/>
                  </a:lnTo>
                  <a:lnTo>
                    <a:pt x="129254" y="219361"/>
                  </a:lnTo>
                  <a:lnTo>
                    <a:pt x="135064" y="206216"/>
                  </a:lnTo>
                  <a:lnTo>
                    <a:pt x="135255" y="201930"/>
                  </a:lnTo>
                  <a:lnTo>
                    <a:pt x="146114" y="200692"/>
                  </a:lnTo>
                  <a:lnTo>
                    <a:pt x="147066" y="197834"/>
                  </a:lnTo>
                  <a:lnTo>
                    <a:pt x="140875" y="188786"/>
                  </a:lnTo>
                  <a:lnTo>
                    <a:pt x="140875" y="184880"/>
                  </a:lnTo>
                  <a:lnTo>
                    <a:pt x="145161" y="181166"/>
                  </a:lnTo>
                  <a:lnTo>
                    <a:pt x="140303" y="167640"/>
                  </a:lnTo>
                  <a:lnTo>
                    <a:pt x="142018" y="161068"/>
                  </a:lnTo>
                  <a:lnTo>
                    <a:pt x="146304" y="159449"/>
                  </a:lnTo>
                  <a:lnTo>
                    <a:pt x="144589" y="154496"/>
                  </a:lnTo>
                  <a:lnTo>
                    <a:pt x="140684" y="153067"/>
                  </a:lnTo>
                  <a:lnTo>
                    <a:pt x="144589" y="145447"/>
                  </a:lnTo>
                  <a:lnTo>
                    <a:pt x="166211" y="13620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7" name="Freeform: Shape 2887">
              <a:extLst>
                <a:ext uri="{FF2B5EF4-FFF2-40B4-BE49-F238E27FC236}">
                  <a16:creationId xmlns:a16="http://schemas.microsoft.com/office/drawing/2014/main" id="{568A2868-05BE-5DBF-0737-795A4534643B}"/>
                </a:ext>
              </a:extLst>
            </p:cNvPr>
            <p:cNvSpPr/>
            <p:nvPr/>
          </p:nvSpPr>
          <p:spPr>
            <a:xfrm>
              <a:off x="7886223" y="4595749"/>
              <a:ext cx="9238" cy="9620"/>
            </a:xfrm>
            <a:custGeom>
              <a:avLst/>
              <a:gdLst>
                <a:gd name="connsiteX0" fmla="*/ 7144 w 9238"/>
                <a:gd name="connsiteY0" fmla="*/ 0 h 9620"/>
                <a:gd name="connsiteX1" fmla="*/ 9239 w 9238"/>
                <a:gd name="connsiteY1" fmla="*/ 6572 h 9620"/>
                <a:gd name="connsiteX2" fmla="*/ 0 w 9238"/>
                <a:gd name="connsiteY2" fmla="*/ 9620 h 9620"/>
                <a:gd name="connsiteX3" fmla="*/ 7144 w 9238"/>
                <a:gd name="connsiteY3" fmla="*/ 0 h 9620"/>
              </a:gdLst>
              <a:ahLst/>
              <a:cxnLst>
                <a:cxn ang="0">
                  <a:pos x="connsiteX0" y="connsiteY0"/>
                </a:cxn>
                <a:cxn ang="0">
                  <a:pos x="connsiteX1" y="connsiteY1"/>
                </a:cxn>
                <a:cxn ang="0">
                  <a:pos x="connsiteX2" y="connsiteY2"/>
                </a:cxn>
                <a:cxn ang="0">
                  <a:pos x="connsiteX3" y="connsiteY3"/>
                </a:cxn>
              </a:cxnLst>
              <a:rect l="l" t="t" r="r" b="b"/>
              <a:pathLst>
                <a:path w="9238" h="9620">
                  <a:moveTo>
                    <a:pt x="7144" y="0"/>
                  </a:moveTo>
                  <a:lnTo>
                    <a:pt x="9239" y="6572"/>
                  </a:lnTo>
                  <a:lnTo>
                    <a:pt x="0" y="9620"/>
                  </a:lnTo>
                  <a:lnTo>
                    <a:pt x="714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8" name="Freeform: Shape 2888">
              <a:extLst>
                <a:ext uri="{FF2B5EF4-FFF2-40B4-BE49-F238E27FC236}">
                  <a16:creationId xmlns:a16="http://schemas.microsoft.com/office/drawing/2014/main" id="{CF243A97-102F-5846-2E26-0A580D4A9FA5}"/>
                </a:ext>
              </a:extLst>
            </p:cNvPr>
            <p:cNvSpPr/>
            <p:nvPr/>
          </p:nvSpPr>
          <p:spPr>
            <a:xfrm>
              <a:off x="7419308" y="4505166"/>
              <a:ext cx="779430" cy="798957"/>
            </a:xfrm>
            <a:custGeom>
              <a:avLst/>
              <a:gdLst>
                <a:gd name="connsiteX0" fmla="*/ 779431 w 779430"/>
                <a:gd name="connsiteY0" fmla="*/ 246888 h 798957"/>
                <a:gd name="connsiteX1" fmla="*/ 764762 w 779430"/>
                <a:gd name="connsiteY1" fmla="*/ 207740 h 798957"/>
                <a:gd name="connsiteX2" fmla="*/ 730092 w 779430"/>
                <a:gd name="connsiteY2" fmla="*/ 202121 h 798957"/>
                <a:gd name="connsiteX3" fmla="*/ 712565 w 779430"/>
                <a:gd name="connsiteY3" fmla="*/ 187928 h 798957"/>
                <a:gd name="connsiteX4" fmla="*/ 704279 w 779430"/>
                <a:gd name="connsiteY4" fmla="*/ 177737 h 798957"/>
                <a:gd name="connsiteX5" fmla="*/ 673894 w 779430"/>
                <a:gd name="connsiteY5" fmla="*/ 160877 h 798957"/>
                <a:gd name="connsiteX6" fmla="*/ 649510 w 779430"/>
                <a:gd name="connsiteY6" fmla="*/ 164211 h 798957"/>
                <a:gd name="connsiteX7" fmla="*/ 639604 w 779430"/>
                <a:gd name="connsiteY7" fmla="*/ 156591 h 798957"/>
                <a:gd name="connsiteX8" fmla="*/ 629698 w 779430"/>
                <a:gd name="connsiteY8" fmla="*/ 160591 h 798957"/>
                <a:gd name="connsiteX9" fmla="*/ 607600 w 779430"/>
                <a:gd name="connsiteY9" fmla="*/ 151257 h 798957"/>
                <a:gd name="connsiteX10" fmla="*/ 594170 w 779430"/>
                <a:gd name="connsiteY10" fmla="*/ 159734 h 798957"/>
                <a:gd name="connsiteX11" fmla="*/ 593979 w 779430"/>
                <a:gd name="connsiteY11" fmla="*/ 152305 h 798957"/>
                <a:gd name="connsiteX12" fmla="*/ 589026 w 779430"/>
                <a:gd name="connsiteY12" fmla="*/ 153638 h 798957"/>
                <a:gd name="connsiteX13" fmla="*/ 586740 w 779430"/>
                <a:gd name="connsiteY13" fmla="*/ 160591 h 798957"/>
                <a:gd name="connsiteX14" fmla="*/ 576643 w 779430"/>
                <a:gd name="connsiteY14" fmla="*/ 167449 h 798957"/>
                <a:gd name="connsiteX15" fmla="*/ 584740 w 779430"/>
                <a:gd name="connsiteY15" fmla="*/ 144971 h 798957"/>
                <a:gd name="connsiteX16" fmla="*/ 582835 w 779430"/>
                <a:gd name="connsiteY16" fmla="*/ 139065 h 798957"/>
                <a:gd name="connsiteX17" fmla="*/ 560641 w 779430"/>
                <a:gd name="connsiteY17" fmla="*/ 131731 h 798957"/>
                <a:gd name="connsiteX18" fmla="*/ 557593 w 779430"/>
                <a:gd name="connsiteY18" fmla="*/ 125158 h 798957"/>
                <a:gd name="connsiteX19" fmla="*/ 549783 w 779430"/>
                <a:gd name="connsiteY19" fmla="*/ 127826 h 798957"/>
                <a:gd name="connsiteX20" fmla="*/ 549021 w 779430"/>
                <a:gd name="connsiteY20" fmla="*/ 122777 h 798957"/>
                <a:gd name="connsiteX21" fmla="*/ 540163 w 779430"/>
                <a:gd name="connsiteY21" fmla="*/ 124587 h 798957"/>
                <a:gd name="connsiteX22" fmla="*/ 541687 w 779430"/>
                <a:gd name="connsiteY22" fmla="*/ 117729 h 798957"/>
                <a:gd name="connsiteX23" fmla="*/ 513398 w 779430"/>
                <a:gd name="connsiteY23" fmla="*/ 118586 h 798957"/>
                <a:gd name="connsiteX24" fmla="*/ 506635 w 779430"/>
                <a:gd name="connsiteY24" fmla="*/ 124873 h 798957"/>
                <a:gd name="connsiteX25" fmla="*/ 506349 w 779430"/>
                <a:gd name="connsiteY25" fmla="*/ 133826 h 798957"/>
                <a:gd name="connsiteX26" fmla="*/ 489299 w 779430"/>
                <a:gd name="connsiteY26" fmla="*/ 142875 h 798957"/>
                <a:gd name="connsiteX27" fmla="*/ 499872 w 779430"/>
                <a:gd name="connsiteY27" fmla="*/ 132493 h 798957"/>
                <a:gd name="connsiteX28" fmla="*/ 500825 w 779430"/>
                <a:gd name="connsiteY28" fmla="*/ 121634 h 798957"/>
                <a:gd name="connsiteX29" fmla="*/ 507206 w 779430"/>
                <a:gd name="connsiteY29" fmla="*/ 118491 h 798957"/>
                <a:gd name="connsiteX30" fmla="*/ 511016 w 779430"/>
                <a:gd name="connsiteY30" fmla="*/ 104394 h 798957"/>
                <a:gd name="connsiteX31" fmla="*/ 486251 w 779430"/>
                <a:gd name="connsiteY31" fmla="*/ 104108 h 798957"/>
                <a:gd name="connsiteX32" fmla="*/ 472345 w 779430"/>
                <a:gd name="connsiteY32" fmla="*/ 101155 h 798957"/>
                <a:gd name="connsiteX33" fmla="*/ 467773 w 779430"/>
                <a:gd name="connsiteY33" fmla="*/ 103156 h 798957"/>
                <a:gd name="connsiteX34" fmla="*/ 458153 w 779430"/>
                <a:gd name="connsiteY34" fmla="*/ 124778 h 798957"/>
                <a:gd name="connsiteX35" fmla="*/ 460629 w 779430"/>
                <a:gd name="connsiteY35" fmla="*/ 100774 h 798957"/>
                <a:gd name="connsiteX36" fmla="*/ 478155 w 779430"/>
                <a:gd name="connsiteY36" fmla="*/ 81344 h 798957"/>
                <a:gd name="connsiteX37" fmla="*/ 460629 w 779430"/>
                <a:gd name="connsiteY37" fmla="*/ 63818 h 798957"/>
                <a:gd name="connsiteX38" fmla="*/ 455676 w 779430"/>
                <a:gd name="connsiteY38" fmla="*/ 42386 h 798957"/>
                <a:gd name="connsiteX39" fmla="*/ 454343 w 779430"/>
                <a:gd name="connsiteY39" fmla="*/ 27146 h 798957"/>
                <a:gd name="connsiteX40" fmla="*/ 445389 w 779430"/>
                <a:gd name="connsiteY40" fmla="*/ 17240 h 798957"/>
                <a:gd name="connsiteX41" fmla="*/ 442436 w 779430"/>
                <a:gd name="connsiteY41" fmla="*/ 24479 h 798957"/>
                <a:gd name="connsiteX42" fmla="*/ 442246 w 779430"/>
                <a:gd name="connsiteY42" fmla="*/ 24194 h 798957"/>
                <a:gd name="connsiteX43" fmla="*/ 442246 w 779430"/>
                <a:gd name="connsiteY43" fmla="*/ 24765 h 798957"/>
                <a:gd name="connsiteX44" fmla="*/ 429101 w 779430"/>
                <a:gd name="connsiteY44" fmla="*/ 42291 h 798957"/>
                <a:gd name="connsiteX45" fmla="*/ 424434 w 779430"/>
                <a:gd name="connsiteY45" fmla="*/ 54673 h 798957"/>
                <a:gd name="connsiteX46" fmla="*/ 418243 w 779430"/>
                <a:gd name="connsiteY46" fmla="*/ 60388 h 798957"/>
                <a:gd name="connsiteX47" fmla="*/ 412814 w 779430"/>
                <a:gd name="connsiteY47" fmla="*/ 60388 h 798957"/>
                <a:gd name="connsiteX48" fmla="*/ 410051 w 779430"/>
                <a:gd name="connsiteY48" fmla="*/ 57245 h 798957"/>
                <a:gd name="connsiteX49" fmla="*/ 405384 w 779430"/>
                <a:gd name="connsiteY49" fmla="*/ 60388 h 798957"/>
                <a:gd name="connsiteX50" fmla="*/ 401193 w 779430"/>
                <a:gd name="connsiteY50" fmla="*/ 56960 h 798957"/>
                <a:gd name="connsiteX51" fmla="*/ 394525 w 779430"/>
                <a:gd name="connsiteY51" fmla="*/ 62198 h 798957"/>
                <a:gd name="connsiteX52" fmla="*/ 386239 w 779430"/>
                <a:gd name="connsiteY52" fmla="*/ 60388 h 798957"/>
                <a:gd name="connsiteX53" fmla="*/ 385286 w 779430"/>
                <a:gd name="connsiteY53" fmla="*/ 58579 h 798957"/>
                <a:gd name="connsiteX54" fmla="*/ 383667 w 779430"/>
                <a:gd name="connsiteY54" fmla="*/ 55721 h 798957"/>
                <a:gd name="connsiteX55" fmla="*/ 379095 w 779430"/>
                <a:gd name="connsiteY55" fmla="*/ 56483 h 798957"/>
                <a:gd name="connsiteX56" fmla="*/ 377476 w 779430"/>
                <a:gd name="connsiteY56" fmla="*/ 52388 h 798957"/>
                <a:gd name="connsiteX57" fmla="*/ 363855 w 779430"/>
                <a:gd name="connsiteY57" fmla="*/ 56960 h 798957"/>
                <a:gd name="connsiteX58" fmla="*/ 357854 w 779430"/>
                <a:gd name="connsiteY58" fmla="*/ 53149 h 798957"/>
                <a:gd name="connsiteX59" fmla="*/ 353759 w 779430"/>
                <a:gd name="connsiteY59" fmla="*/ 58579 h 798957"/>
                <a:gd name="connsiteX60" fmla="*/ 359950 w 779430"/>
                <a:gd name="connsiteY60" fmla="*/ 63246 h 798957"/>
                <a:gd name="connsiteX61" fmla="*/ 359473 w 779430"/>
                <a:gd name="connsiteY61" fmla="*/ 67818 h 798957"/>
                <a:gd name="connsiteX62" fmla="*/ 349663 w 779430"/>
                <a:gd name="connsiteY62" fmla="*/ 66008 h 798957"/>
                <a:gd name="connsiteX63" fmla="*/ 348139 w 779430"/>
                <a:gd name="connsiteY63" fmla="*/ 66199 h 798957"/>
                <a:gd name="connsiteX64" fmla="*/ 338042 w 779430"/>
                <a:gd name="connsiteY64" fmla="*/ 67342 h 798957"/>
                <a:gd name="connsiteX65" fmla="*/ 335185 w 779430"/>
                <a:gd name="connsiteY65" fmla="*/ 64008 h 798957"/>
                <a:gd name="connsiteX66" fmla="*/ 330327 w 779430"/>
                <a:gd name="connsiteY66" fmla="*/ 65246 h 798957"/>
                <a:gd name="connsiteX67" fmla="*/ 327184 w 779430"/>
                <a:gd name="connsiteY67" fmla="*/ 70961 h 798957"/>
                <a:gd name="connsiteX68" fmla="*/ 321564 w 779430"/>
                <a:gd name="connsiteY68" fmla="*/ 69628 h 798957"/>
                <a:gd name="connsiteX69" fmla="*/ 317182 w 779430"/>
                <a:gd name="connsiteY69" fmla="*/ 74771 h 798957"/>
                <a:gd name="connsiteX70" fmla="*/ 309943 w 779430"/>
                <a:gd name="connsiteY70" fmla="*/ 71152 h 798957"/>
                <a:gd name="connsiteX71" fmla="*/ 306800 w 779430"/>
                <a:gd name="connsiteY71" fmla="*/ 74581 h 798957"/>
                <a:gd name="connsiteX72" fmla="*/ 307562 w 779430"/>
                <a:gd name="connsiteY72" fmla="*/ 78962 h 798957"/>
                <a:gd name="connsiteX73" fmla="*/ 301371 w 779430"/>
                <a:gd name="connsiteY73" fmla="*/ 80772 h 798957"/>
                <a:gd name="connsiteX74" fmla="*/ 292894 w 779430"/>
                <a:gd name="connsiteY74" fmla="*/ 77153 h 798957"/>
                <a:gd name="connsiteX75" fmla="*/ 288227 w 779430"/>
                <a:gd name="connsiteY75" fmla="*/ 70390 h 798957"/>
                <a:gd name="connsiteX76" fmla="*/ 283083 w 779430"/>
                <a:gd name="connsiteY76" fmla="*/ 68580 h 798957"/>
                <a:gd name="connsiteX77" fmla="*/ 283083 w 779430"/>
                <a:gd name="connsiteY77" fmla="*/ 59341 h 798957"/>
                <a:gd name="connsiteX78" fmla="*/ 277654 w 779430"/>
                <a:gd name="connsiteY78" fmla="*/ 49530 h 798957"/>
                <a:gd name="connsiteX79" fmla="*/ 281274 w 779430"/>
                <a:gd name="connsiteY79" fmla="*/ 37433 h 798957"/>
                <a:gd name="connsiteX80" fmla="*/ 280511 w 779430"/>
                <a:gd name="connsiteY80" fmla="*/ 33052 h 798957"/>
                <a:gd name="connsiteX81" fmla="*/ 286988 w 779430"/>
                <a:gd name="connsiteY81" fmla="*/ 26289 h 798957"/>
                <a:gd name="connsiteX82" fmla="*/ 283369 w 779430"/>
                <a:gd name="connsiteY82" fmla="*/ 17240 h 798957"/>
                <a:gd name="connsiteX83" fmla="*/ 274606 w 779430"/>
                <a:gd name="connsiteY83" fmla="*/ 14954 h 798957"/>
                <a:gd name="connsiteX84" fmla="*/ 278225 w 779430"/>
                <a:gd name="connsiteY84" fmla="*/ 3620 h 798957"/>
                <a:gd name="connsiteX85" fmla="*/ 273558 w 779430"/>
                <a:gd name="connsiteY85" fmla="*/ 0 h 798957"/>
                <a:gd name="connsiteX86" fmla="*/ 262604 w 779430"/>
                <a:gd name="connsiteY86" fmla="*/ 1524 h 798957"/>
                <a:gd name="connsiteX87" fmla="*/ 262509 w 779430"/>
                <a:gd name="connsiteY87" fmla="*/ 1524 h 798957"/>
                <a:gd name="connsiteX88" fmla="*/ 266033 w 779430"/>
                <a:gd name="connsiteY88" fmla="*/ 5715 h 798957"/>
                <a:gd name="connsiteX89" fmla="*/ 264223 w 779430"/>
                <a:gd name="connsiteY89" fmla="*/ 9239 h 798957"/>
                <a:gd name="connsiteX90" fmla="*/ 259652 w 779430"/>
                <a:gd name="connsiteY90" fmla="*/ 10573 h 798957"/>
                <a:gd name="connsiteX91" fmla="*/ 257556 w 779430"/>
                <a:gd name="connsiteY91" fmla="*/ 14954 h 798957"/>
                <a:gd name="connsiteX92" fmla="*/ 249555 w 779430"/>
                <a:gd name="connsiteY92" fmla="*/ 14478 h 798957"/>
                <a:gd name="connsiteX93" fmla="*/ 246412 w 779430"/>
                <a:gd name="connsiteY93" fmla="*/ 20383 h 798957"/>
                <a:gd name="connsiteX94" fmla="*/ 234887 w 779430"/>
                <a:gd name="connsiteY94" fmla="*/ 23241 h 798957"/>
                <a:gd name="connsiteX95" fmla="*/ 228886 w 779430"/>
                <a:gd name="connsiteY95" fmla="*/ 20669 h 798957"/>
                <a:gd name="connsiteX96" fmla="*/ 222981 w 779430"/>
                <a:gd name="connsiteY96" fmla="*/ 24289 h 798957"/>
                <a:gd name="connsiteX97" fmla="*/ 223457 w 779430"/>
                <a:gd name="connsiteY97" fmla="*/ 31718 h 798957"/>
                <a:gd name="connsiteX98" fmla="*/ 218123 w 779430"/>
                <a:gd name="connsiteY98" fmla="*/ 33052 h 798957"/>
                <a:gd name="connsiteX99" fmla="*/ 210598 w 779430"/>
                <a:gd name="connsiteY99" fmla="*/ 24479 h 798957"/>
                <a:gd name="connsiteX100" fmla="*/ 207740 w 779430"/>
                <a:gd name="connsiteY100" fmla="*/ 28385 h 798957"/>
                <a:gd name="connsiteX101" fmla="*/ 202121 w 779430"/>
                <a:gd name="connsiteY101" fmla="*/ 25051 h 798957"/>
                <a:gd name="connsiteX102" fmla="*/ 197453 w 779430"/>
                <a:gd name="connsiteY102" fmla="*/ 27146 h 798957"/>
                <a:gd name="connsiteX103" fmla="*/ 194310 w 779430"/>
                <a:gd name="connsiteY103" fmla="*/ 21431 h 798957"/>
                <a:gd name="connsiteX104" fmla="*/ 182213 w 779430"/>
                <a:gd name="connsiteY104" fmla="*/ 19621 h 798957"/>
                <a:gd name="connsiteX105" fmla="*/ 194786 w 779430"/>
                <a:gd name="connsiteY105" fmla="*/ 34099 h 798957"/>
                <a:gd name="connsiteX106" fmla="*/ 193548 w 779430"/>
                <a:gd name="connsiteY106" fmla="*/ 41243 h 798957"/>
                <a:gd name="connsiteX107" fmla="*/ 197930 w 779430"/>
                <a:gd name="connsiteY107" fmla="*/ 48482 h 798957"/>
                <a:gd name="connsiteX108" fmla="*/ 197453 w 779430"/>
                <a:gd name="connsiteY108" fmla="*/ 55245 h 798957"/>
                <a:gd name="connsiteX109" fmla="*/ 211074 w 779430"/>
                <a:gd name="connsiteY109" fmla="*/ 55245 h 798957"/>
                <a:gd name="connsiteX110" fmla="*/ 210598 w 779430"/>
                <a:gd name="connsiteY110" fmla="*/ 61436 h 798957"/>
                <a:gd name="connsiteX111" fmla="*/ 197453 w 779430"/>
                <a:gd name="connsiteY111" fmla="*/ 65818 h 798957"/>
                <a:gd name="connsiteX112" fmla="*/ 196691 w 779430"/>
                <a:gd name="connsiteY112" fmla="*/ 72009 h 798957"/>
                <a:gd name="connsiteX113" fmla="*/ 192500 w 779430"/>
                <a:gd name="connsiteY113" fmla="*/ 77438 h 798957"/>
                <a:gd name="connsiteX114" fmla="*/ 190500 w 779430"/>
                <a:gd name="connsiteY114" fmla="*/ 74295 h 798957"/>
                <a:gd name="connsiteX115" fmla="*/ 176308 w 779430"/>
                <a:gd name="connsiteY115" fmla="*/ 81534 h 798957"/>
                <a:gd name="connsiteX116" fmla="*/ 169355 w 779430"/>
                <a:gd name="connsiteY116" fmla="*/ 91059 h 798957"/>
                <a:gd name="connsiteX117" fmla="*/ 166211 w 779430"/>
                <a:gd name="connsiteY117" fmla="*/ 84868 h 798957"/>
                <a:gd name="connsiteX118" fmla="*/ 158782 w 779430"/>
                <a:gd name="connsiteY118" fmla="*/ 89535 h 798957"/>
                <a:gd name="connsiteX119" fmla="*/ 151829 w 779430"/>
                <a:gd name="connsiteY119" fmla="*/ 89249 h 798957"/>
                <a:gd name="connsiteX120" fmla="*/ 141637 w 779430"/>
                <a:gd name="connsiteY120" fmla="*/ 80296 h 798957"/>
                <a:gd name="connsiteX121" fmla="*/ 132683 w 779430"/>
                <a:gd name="connsiteY121" fmla="*/ 82010 h 798957"/>
                <a:gd name="connsiteX122" fmla="*/ 129826 w 779430"/>
                <a:gd name="connsiteY122" fmla="*/ 64008 h 798957"/>
                <a:gd name="connsiteX123" fmla="*/ 122587 w 779430"/>
                <a:gd name="connsiteY123" fmla="*/ 68771 h 798957"/>
                <a:gd name="connsiteX124" fmla="*/ 114109 w 779430"/>
                <a:gd name="connsiteY124" fmla="*/ 64008 h 798957"/>
                <a:gd name="connsiteX125" fmla="*/ 113348 w 779430"/>
                <a:gd name="connsiteY125" fmla="*/ 70390 h 798957"/>
                <a:gd name="connsiteX126" fmla="*/ 82582 w 779430"/>
                <a:gd name="connsiteY126" fmla="*/ 70390 h 798957"/>
                <a:gd name="connsiteX127" fmla="*/ 82582 w 779430"/>
                <a:gd name="connsiteY127" fmla="*/ 82010 h 798957"/>
                <a:gd name="connsiteX128" fmla="*/ 96012 w 779430"/>
                <a:gd name="connsiteY128" fmla="*/ 84391 h 798957"/>
                <a:gd name="connsiteX129" fmla="*/ 96774 w 779430"/>
                <a:gd name="connsiteY129" fmla="*/ 91916 h 798957"/>
                <a:gd name="connsiteX130" fmla="*/ 78581 w 779430"/>
                <a:gd name="connsiteY130" fmla="*/ 92869 h 798957"/>
                <a:gd name="connsiteX131" fmla="*/ 78581 w 779430"/>
                <a:gd name="connsiteY131" fmla="*/ 107347 h 798957"/>
                <a:gd name="connsiteX132" fmla="*/ 87154 w 779430"/>
                <a:gd name="connsiteY132" fmla="*/ 114300 h 798957"/>
                <a:gd name="connsiteX133" fmla="*/ 87154 w 779430"/>
                <a:gd name="connsiteY133" fmla="*/ 118967 h 798957"/>
                <a:gd name="connsiteX134" fmla="*/ 91821 w 779430"/>
                <a:gd name="connsiteY134" fmla="*/ 129159 h 798957"/>
                <a:gd name="connsiteX135" fmla="*/ 81058 w 779430"/>
                <a:gd name="connsiteY135" fmla="*/ 186785 h 798957"/>
                <a:gd name="connsiteX136" fmla="*/ 80106 w 779430"/>
                <a:gd name="connsiteY136" fmla="*/ 191833 h 798957"/>
                <a:gd name="connsiteX137" fmla="*/ 64961 w 779430"/>
                <a:gd name="connsiteY137" fmla="*/ 187166 h 798957"/>
                <a:gd name="connsiteX138" fmla="*/ 59436 w 779430"/>
                <a:gd name="connsiteY138" fmla="*/ 192691 h 798957"/>
                <a:gd name="connsiteX139" fmla="*/ 41148 w 779430"/>
                <a:gd name="connsiteY139" fmla="*/ 194501 h 798957"/>
                <a:gd name="connsiteX140" fmla="*/ 22098 w 779430"/>
                <a:gd name="connsiteY140" fmla="*/ 206121 h 798957"/>
                <a:gd name="connsiteX141" fmla="*/ 17145 w 779430"/>
                <a:gd name="connsiteY141" fmla="*/ 232220 h 798957"/>
                <a:gd name="connsiteX142" fmla="*/ 5239 w 779430"/>
                <a:gd name="connsiteY142" fmla="*/ 241078 h 798957"/>
                <a:gd name="connsiteX143" fmla="*/ 5905 w 779430"/>
                <a:gd name="connsiteY143" fmla="*/ 249364 h 798957"/>
                <a:gd name="connsiteX144" fmla="*/ 0 w 779430"/>
                <a:gd name="connsiteY144" fmla="*/ 251651 h 798957"/>
                <a:gd name="connsiteX145" fmla="*/ 6572 w 779430"/>
                <a:gd name="connsiteY145" fmla="*/ 260318 h 798957"/>
                <a:gd name="connsiteX146" fmla="*/ 6572 w 779430"/>
                <a:gd name="connsiteY146" fmla="*/ 268319 h 798957"/>
                <a:gd name="connsiteX147" fmla="*/ 20764 w 779430"/>
                <a:gd name="connsiteY147" fmla="*/ 282416 h 798957"/>
                <a:gd name="connsiteX148" fmla="*/ 16193 w 779430"/>
                <a:gd name="connsiteY148" fmla="*/ 290608 h 798957"/>
                <a:gd name="connsiteX149" fmla="*/ 31337 w 779430"/>
                <a:gd name="connsiteY149" fmla="*/ 292322 h 798957"/>
                <a:gd name="connsiteX150" fmla="*/ 37529 w 779430"/>
                <a:gd name="connsiteY150" fmla="*/ 302514 h 798957"/>
                <a:gd name="connsiteX151" fmla="*/ 52578 w 779430"/>
                <a:gd name="connsiteY151" fmla="*/ 302514 h 798957"/>
                <a:gd name="connsiteX152" fmla="*/ 68009 w 779430"/>
                <a:gd name="connsiteY152" fmla="*/ 291274 h 798957"/>
                <a:gd name="connsiteX153" fmla="*/ 67056 w 779430"/>
                <a:gd name="connsiteY153" fmla="*/ 319278 h 798957"/>
                <a:gd name="connsiteX154" fmla="*/ 74295 w 779430"/>
                <a:gd name="connsiteY154" fmla="*/ 323660 h 798957"/>
                <a:gd name="connsiteX155" fmla="*/ 80867 w 779430"/>
                <a:gd name="connsiteY155" fmla="*/ 319659 h 798957"/>
                <a:gd name="connsiteX156" fmla="*/ 88011 w 779430"/>
                <a:gd name="connsiteY156" fmla="*/ 320897 h 798957"/>
                <a:gd name="connsiteX157" fmla="*/ 107632 w 779430"/>
                <a:gd name="connsiteY157" fmla="*/ 324326 h 798957"/>
                <a:gd name="connsiteX158" fmla="*/ 116491 w 779430"/>
                <a:gd name="connsiteY158" fmla="*/ 315278 h 798957"/>
                <a:gd name="connsiteX159" fmla="*/ 125159 w 779430"/>
                <a:gd name="connsiteY159" fmla="*/ 316230 h 798957"/>
                <a:gd name="connsiteX160" fmla="*/ 133065 w 779430"/>
                <a:gd name="connsiteY160" fmla="*/ 308515 h 798957"/>
                <a:gd name="connsiteX161" fmla="*/ 136017 w 779430"/>
                <a:gd name="connsiteY161" fmla="*/ 308515 h 798957"/>
                <a:gd name="connsiteX162" fmla="*/ 144685 w 779430"/>
                <a:gd name="connsiteY162" fmla="*/ 301180 h 798957"/>
                <a:gd name="connsiteX163" fmla="*/ 163068 w 779430"/>
                <a:gd name="connsiteY163" fmla="*/ 297275 h 798957"/>
                <a:gd name="connsiteX164" fmla="*/ 166688 w 779430"/>
                <a:gd name="connsiteY164" fmla="*/ 299752 h 798957"/>
                <a:gd name="connsiteX165" fmla="*/ 170688 w 779430"/>
                <a:gd name="connsiteY165" fmla="*/ 295656 h 798957"/>
                <a:gd name="connsiteX166" fmla="*/ 173736 w 779430"/>
                <a:gd name="connsiteY166" fmla="*/ 298228 h 798957"/>
                <a:gd name="connsiteX167" fmla="*/ 172021 w 779430"/>
                <a:gd name="connsiteY167" fmla="*/ 303181 h 798957"/>
                <a:gd name="connsiteX168" fmla="*/ 173355 w 779430"/>
                <a:gd name="connsiteY168" fmla="*/ 306610 h 798957"/>
                <a:gd name="connsiteX169" fmla="*/ 169069 w 779430"/>
                <a:gd name="connsiteY169" fmla="*/ 314325 h 798957"/>
                <a:gd name="connsiteX170" fmla="*/ 172021 w 779430"/>
                <a:gd name="connsiteY170" fmla="*/ 319278 h 798957"/>
                <a:gd name="connsiteX171" fmla="*/ 170688 w 779430"/>
                <a:gd name="connsiteY171" fmla="*/ 325660 h 798957"/>
                <a:gd name="connsiteX172" fmla="*/ 174022 w 779430"/>
                <a:gd name="connsiteY172" fmla="*/ 336518 h 798957"/>
                <a:gd name="connsiteX173" fmla="*/ 177927 w 779430"/>
                <a:gd name="connsiteY173" fmla="*/ 339662 h 798957"/>
                <a:gd name="connsiteX174" fmla="*/ 178975 w 779430"/>
                <a:gd name="connsiteY174" fmla="*/ 342900 h 798957"/>
                <a:gd name="connsiteX175" fmla="*/ 188881 w 779430"/>
                <a:gd name="connsiteY175" fmla="*/ 347281 h 798957"/>
                <a:gd name="connsiteX176" fmla="*/ 189166 w 779430"/>
                <a:gd name="connsiteY176" fmla="*/ 351854 h 798957"/>
                <a:gd name="connsiteX177" fmla="*/ 200120 w 779430"/>
                <a:gd name="connsiteY177" fmla="*/ 353663 h 798957"/>
                <a:gd name="connsiteX178" fmla="*/ 203740 w 779430"/>
                <a:gd name="connsiteY178" fmla="*/ 350330 h 798957"/>
                <a:gd name="connsiteX179" fmla="*/ 211836 w 779430"/>
                <a:gd name="connsiteY179" fmla="*/ 356806 h 798957"/>
                <a:gd name="connsiteX180" fmla="*/ 216694 w 779430"/>
                <a:gd name="connsiteY180" fmla="*/ 354330 h 798957"/>
                <a:gd name="connsiteX181" fmla="*/ 219361 w 779430"/>
                <a:gd name="connsiteY181" fmla="*/ 360426 h 798957"/>
                <a:gd name="connsiteX182" fmla="*/ 234887 w 779430"/>
                <a:gd name="connsiteY182" fmla="*/ 365855 h 798957"/>
                <a:gd name="connsiteX183" fmla="*/ 240697 w 779430"/>
                <a:gd name="connsiteY183" fmla="*/ 372904 h 798957"/>
                <a:gd name="connsiteX184" fmla="*/ 256508 w 779430"/>
                <a:gd name="connsiteY184" fmla="*/ 372237 h 798957"/>
                <a:gd name="connsiteX185" fmla="*/ 271177 w 779430"/>
                <a:gd name="connsiteY185" fmla="*/ 381571 h 798957"/>
                <a:gd name="connsiteX186" fmla="*/ 267653 w 779430"/>
                <a:gd name="connsiteY186" fmla="*/ 386620 h 798957"/>
                <a:gd name="connsiteX187" fmla="*/ 271177 w 779430"/>
                <a:gd name="connsiteY187" fmla="*/ 393192 h 798957"/>
                <a:gd name="connsiteX188" fmla="*/ 271177 w 779430"/>
                <a:gd name="connsiteY188" fmla="*/ 403288 h 798957"/>
                <a:gd name="connsiteX189" fmla="*/ 264795 w 779430"/>
                <a:gd name="connsiteY189" fmla="*/ 403288 h 798957"/>
                <a:gd name="connsiteX190" fmla="*/ 273748 w 779430"/>
                <a:gd name="connsiteY190" fmla="*/ 412337 h 798957"/>
                <a:gd name="connsiteX191" fmla="*/ 273748 w 779430"/>
                <a:gd name="connsiteY191" fmla="*/ 428625 h 798957"/>
                <a:gd name="connsiteX192" fmla="*/ 310705 w 779430"/>
                <a:gd name="connsiteY192" fmla="*/ 428625 h 798957"/>
                <a:gd name="connsiteX193" fmla="*/ 308039 w 779430"/>
                <a:gd name="connsiteY193" fmla="*/ 436340 h 798957"/>
                <a:gd name="connsiteX194" fmla="*/ 308039 w 779430"/>
                <a:gd name="connsiteY194" fmla="*/ 447865 h 798957"/>
                <a:gd name="connsiteX195" fmla="*/ 322612 w 779430"/>
                <a:gd name="connsiteY195" fmla="*/ 455962 h 798957"/>
                <a:gd name="connsiteX196" fmla="*/ 327565 w 779430"/>
                <a:gd name="connsiteY196" fmla="*/ 468725 h 798957"/>
                <a:gd name="connsiteX197" fmla="*/ 322516 w 779430"/>
                <a:gd name="connsiteY197" fmla="*/ 480631 h 798957"/>
                <a:gd name="connsiteX198" fmla="*/ 323279 w 779430"/>
                <a:gd name="connsiteY198" fmla="*/ 485299 h 798957"/>
                <a:gd name="connsiteX199" fmla="*/ 316230 w 779430"/>
                <a:gd name="connsiteY199" fmla="*/ 496443 h 798957"/>
                <a:gd name="connsiteX200" fmla="*/ 321183 w 779430"/>
                <a:gd name="connsiteY200" fmla="*/ 503206 h 798957"/>
                <a:gd name="connsiteX201" fmla="*/ 314992 w 779430"/>
                <a:gd name="connsiteY201" fmla="*/ 508921 h 798957"/>
                <a:gd name="connsiteX202" fmla="*/ 320897 w 779430"/>
                <a:gd name="connsiteY202" fmla="*/ 524732 h 798957"/>
                <a:gd name="connsiteX203" fmla="*/ 317182 w 779430"/>
                <a:gd name="connsiteY203" fmla="*/ 537877 h 798957"/>
                <a:gd name="connsiteX204" fmla="*/ 318325 w 779430"/>
                <a:gd name="connsiteY204" fmla="*/ 547878 h 798957"/>
                <a:gd name="connsiteX205" fmla="*/ 343758 w 779430"/>
                <a:gd name="connsiteY205" fmla="*/ 553117 h 798957"/>
                <a:gd name="connsiteX206" fmla="*/ 348615 w 779430"/>
                <a:gd name="connsiteY206" fmla="*/ 547211 h 798957"/>
                <a:gd name="connsiteX207" fmla="*/ 352996 w 779430"/>
                <a:gd name="connsiteY207" fmla="*/ 552736 h 798957"/>
                <a:gd name="connsiteX208" fmla="*/ 359569 w 779430"/>
                <a:gd name="connsiteY208" fmla="*/ 552736 h 798957"/>
                <a:gd name="connsiteX209" fmla="*/ 364522 w 779430"/>
                <a:gd name="connsiteY209" fmla="*/ 561880 h 798957"/>
                <a:gd name="connsiteX210" fmla="*/ 364522 w 779430"/>
                <a:gd name="connsiteY210" fmla="*/ 568262 h 798957"/>
                <a:gd name="connsiteX211" fmla="*/ 366808 w 779430"/>
                <a:gd name="connsiteY211" fmla="*/ 575881 h 798957"/>
                <a:gd name="connsiteX212" fmla="*/ 367855 w 779430"/>
                <a:gd name="connsiteY212" fmla="*/ 588169 h 798957"/>
                <a:gd name="connsiteX213" fmla="*/ 372809 w 779430"/>
                <a:gd name="connsiteY213" fmla="*/ 589216 h 798957"/>
                <a:gd name="connsiteX214" fmla="*/ 380048 w 779430"/>
                <a:gd name="connsiteY214" fmla="*/ 586930 h 798957"/>
                <a:gd name="connsiteX215" fmla="*/ 384048 w 779430"/>
                <a:gd name="connsiteY215" fmla="*/ 584645 h 798957"/>
                <a:gd name="connsiteX216" fmla="*/ 391573 w 779430"/>
                <a:gd name="connsiteY216" fmla="*/ 589883 h 798957"/>
                <a:gd name="connsiteX217" fmla="*/ 389382 w 779430"/>
                <a:gd name="connsiteY217" fmla="*/ 594360 h 798957"/>
                <a:gd name="connsiteX218" fmla="*/ 391287 w 779430"/>
                <a:gd name="connsiteY218" fmla="*/ 597598 h 798957"/>
                <a:gd name="connsiteX219" fmla="*/ 388334 w 779430"/>
                <a:gd name="connsiteY219" fmla="*/ 611886 h 798957"/>
                <a:gd name="connsiteX220" fmla="*/ 383667 w 779430"/>
                <a:gd name="connsiteY220" fmla="*/ 620363 h 798957"/>
                <a:gd name="connsiteX221" fmla="*/ 385382 w 779430"/>
                <a:gd name="connsiteY221" fmla="*/ 621887 h 798957"/>
                <a:gd name="connsiteX222" fmla="*/ 387953 w 779430"/>
                <a:gd name="connsiteY222" fmla="*/ 624269 h 798957"/>
                <a:gd name="connsiteX223" fmla="*/ 393859 w 779430"/>
                <a:gd name="connsiteY223" fmla="*/ 619697 h 798957"/>
                <a:gd name="connsiteX224" fmla="*/ 398526 w 779430"/>
                <a:gd name="connsiteY224" fmla="*/ 623221 h 798957"/>
                <a:gd name="connsiteX225" fmla="*/ 399859 w 779430"/>
                <a:gd name="connsiteY225" fmla="*/ 629888 h 798957"/>
                <a:gd name="connsiteX226" fmla="*/ 403479 w 779430"/>
                <a:gd name="connsiteY226" fmla="*/ 636556 h 798957"/>
                <a:gd name="connsiteX227" fmla="*/ 400717 w 779430"/>
                <a:gd name="connsiteY227" fmla="*/ 640080 h 798957"/>
                <a:gd name="connsiteX228" fmla="*/ 402146 w 779430"/>
                <a:gd name="connsiteY228" fmla="*/ 648462 h 798957"/>
                <a:gd name="connsiteX229" fmla="*/ 399859 w 779430"/>
                <a:gd name="connsiteY229" fmla="*/ 654368 h 798957"/>
                <a:gd name="connsiteX230" fmla="*/ 393287 w 779430"/>
                <a:gd name="connsiteY230" fmla="*/ 657225 h 798957"/>
                <a:gd name="connsiteX231" fmla="*/ 389668 w 779430"/>
                <a:gd name="connsiteY231" fmla="*/ 661416 h 798957"/>
                <a:gd name="connsiteX232" fmla="*/ 384334 w 779430"/>
                <a:gd name="connsiteY232" fmla="*/ 660654 h 798957"/>
                <a:gd name="connsiteX233" fmla="*/ 376047 w 779430"/>
                <a:gd name="connsiteY233" fmla="*/ 669798 h 798957"/>
                <a:gd name="connsiteX234" fmla="*/ 371284 w 779430"/>
                <a:gd name="connsiteY234" fmla="*/ 670560 h 798957"/>
                <a:gd name="connsiteX235" fmla="*/ 363569 w 779430"/>
                <a:gd name="connsiteY235" fmla="*/ 676751 h 798957"/>
                <a:gd name="connsiteX236" fmla="*/ 363855 w 779430"/>
                <a:gd name="connsiteY236" fmla="*/ 682752 h 798957"/>
                <a:gd name="connsiteX237" fmla="*/ 357664 w 779430"/>
                <a:gd name="connsiteY237" fmla="*/ 681038 h 798957"/>
                <a:gd name="connsiteX238" fmla="*/ 350615 w 779430"/>
                <a:gd name="connsiteY238" fmla="*/ 692277 h 798957"/>
                <a:gd name="connsiteX239" fmla="*/ 344519 w 779430"/>
                <a:gd name="connsiteY239" fmla="*/ 696468 h 798957"/>
                <a:gd name="connsiteX240" fmla="*/ 337281 w 779430"/>
                <a:gd name="connsiteY240" fmla="*/ 707803 h 798957"/>
                <a:gd name="connsiteX241" fmla="*/ 330327 w 779430"/>
                <a:gd name="connsiteY241" fmla="*/ 710184 h 798957"/>
                <a:gd name="connsiteX242" fmla="*/ 330327 w 779430"/>
                <a:gd name="connsiteY242" fmla="*/ 715137 h 798957"/>
                <a:gd name="connsiteX243" fmla="*/ 323565 w 779430"/>
                <a:gd name="connsiteY243" fmla="*/ 718947 h 798957"/>
                <a:gd name="connsiteX244" fmla="*/ 332327 w 779430"/>
                <a:gd name="connsiteY244" fmla="*/ 723710 h 798957"/>
                <a:gd name="connsiteX245" fmla="*/ 335756 w 779430"/>
                <a:gd name="connsiteY245" fmla="*/ 717518 h 798957"/>
                <a:gd name="connsiteX246" fmla="*/ 342138 w 779430"/>
                <a:gd name="connsiteY246" fmla="*/ 716375 h 798957"/>
                <a:gd name="connsiteX247" fmla="*/ 344424 w 779430"/>
                <a:gd name="connsiteY247" fmla="*/ 721614 h 798957"/>
                <a:gd name="connsiteX248" fmla="*/ 356235 w 779430"/>
                <a:gd name="connsiteY248" fmla="*/ 731996 h 798957"/>
                <a:gd name="connsiteX249" fmla="*/ 356902 w 779430"/>
                <a:gd name="connsiteY249" fmla="*/ 739140 h 798957"/>
                <a:gd name="connsiteX250" fmla="*/ 365189 w 779430"/>
                <a:gd name="connsiteY250" fmla="*/ 733901 h 798957"/>
                <a:gd name="connsiteX251" fmla="*/ 369761 w 779430"/>
                <a:gd name="connsiteY251" fmla="*/ 736568 h 798957"/>
                <a:gd name="connsiteX252" fmla="*/ 373761 w 779430"/>
                <a:gd name="connsiteY252" fmla="*/ 744760 h 798957"/>
                <a:gd name="connsiteX253" fmla="*/ 377762 w 779430"/>
                <a:gd name="connsiteY253" fmla="*/ 742093 h 798957"/>
                <a:gd name="connsiteX254" fmla="*/ 387287 w 779430"/>
                <a:gd name="connsiteY254" fmla="*/ 749046 h 798957"/>
                <a:gd name="connsiteX255" fmla="*/ 387287 w 779430"/>
                <a:gd name="connsiteY255" fmla="*/ 754571 h 798957"/>
                <a:gd name="connsiteX256" fmla="*/ 401479 w 779430"/>
                <a:gd name="connsiteY256" fmla="*/ 760857 h 798957"/>
                <a:gd name="connsiteX257" fmla="*/ 403860 w 779430"/>
                <a:gd name="connsiteY257" fmla="*/ 767905 h 798957"/>
                <a:gd name="connsiteX258" fmla="*/ 414338 w 779430"/>
                <a:gd name="connsiteY258" fmla="*/ 775811 h 798957"/>
                <a:gd name="connsiteX259" fmla="*/ 406432 w 779430"/>
                <a:gd name="connsiteY259" fmla="*/ 784384 h 798957"/>
                <a:gd name="connsiteX260" fmla="*/ 406432 w 779430"/>
                <a:gd name="connsiteY260" fmla="*/ 795052 h 798957"/>
                <a:gd name="connsiteX261" fmla="*/ 412052 w 779430"/>
                <a:gd name="connsiteY261" fmla="*/ 798957 h 798957"/>
                <a:gd name="connsiteX262" fmla="*/ 423672 w 779430"/>
                <a:gd name="connsiteY262" fmla="*/ 785146 h 798957"/>
                <a:gd name="connsiteX263" fmla="*/ 434054 w 779430"/>
                <a:gd name="connsiteY263" fmla="*/ 746474 h 798957"/>
                <a:gd name="connsiteX264" fmla="*/ 447104 w 779430"/>
                <a:gd name="connsiteY264" fmla="*/ 739140 h 798957"/>
                <a:gd name="connsiteX265" fmla="*/ 450342 w 779430"/>
                <a:gd name="connsiteY265" fmla="*/ 715328 h 798957"/>
                <a:gd name="connsiteX266" fmla="*/ 462343 w 779430"/>
                <a:gd name="connsiteY266" fmla="*/ 723043 h 798957"/>
                <a:gd name="connsiteX267" fmla="*/ 451009 w 779430"/>
                <a:gd name="connsiteY267" fmla="*/ 747713 h 798957"/>
                <a:gd name="connsiteX268" fmla="*/ 436722 w 779430"/>
                <a:gd name="connsiteY268" fmla="*/ 753618 h 798957"/>
                <a:gd name="connsiteX269" fmla="*/ 434816 w 779430"/>
                <a:gd name="connsiteY269" fmla="*/ 763429 h 798957"/>
                <a:gd name="connsiteX270" fmla="*/ 458343 w 779430"/>
                <a:gd name="connsiteY270" fmla="*/ 746855 h 798957"/>
                <a:gd name="connsiteX271" fmla="*/ 483394 w 779430"/>
                <a:gd name="connsiteY271" fmla="*/ 699706 h 798957"/>
                <a:gd name="connsiteX272" fmla="*/ 500539 w 779430"/>
                <a:gd name="connsiteY272" fmla="*/ 684181 h 798957"/>
                <a:gd name="connsiteX273" fmla="*/ 505873 w 779430"/>
                <a:gd name="connsiteY273" fmla="*/ 655415 h 798957"/>
                <a:gd name="connsiteX274" fmla="*/ 500253 w 779430"/>
                <a:gd name="connsiteY274" fmla="*/ 628079 h 798957"/>
                <a:gd name="connsiteX275" fmla="*/ 508159 w 779430"/>
                <a:gd name="connsiteY275" fmla="*/ 622173 h 798957"/>
                <a:gd name="connsiteX276" fmla="*/ 500539 w 779430"/>
                <a:gd name="connsiteY276" fmla="*/ 617220 h 798957"/>
                <a:gd name="connsiteX277" fmla="*/ 514731 w 779430"/>
                <a:gd name="connsiteY277" fmla="*/ 610267 h 798957"/>
                <a:gd name="connsiteX278" fmla="*/ 547497 w 779430"/>
                <a:gd name="connsiteY278" fmla="*/ 586073 h 798957"/>
                <a:gd name="connsiteX279" fmla="*/ 566642 w 779430"/>
                <a:gd name="connsiteY279" fmla="*/ 585311 h 798957"/>
                <a:gd name="connsiteX280" fmla="*/ 566642 w 779430"/>
                <a:gd name="connsiteY280" fmla="*/ 580739 h 798957"/>
                <a:gd name="connsiteX281" fmla="*/ 584740 w 779430"/>
                <a:gd name="connsiteY281" fmla="*/ 574167 h 798957"/>
                <a:gd name="connsiteX282" fmla="*/ 586454 w 779430"/>
                <a:gd name="connsiteY282" fmla="*/ 566452 h 798957"/>
                <a:gd name="connsiteX283" fmla="*/ 633603 w 779430"/>
                <a:gd name="connsiteY283" fmla="*/ 566071 h 798957"/>
                <a:gd name="connsiteX284" fmla="*/ 638937 w 779430"/>
                <a:gd name="connsiteY284" fmla="*/ 554164 h 798957"/>
                <a:gd name="connsiteX285" fmla="*/ 654748 w 779430"/>
                <a:gd name="connsiteY285" fmla="*/ 546449 h 798957"/>
                <a:gd name="connsiteX286" fmla="*/ 654748 w 779430"/>
                <a:gd name="connsiteY286" fmla="*/ 530638 h 798957"/>
                <a:gd name="connsiteX287" fmla="*/ 669512 w 779430"/>
                <a:gd name="connsiteY287" fmla="*/ 500920 h 798957"/>
                <a:gd name="connsiteX288" fmla="*/ 677894 w 779430"/>
                <a:gd name="connsiteY288" fmla="*/ 497110 h 798957"/>
                <a:gd name="connsiteX289" fmla="*/ 680847 w 779430"/>
                <a:gd name="connsiteY289" fmla="*/ 468725 h 798957"/>
                <a:gd name="connsiteX290" fmla="*/ 691134 w 779430"/>
                <a:gd name="connsiteY290" fmla="*/ 457581 h 798957"/>
                <a:gd name="connsiteX291" fmla="*/ 689800 w 779430"/>
                <a:gd name="connsiteY291" fmla="*/ 446818 h 798957"/>
                <a:gd name="connsiteX292" fmla="*/ 696373 w 779430"/>
                <a:gd name="connsiteY292" fmla="*/ 420529 h 798957"/>
                <a:gd name="connsiteX293" fmla="*/ 692372 w 779430"/>
                <a:gd name="connsiteY293" fmla="*/ 396240 h 798957"/>
                <a:gd name="connsiteX294" fmla="*/ 695420 w 779430"/>
                <a:gd name="connsiteY294" fmla="*/ 357378 h 798957"/>
                <a:gd name="connsiteX295" fmla="*/ 710565 w 779430"/>
                <a:gd name="connsiteY295" fmla="*/ 357378 h 798957"/>
                <a:gd name="connsiteX296" fmla="*/ 730377 w 779430"/>
                <a:gd name="connsiteY296" fmla="*/ 326327 h 798957"/>
                <a:gd name="connsiteX297" fmla="*/ 727710 w 779430"/>
                <a:gd name="connsiteY297" fmla="*/ 322612 h 798957"/>
                <a:gd name="connsiteX298" fmla="*/ 745617 w 779430"/>
                <a:gd name="connsiteY298" fmla="*/ 311848 h 798957"/>
                <a:gd name="connsiteX299" fmla="*/ 757142 w 779430"/>
                <a:gd name="connsiteY299" fmla="*/ 297275 h 798957"/>
                <a:gd name="connsiteX300" fmla="*/ 753618 w 779430"/>
                <a:gd name="connsiteY300" fmla="*/ 290227 h 798957"/>
                <a:gd name="connsiteX301" fmla="*/ 767049 w 779430"/>
                <a:gd name="connsiteY301" fmla="*/ 286321 h 798957"/>
                <a:gd name="connsiteX302" fmla="*/ 779431 w 779430"/>
                <a:gd name="connsiteY302" fmla="*/ 246888 h 79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779430" h="798957">
                  <a:moveTo>
                    <a:pt x="779431" y="246888"/>
                  </a:moveTo>
                  <a:lnTo>
                    <a:pt x="764762" y="207740"/>
                  </a:lnTo>
                  <a:lnTo>
                    <a:pt x="730092" y="202121"/>
                  </a:lnTo>
                  <a:lnTo>
                    <a:pt x="712565" y="187928"/>
                  </a:lnTo>
                  <a:lnTo>
                    <a:pt x="704279" y="177737"/>
                  </a:lnTo>
                  <a:lnTo>
                    <a:pt x="673894" y="160877"/>
                  </a:lnTo>
                  <a:lnTo>
                    <a:pt x="649510" y="164211"/>
                  </a:lnTo>
                  <a:lnTo>
                    <a:pt x="639604" y="156591"/>
                  </a:lnTo>
                  <a:lnTo>
                    <a:pt x="629698" y="160591"/>
                  </a:lnTo>
                  <a:lnTo>
                    <a:pt x="607600" y="151257"/>
                  </a:lnTo>
                  <a:lnTo>
                    <a:pt x="594170" y="159734"/>
                  </a:lnTo>
                  <a:lnTo>
                    <a:pt x="593979" y="152305"/>
                  </a:lnTo>
                  <a:lnTo>
                    <a:pt x="589026" y="153638"/>
                  </a:lnTo>
                  <a:lnTo>
                    <a:pt x="586740" y="160591"/>
                  </a:lnTo>
                  <a:lnTo>
                    <a:pt x="576643" y="167449"/>
                  </a:lnTo>
                  <a:lnTo>
                    <a:pt x="584740" y="144971"/>
                  </a:lnTo>
                  <a:lnTo>
                    <a:pt x="582835" y="139065"/>
                  </a:lnTo>
                  <a:lnTo>
                    <a:pt x="560641" y="131731"/>
                  </a:lnTo>
                  <a:lnTo>
                    <a:pt x="557593" y="125158"/>
                  </a:lnTo>
                  <a:lnTo>
                    <a:pt x="549783" y="127826"/>
                  </a:lnTo>
                  <a:lnTo>
                    <a:pt x="549021" y="122777"/>
                  </a:lnTo>
                  <a:lnTo>
                    <a:pt x="540163" y="124587"/>
                  </a:lnTo>
                  <a:lnTo>
                    <a:pt x="541687" y="117729"/>
                  </a:lnTo>
                  <a:lnTo>
                    <a:pt x="513398" y="118586"/>
                  </a:lnTo>
                  <a:lnTo>
                    <a:pt x="506635" y="124873"/>
                  </a:lnTo>
                  <a:lnTo>
                    <a:pt x="506349" y="133826"/>
                  </a:lnTo>
                  <a:lnTo>
                    <a:pt x="489299" y="142875"/>
                  </a:lnTo>
                  <a:lnTo>
                    <a:pt x="499872" y="132493"/>
                  </a:lnTo>
                  <a:lnTo>
                    <a:pt x="500825" y="121634"/>
                  </a:lnTo>
                  <a:lnTo>
                    <a:pt x="507206" y="118491"/>
                  </a:lnTo>
                  <a:lnTo>
                    <a:pt x="511016" y="104394"/>
                  </a:lnTo>
                  <a:lnTo>
                    <a:pt x="486251" y="104108"/>
                  </a:lnTo>
                  <a:lnTo>
                    <a:pt x="472345" y="101155"/>
                  </a:lnTo>
                  <a:lnTo>
                    <a:pt x="467773" y="103156"/>
                  </a:lnTo>
                  <a:lnTo>
                    <a:pt x="458153" y="124778"/>
                  </a:lnTo>
                  <a:lnTo>
                    <a:pt x="460629" y="100774"/>
                  </a:lnTo>
                  <a:lnTo>
                    <a:pt x="478155" y="81344"/>
                  </a:lnTo>
                  <a:lnTo>
                    <a:pt x="460629" y="63818"/>
                  </a:lnTo>
                  <a:lnTo>
                    <a:pt x="455676" y="42386"/>
                  </a:lnTo>
                  <a:lnTo>
                    <a:pt x="454343" y="27146"/>
                  </a:lnTo>
                  <a:lnTo>
                    <a:pt x="445389" y="17240"/>
                  </a:lnTo>
                  <a:lnTo>
                    <a:pt x="442436" y="24479"/>
                  </a:lnTo>
                  <a:lnTo>
                    <a:pt x="442246" y="24194"/>
                  </a:lnTo>
                  <a:lnTo>
                    <a:pt x="442246" y="24765"/>
                  </a:lnTo>
                  <a:lnTo>
                    <a:pt x="429101" y="42291"/>
                  </a:lnTo>
                  <a:lnTo>
                    <a:pt x="424434" y="54673"/>
                  </a:lnTo>
                  <a:lnTo>
                    <a:pt x="418243" y="60388"/>
                  </a:lnTo>
                  <a:lnTo>
                    <a:pt x="412814" y="60388"/>
                  </a:lnTo>
                  <a:lnTo>
                    <a:pt x="410051" y="57245"/>
                  </a:lnTo>
                  <a:lnTo>
                    <a:pt x="405384" y="60388"/>
                  </a:lnTo>
                  <a:lnTo>
                    <a:pt x="401193" y="56960"/>
                  </a:lnTo>
                  <a:lnTo>
                    <a:pt x="394525" y="62198"/>
                  </a:lnTo>
                  <a:lnTo>
                    <a:pt x="386239" y="60388"/>
                  </a:lnTo>
                  <a:lnTo>
                    <a:pt x="385286" y="58579"/>
                  </a:lnTo>
                  <a:lnTo>
                    <a:pt x="383667" y="55721"/>
                  </a:lnTo>
                  <a:lnTo>
                    <a:pt x="379095" y="56483"/>
                  </a:lnTo>
                  <a:lnTo>
                    <a:pt x="377476" y="52388"/>
                  </a:lnTo>
                  <a:lnTo>
                    <a:pt x="363855" y="56960"/>
                  </a:lnTo>
                  <a:lnTo>
                    <a:pt x="357854" y="53149"/>
                  </a:lnTo>
                  <a:lnTo>
                    <a:pt x="353759" y="58579"/>
                  </a:lnTo>
                  <a:lnTo>
                    <a:pt x="359950" y="63246"/>
                  </a:lnTo>
                  <a:lnTo>
                    <a:pt x="359473" y="67818"/>
                  </a:lnTo>
                  <a:lnTo>
                    <a:pt x="349663" y="66008"/>
                  </a:lnTo>
                  <a:lnTo>
                    <a:pt x="348139" y="66199"/>
                  </a:lnTo>
                  <a:lnTo>
                    <a:pt x="338042" y="67342"/>
                  </a:lnTo>
                  <a:lnTo>
                    <a:pt x="335185" y="64008"/>
                  </a:lnTo>
                  <a:lnTo>
                    <a:pt x="330327" y="65246"/>
                  </a:lnTo>
                  <a:lnTo>
                    <a:pt x="327184" y="70961"/>
                  </a:lnTo>
                  <a:lnTo>
                    <a:pt x="321564" y="69628"/>
                  </a:lnTo>
                  <a:lnTo>
                    <a:pt x="317182" y="74771"/>
                  </a:lnTo>
                  <a:lnTo>
                    <a:pt x="309943" y="71152"/>
                  </a:lnTo>
                  <a:lnTo>
                    <a:pt x="306800" y="74581"/>
                  </a:lnTo>
                  <a:lnTo>
                    <a:pt x="307562" y="78962"/>
                  </a:lnTo>
                  <a:lnTo>
                    <a:pt x="301371" y="80772"/>
                  </a:lnTo>
                  <a:lnTo>
                    <a:pt x="292894" y="77153"/>
                  </a:lnTo>
                  <a:lnTo>
                    <a:pt x="288227" y="70390"/>
                  </a:lnTo>
                  <a:lnTo>
                    <a:pt x="283083" y="68580"/>
                  </a:lnTo>
                  <a:lnTo>
                    <a:pt x="283083" y="59341"/>
                  </a:lnTo>
                  <a:lnTo>
                    <a:pt x="277654" y="49530"/>
                  </a:lnTo>
                  <a:lnTo>
                    <a:pt x="281274" y="37433"/>
                  </a:lnTo>
                  <a:lnTo>
                    <a:pt x="280511" y="33052"/>
                  </a:lnTo>
                  <a:lnTo>
                    <a:pt x="286988" y="26289"/>
                  </a:lnTo>
                  <a:lnTo>
                    <a:pt x="283369" y="17240"/>
                  </a:lnTo>
                  <a:lnTo>
                    <a:pt x="274606" y="14954"/>
                  </a:lnTo>
                  <a:lnTo>
                    <a:pt x="278225" y="3620"/>
                  </a:lnTo>
                  <a:lnTo>
                    <a:pt x="273558" y="0"/>
                  </a:lnTo>
                  <a:lnTo>
                    <a:pt x="262604" y="1524"/>
                  </a:lnTo>
                  <a:lnTo>
                    <a:pt x="262509" y="1524"/>
                  </a:lnTo>
                  <a:lnTo>
                    <a:pt x="266033" y="5715"/>
                  </a:lnTo>
                  <a:lnTo>
                    <a:pt x="264223" y="9239"/>
                  </a:lnTo>
                  <a:lnTo>
                    <a:pt x="259652" y="10573"/>
                  </a:lnTo>
                  <a:lnTo>
                    <a:pt x="257556" y="14954"/>
                  </a:lnTo>
                  <a:lnTo>
                    <a:pt x="249555" y="14478"/>
                  </a:lnTo>
                  <a:lnTo>
                    <a:pt x="246412" y="20383"/>
                  </a:lnTo>
                  <a:lnTo>
                    <a:pt x="234887" y="23241"/>
                  </a:lnTo>
                  <a:lnTo>
                    <a:pt x="228886" y="20669"/>
                  </a:lnTo>
                  <a:lnTo>
                    <a:pt x="222981" y="24289"/>
                  </a:lnTo>
                  <a:lnTo>
                    <a:pt x="223457" y="31718"/>
                  </a:lnTo>
                  <a:lnTo>
                    <a:pt x="218123" y="33052"/>
                  </a:lnTo>
                  <a:lnTo>
                    <a:pt x="210598" y="24479"/>
                  </a:lnTo>
                  <a:lnTo>
                    <a:pt x="207740" y="28385"/>
                  </a:lnTo>
                  <a:lnTo>
                    <a:pt x="202121" y="25051"/>
                  </a:lnTo>
                  <a:lnTo>
                    <a:pt x="197453" y="27146"/>
                  </a:lnTo>
                  <a:lnTo>
                    <a:pt x="194310" y="21431"/>
                  </a:lnTo>
                  <a:lnTo>
                    <a:pt x="182213" y="19621"/>
                  </a:lnTo>
                  <a:lnTo>
                    <a:pt x="194786" y="34099"/>
                  </a:lnTo>
                  <a:lnTo>
                    <a:pt x="193548" y="41243"/>
                  </a:lnTo>
                  <a:lnTo>
                    <a:pt x="197930" y="48482"/>
                  </a:lnTo>
                  <a:lnTo>
                    <a:pt x="197453" y="55245"/>
                  </a:lnTo>
                  <a:lnTo>
                    <a:pt x="211074" y="55245"/>
                  </a:lnTo>
                  <a:lnTo>
                    <a:pt x="210598" y="61436"/>
                  </a:lnTo>
                  <a:lnTo>
                    <a:pt x="197453" y="65818"/>
                  </a:lnTo>
                  <a:lnTo>
                    <a:pt x="196691" y="72009"/>
                  </a:lnTo>
                  <a:lnTo>
                    <a:pt x="192500" y="77438"/>
                  </a:lnTo>
                  <a:lnTo>
                    <a:pt x="190500" y="74295"/>
                  </a:lnTo>
                  <a:lnTo>
                    <a:pt x="176308" y="81534"/>
                  </a:lnTo>
                  <a:lnTo>
                    <a:pt x="169355" y="91059"/>
                  </a:lnTo>
                  <a:lnTo>
                    <a:pt x="166211" y="84868"/>
                  </a:lnTo>
                  <a:lnTo>
                    <a:pt x="158782" y="89535"/>
                  </a:lnTo>
                  <a:lnTo>
                    <a:pt x="151829" y="89249"/>
                  </a:lnTo>
                  <a:lnTo>
                    <a:pt x="141637" y="80296"/>
                  </a:lnTo>
                  <a:lnTo>
                    <a:pt x="132683" y="82010"/>
                  </a:lnTo>
                  <a:lnTo>
                    <a:pt x="129826" y="64008"/>
                  </a:lnTo>
                  <a:lnTo>
                    <a:pt x="122587" y="68771"/>
                  </a:lnTo>
                  <a:lnTo>
                    <a:pt x="114109" y="64008"/>
                  </a:lnTo>
                  <a:lnTo>
                    <a:pt x="113348" y="70390"/>
                  </a:lnTo>
                  <a:lnTo>
                    <a:pt x="82582" y="70390"/>
                  </a:lnTo>
                  <a:lnTo>
                    <a:pt x="82582" y="82010"/>
                  </a:lnTo>
                  <a:lnTo>
                    <a:pt x="96012" y="84391"/>
                  </a:lnTo>
                  <a:lnTo>
                    <a:pt x="96774" y="91916"/>
                  </a:lnTo>
                  <a:lnTo>
                    <a:pt x="78581" y="92869"/>
                  </a:lnTo>
                  <a:lnTo>
                    <a:pt x="78581" y="107347"/>
                  </a:lnTo>
                  <a:lnTo>
                    <a:pt x="87154" y="114300"/>
                  </a:lnTo>
                  <a:lnTo>
                    <a:pt x="87154" y="118967"/>
                  </a:lnTo>
                  <a:lnTo>
                    <a:pt x="91821" y="129159"/>
                  </a:lnTo>
                  <a:lnTo>
                    <a:pt x="81058" y="186785"/>
                  </a:lnTo>
                  <a:lnTo>
                    <a:pt x="80106" y="191833"/>
                  </a:lnTo>
                  <a:lnTo>
                    <a:pt x="64961" y="187166"/>
                  </a:lnTo>
                  <a:lnTo>
                    <a:pt x="59436" y="192691"/>
                  </a:lnTo>
                  <a:lnTo>
                    <a:pt x="41148" y="194501"/>
                  </a:lnTo>
                  <a:lnTo>
                    <a:pt x="22098" y="206121"/>
                  </a:lnTo>
                  <a:lnTo>
                    <a:pt x="17145" y="232220"/>
                  </a:lnTo>
                  <a:lnTo>
                    <a:pt x="5239" y="241078"/>
                  </a:lnTo>
                  <a:lnTo>
                    <a:pt x="5905" y="249364"/>
                  </a:lnTo>
                  <a:lnTo>
                    <a:pt x="0" y="251651"/>
                  </a:lnTo>
                  <a:lnTo>
                    <a:pt x="6572" y="260318"/>
                  </a:lnTo>
                  <a:lnTo>
                    <a:pt x="6572" y="268319"/>
                  </a:lnTo>
                  <a:lnTo>
                    <a:pt x="20764" y="282416"/>
                  </a:lnTo>
                  <a:lnTo>
                    <a:pt x="16193" y="290608"/>
                  </a:lnTo>
                  <a:lnTo>
                    <a:pt x="31337" y="292322"/>
                  </a:lnTo>
                  <a:lnTo>
                    <a:pt x="37529" y="302514"/>
                  </a:lnTo>
                  <a:lnTo>
                    <a:pt x="52578" y="302514"/>
                  </a:lnTo>
                  <a:lnTo>
                    <a:pt x="68009" y="291274"/>
                  </a:lnTo>
                  <a:lnTo>
                    <a:pt x="67056" y="319278"/>
                  </a:lnTo>
                  <a:lnTo>
                    <a:pt x="74295" y="323660"/>
                  </a:lnTo>
                  <a:lnTo>
                    <a:pt x="80867" y="319659"/>
                  </a:lnTo>
                  <a:lnTo>
                    <a:pt x="88011" y="320897"/>
                  </a:lnTo>
                  <a:lnTo>
                    <a:pt x="107632" y="324326"/>
                  </a:lnTo>
                  <a:lnTo>
                    <a:pt x="116491" y="315278"/>
                  </a:lnTo>
                  <a:lnTo>
                    <a:pt x="125159" y="316230"/>
                  </a:lnTo>
                  <a:lnTo>
                    <a:pt x="133065" y="308515"/>
                  </a:lnTo>
                  <a:lnTo>
                    <a:pt x="136017" y="308515"/>
                  </a:lnTo>
                  <a:lnTo>
                    <a:pt x="144685" y="301180"/>
                  </a:lnTo>
                  <a:lnTo>
                    <a:pt x="163068" y="297275"/>
                  </a:lnTo>
                  <a:lnTo>
                    <a:pt x="166688" y="299752"/>
                  </a:lnTo>
                  <a:lnTo>
                    <a:pt x="170688" y="295656"/>
                  </a:lnTo>
                  <a:lnTo>
                    <a:pt x="173736" y="298228"/>
                  </a:lnTo>
                  <a:lnTo>
                    <a:pt x="172021" y="303181"/>
                  </a:lnTo>
                  <a:lnTo>
                    <a:pt x="173355" y="306610"/>
                  </a:lnTo>
                  <a:lnTo>
                    <a:pt x="169069" y="314325"/>
                  </a:lnTo>
                  <a:lnTo>
                    <a:pt x="172021" y="319278"/>
                  </a:lnTo>
                  <a:lnTo>
                    <a:pt x="170688" y="325660"/>
                  </a:lnTo>
                  <a:lnTo>
                    <a:pt x="174022" y="336518"/>
                  </a:lnTo>
                  <a:lnTo>
                    <a:pt x="177927" y="339662"/>
                  </a:lnTo>
                  <a:lnTo>
                    <a:pt x="178975" y="342900"/>
                  </a:lnTo>
                  <a:lnTo>
                    <a:pt x="188881" y="347281"/>
                  </a:lnTo>
                  <a:lnTo>
                    <a:pt x="189166" y="351854"/>
                  </a:lnTo>
                  <a:lnTo>
                    <a:pt x="200120" y="353663"/>
                  </a:lnTo>
                  <a:lnTo>
                    <a:pt x="203740" y="350330"/>
                  </a:lnTo>
                  <a:lnTo>
                    <a:pt x="211836" y="356806"/>
                  </a:lnTo>
                  <a:lnTo>
                    <a:pt x="216694" y="354330"/>
                  </a:lnTo>
                  <a:lnTo>
                    <a:pt x="219361" y="360426"/>
                  </a:lnTo>
                  <a:lnTo>
                    <a:pt x="234887" y="365855"/>
                  </a:lnTo>
                  <a:lnTo>
                    <a:pt x="240697" y="372904"/>
                  </a:lnTo>
                  <a:lnTo>
                    <a:pt x="256508" y="372237"/>
                  </a:lnTo>
                  <a:lnTo>
                    <a:pt x="271177" y="381571"/>
                  </a:lnTo>
                  <a:lnTo>
                    <a:pt x="267653" y="386620"/>
                  </a:lnTo>
                  <a:lnTo>
                    <a:pt x="271177" y="393192"/>
                  </a:lnTo>
                  <a:lnTo>
                    <a:pt x="271177" y="403288"/>
                  </a:lnTo>
                  <a:lnTo>
                    <a:pt x="264795" y="403288"/>
                  </a:lnTo>
                  <a:lnTo>
                    <a:pt x="273748" y="412337"/>
                  </a:lnTo>
                  <a:lnTo>
                    <a:pt x="273748" y="428625"/>
                  </a:lnTo>
                  <a:lnTo>
                    <a:pt x="310705" y="428625"/>
                  </a:lnTo>
                  <a:lnTo>
                    <a:pt x="308039" y="436340"/>
                  </a:lnTo>
                  <a:lnTo>
                    <a:pt x="308039" y="447865"/>
                  </a:lnTo>
                  <a:lnTo>
                    <a:pt x="322612" y="455962"/>
                  </a:lnTo>
                  <a:lnTo>
                    <a:pt x="327565" y="468725"/>
                  </a:lnTo>
                  <a:lnTo>
                    <a:pt x="322516" y="480631"/>
                  </a:lnTo>
                  <a:lnTo>
                    <a:pt x="323279" y="485299"/>
                  </a:lnTo>
                  <a:lnTo>
                    <a:pt x="316230" y="496443"/>
                  </a:lnTo>
                  <a:lnTo>
                    <a:pt x="321183" y="503206"/>
                  </a:lnTo>
                  <a:lnTo>
                    <a:pt x="314992" y="508921"/>
                  </a:lnTo>
                  <a:lnTo>
                    <a:pt x="320897" y="524732"/>
                  </a:lnTo>
                  <a:lnTo>
                    <a:pt x="317182" y="537877"/>
                  </a:lnTo>
                  <a:lnTo>
                    <a:pt x="318325" y="547878"/>
                  </a:lnTo>
                  <a:lnTo>
                    <a:pt x="343758" y="553117"/>
                  </a:lnTo>
                  <a:lnTo>
                    <a:pt x="348615" y="547211"/>
                  </a:lnTo>
                  <a:lnTo>
                    <a:pt x="352996" y="552736"/>
                  </a:lnTo>
                  <a:lnTo>
                    <a:pt x="359569" y="552736"/>
                  </a:lnTo>
                  <a:lnTo>
                    <a:pt x="364522" y="561880"/>
                  </a:lnTo>
                  <a:lnTo>
                    <a:pt x="364522" y="568262"/>
                  </a:lnTo>
                  <a:lnTo>
                    <a:pt x="366808" y="575881"/>
                  </a:lnTo>
                  <a:lnTo>
                    <a:pt x="367855" y="588169"/>
                  </a:lnTo>
                  <a:lnTo>
                    <a:pt x="372809" y="589216"/>
                  </a:lnTo>
                  <a:lnTo>
                    <a:pt x="380048" y="586930"/>
                  </a:lnTo>
                  <a:lnTo>
                    <a:pt x="384048" y="584645"/>
                  </a:lnTo>
                  <a:lnTo>
                    <a:pt x="391573" y="589883"/>
                  </a:lnTo>
                  <a:lnTo>
                    <a:pt x="389382" y="594360"/>
                  </a:lnTo>
                  <a:lnTo>
                    <a:pt x="391287" y="597598"/>
                  </a:lnTo>
                  <a:lnTo>
                    <a:pt x="388334" y="611886"/>
                  </a:lnTo>
                  <a:lnTo>
                    <a:pt x="383667" y="620363"/>
                  </a:lnTo>
                  <a:lnTo>
                    <a:pt x="385382" y="621887"/>
                  </a:lnTo>
                  <a:lnTo>
                    <a:pt x="387953" y="624269"/>
                  </a:lnTo>
                  <a:lnTo>
                    <a:pt x="393859" y="619697"/>
                  </a:lnTo>
                  <a:lnTo>
                    <a:pt x="398526" y="623221"/>
                  </a:lnTo>
                  <a:lnTo>
                    <a:pt x="399859" y="629888"/>
                  </a:lnTo>
                  <a:lnTo>
                    <a:pt x="403479" y="636556"/>
                  </a:lnTo>
                  <a:lnTo>
                    <a:pt x="400717" y="640080"/>
                  </a:lnTo>
                  <a:lnTo>
                    <a:pt x="402146" y="648462"/>
                  </a:lnTo>
                  <a:lnTo>
                    <a:pt x="399859" y="654368"/>
                  </a:lnTo>
                  <a:lnTo>
                    <a:pt x="393287" y="657225"/>
                  </a:lnTo>
                  <a:lnTo>
                    <a:pt x="389668" y="661416"/>
                  </a:lnTo>
                  <a:lnTo>
                    <a:pt x="384334" y="660654"/>
                  </a:lnTo>
                  <a:lnTo>
                    <a:pt x="376047" y="669798"/>
                  </a:lnTo>
                  <a:lnTo>
                    <a:pt x="371284" y="670560"/>
                  </a:lnTo>
                  <a:lnTo>
                    <a:pt x="363569" y="676751"/>
                  </a:lnTo>
                  <a:lnTo>
                    <a:pt x="363855" y="682752"/>
                  </a:lnTo>
                  <a:lnTo>
                    <a:pt x="357664" y="681038"/>
                  </a:lnTo>
                  <a:lnTo>
                    <a:pt x="350615" y="692277"/>
                  </a:lnTo>
                  <a:lnTo>
                    <a:pt x="344519" y="696468"/>
                  </a:lnTo>
                  <a:lnTo>
                    <a:pt x="337281" y="707803"/>
                  </a:lnTo>
                  <a:lnTo>
                    <a:pt x="330327" y="710184"/>
                  </a:lnTo>
                  <a:lnTo>
                    <a:pt x="330327" y="715137"/>
                  </a:lnTo>
                  <a:lnTo>
                    <a:pt x="323565" y="718947"/>
                  </a:lnTo>
                  <a:lnTo>
                    <a:pt x="332327" y="723710"/>
                  </a:lnTo>
                  <a:lnTo>
                    <a:pt x="335756" y="717518"/>
                  </a:lnTo>
                  <a:lnTo>
                    <a:pt x="342138" y="716375"/>
                  </a:lnTo>
                  <a:lnTo>
                    <a:pt x="344424" y="721614"/>
                  </a:lnTo>
                  <a:lnTo>
                    <a:pt x="356235" y="731996"/>
                  </a:lnTo>
                  <a:lnTo>
                    <a:pt x="356902" y="739140"/>
                  </a:lnTo>
                  <a:lnTo>
                    <a:pt x="365189" y="733901"/>
                  </a:lnTo>
                  <a:lnTo>
                    <a:pt x="369761" y="736568"/>
                  </a:lnTo>
                  <a:lnTo>
                    <a:pt x="373761" y="744760"/>
                  </a:lnTo>
                  <a:lnTo>
                    <a:pt x="377762" y="742093"/>
                  </a:lnTo>
                  <a:lnTo>
                    <a:pt x="387287" y="749046"/>
                  </a:lnTo>
                  <a:lnTo>
                    <a:pt x="387287" y="754571"/>
                  </a:lnTo>
                  <a:lnTo>
                    <a:pt x="401479" y="760857"/>
                  </a:lnTo>
                  <a:lnTo>
                    <a:pt x="403860" y="767905"/>
                  </a:lnTo>
                  <a:lnTo>
                    <a:pt x="414338" y="775811"/>
                  </a:lnTo>
                  <a:lnTo>
                    <a:pt x="406432" y="784384"/>
                  </a:lnTo>
                  <a:lnTo>
                    <a:pt x="406432" y="795052"/>
                  </a:lnTo>
                  <a:lnTo>
                    <a:pt x="412052" y="798957"/>
                  </a:lnTo>
                  <a:lnTo>
                    <a:pt x="423672" y="785146"/>
                  </a:lnTo>
                  <a:lnTo>
                    <a:pt x="434054" y="746474"/>
                  </a:lnTo>
                  <a:lnTo>
                    <a:pt x="447104" y="739140"/>
                  </a:lnTo>
                  <a:lnTo>
                    <a:pt x="450342" y="715328"/>
                  </a:lnTo>
                  <a:lnTo>
                    <a:pt x="462343" y="723043"/>
                  </a:lnTo>
                  <a:lnTo>
                    <a:pt x="451009" y="747713"/>
                  </a:lnTo>
                  <a:lnTo>
                    <a:pt x="436722" y="753618"/>
                  </a:lnTo>
                  <a:lnTo>
                    <a:pt x="434816" y="763429"/>
                  </a:lnTo>
                  <a:lnTo>
                    <a:pt x="458343" y="746855"/>
                  </a:lnTo>
                  <a:lnTo>
                    <a:pt x="483394" y="699706"/>
                  </a:lnTo>
                  <a:lnTo>
                    <a:pt x="500539" y="684181"/>
                  </a:lnTo>
                  <a:lnTo>
                    <a:pt x="505873" y="655415"/>
                  </a:lnTo>
                  <a:lnTo>
                    <a:pt x="500253" y="628079"/>
                  </a:lnTo>
                  <a:lnTo>
                    <a:pt x="508159" y="622173"/>
                  </a:lnTo>
                  <a:lnTo>
                    <a:pt x="500539" y="617220"/>
                  </a:lnTo>
                  <a:lnTo>
                    <a:pt x="514731" y="610267"/>
                  </a:lnTo>
                  <a:lnTo>
                    <a:pt x="547497" y="586073"/>
                  </a:lnTo>
                  <a:lnTo>
                    <a:pt x="566642" y="585311"/>
                  </a:lnTo>
                  <a:lnTo>
                    <a:pt x="566642" y="580739"/>
                  </a:lnTo>
                  <a:lnTo>
                    <a:pt x="584740" y="574167"/>
                  </a:lnTo>
                  <a:lnTo>
                    <a:pt x="586454" y="566452"/>
                  </a:lnTo>
                  <a:lnTo>
                    <a:pt x="633603" y="566071"/>
                  </a:lnTo>
                  <a:lnTo>
                    <a:pt x="638937" y="554164"/>
                  </a:lnTo>
                  <a:lnTo>
                    <a:pt x="654748" y="546449"/>
                  </a:lnTo>
                  <a:lnTo>
                    <a:pt x="654748" y="530638"/>
                  </a:lnTo>
                  <a:lnTo>
                    <a:pt x="669512" y="500920"/>
                  </a:lnTo>
                  <a:lnTo>
                    <a:pt x="677894" y="497110"/>
                  </a:lnTo>
                  <a:lnTo>
                    <a:pt x="680847" y="468725"/>
                  </a:lnTo>
                  <a:lnTo>
                    <a:pt x="691134" y="457581"/>
                  </a:lnTo>
                  <a:lnTo>
                    <a:pt x="689800" y="446818"/>
                  </a:lnTo>
                  <a:lnTo>
                    <a:pt x="696373" y="420529"/>
                  </a:lnTo>
                  <a:lnTo>
                    <a:pt x="692372" y="396240"/>
                  </a:lnTo>
                  <a:lnTo>
                    <a:pt x="695420" y="357378"/>
                  </a:lnTo>
                  <a:lnTo>
                    <a:pt x="710565" y="357378"/>
                  </a:lnTo>
                  <a:lnTo>
                    <a:pt x="730377" y="326327"/>
                  </a:lnTo>
                  <a:lnTo>
                    <a:pt x="727710" y="322612"/>
                  </a:lnTo>
                  <a:lnTo>
                    <a:pt x="745617" y="311848"/>
                  </a:lnTo>
                  <a:lnTo>
                    <a:pt x="757142" y="297275"/>
                  </a:lnTo>
                  <a:lnTo>
                    <a:pt x="753618" y="290227"/>
                  </a:lnTo>
                  <a:lnTo>
                    <a:pt x="767049" y="286321"/>
                  </a:lnTo>
                  <a:lnTo>
                    <a:pt x="779431" y="24688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899" name="Freeform: Shape 2889">
              <a:extLst>
                <a:ext uri="{FF2B5EF4-FFF2-40B4-BE49-F238E27FC236}">
                  <a16:creationId xmlns:a16="http://schemas.microsoft.com/office/drawing/2014/main" id="{7908DA20-C0BA-E499-264A-882D7ECD176C}"/>
                </a:ext>
              </a:extLst>
            </p:cNvPr>
            <p:cNvSpPr/>
            <p:nvPr/>
          </p:nvSpPr>
          <p:spPr>
            <a:xfrm>
              <a:off x="7504557" y="4800822"/>
              <a:ext cx="242316" cy="269081"/>
            </a:xfrm>
            <a:custGeom>
              <a:avLst/>
              <a:gdLst>
                <a:gd name="connsiteX0" fmla="*/ 237268 w 242316"/>
                <a:gd name="connsiteY0" fmla="*/ 184975 h 269081"/>
                <a:gd name="connsiteX1" fmla="*/ 242316 w 242316"/>
                <a:gd name="connsiteY1" fmla="*/ 173069 h 269081"/>
                <a:gd name="connsiteX2" fmla="*/ 237363 w 242316"/>
                <a:gd name="connsiteY2" fmla="*/ 160306 h 269081"/>
                <a:gd name="connsiteX3" fmla="*/ 222790 w 242316"/>
                <a:gd name="connsiteY3" fmla="*/ 152209 h 269081"/>
                <a:gd name="connsiteX4" fmla="*/ 222790 w 242316"/>
                <a:gd name="connsiteY4" fmla="*/ 140684 h 269081"/>
                <a:gd name="connsiteX5" fmla="*/ 225457 w 242316"/>
                <a:gd name="connsiteY5" fmla="*/ 132969 h 269081"/>
                <a:gd name="connsiteX6" fmla="*/ 188500 w 242316"/>
                <a:gd name="connsiteY6" fmla="*/ 132969 h 269081"/>
                <a:gd name="connsiteX7" fmla="*/ 188500 w 242316"/>
                <a:gd name="connsiteY7" fmla="*/ 116681 h 269081"/>
                <a:gd name="connsiteX8" fmla="*/ 179546 w 242316"/>
                <a:gd name="connsiteY8" fmla="*/ 107632 h 269081"/>
                <a:gd name="connsiteX9" fmla="*/ 185928 w 242316"/>
                <a:gd name="connsiteY9" fmla="*/ 107632 h 269081"/>
                <a:gd name="connsiteX10" fmla="*/ 185928 w 242316"/>
                <a:gd name="connsiteY10" fmla="*/ 97536 h 269081"/>
                <a:gd name="connsiteX11" fmla="*/ 182404 w 242316"/>
                <a:gd name="connsiteY11" fmla="*/ 90964 h 269081"/>
                <a:gd name="connsiteX12" fmla="*/ 185928 w 242316"/>
                <a:gd name="connsiteY12" fmla="*/ 85915 h 269081"/>
                <a:gd name="connsiteX13" fmla="*/ 171259 w 242316"/>
                <a:gd name="connsiteY13" fmla="*/ 76581 h 269081"/>
                <a:gd name="connsiteX14" fmla="*/ 155448 w 242316"/>
                <a:gd name="connsiteY14" fmla="*/ 77248 h 269081"/>
                <a:gd name="connsiteX15" fmla="*/ 149638 w 242316"/>
                <a:gd name="connsiteY15" fmla="*/ 70199 h 269081"/>
                <a:gd name="connsiteX16" fmla="*/ 134112 w 242316"/>
                <a:gd name="connsiteY16" fmla="*/ 64770 h 269081"/>
                <a:gd name="connsiteX17" fmla="*/ 131445 w 242316"/>
                <a:gd name="connsiteY17" fmla="*/ 58674 h 269081"/>
                <a:gd name="connsiteX18" fmla="*/ 126587 w 242316"/>
                <a:gd name="connsiteY18" fmla="*/ 61150 h 269081"/>
                <a:gd name="connsiteX19" fmla="*/ 118491 w 242316"/>
                <a:gd name="connsiteY19" fmla="*/ 54673 h 269081"/>
                <a:gd name="connsiteX20" fmla="*/ 114871 w 242316"/>
                <a:gd name="connsiteY20" fmla="*/ 58007 h 269081"/>
                <a:gd name="connsiteX21" fmla="*/ 103917 w 242316"/>
                <a:gd name="connsiteY21" fmla="*/ 56197 h 269081"/>
                <a:gd name="connsiteX22" fmla="*/ 103632 w 242316"/>
                <a:gd name="connsiteY22" fmla="*/ 51625 h 269081"/>
                <a:gd name="connsiteX23" fmla="*/ 93726 w 242316"/>
                <a:gd name="connsiteY23" fmla="*/ 47244 h 269081"/>
                <a:gd name="connsiteX24" fmla="*/ 92678 w 242316"/>
                <a:gd name="connsiteY24" fmla="*/ 44005 h 269081"/>
                <a:gd name="connsiteX25" fmla="*/ 88773 w 242316"/>
                <a:gd name="connsiteY25" fmla="*/ 40862 h 269081"/>
                <a:gd name="connsiteX26" fmla="*/ 85439 w 242316"/>
                <a:gd name="connsiteY26" fmla="*/ 30004 h 269081"/>
                <a:gd name="connsiteX27" fmla="*/ 86773 w 242316"/>
                <a:gd name="connsiteY27" fmla="*/ 23622 h 269081"/>
                <a:gd name="connsiteX28" fmla="*/ 83820 w 242316"/>
                <a:gd name="connsiteY28" fmla="*/ 18669 h 269081"/>
                <a:gd name="connsiteX29" fmla="*/ 88106 w 242316"/>
                <a:gd name="connsiteY29" fmla="*/ 10954 h 269081"/>
                <a:gd name="connsiteX30" fmla="*/ 86773 w 242316"/>
                <a:gd name="connsiteY30" fmla="*/ 7525 h 269081"/>
                <a:gd name="connsiteX31" fmla="*/ 88487 w 242316"/>
                <a:gd name="connsiteY31" fmla="*/ 2572 h 269081"/>
                <a:gd name="connsiteX32" fmla="*/ 85439 w 242316"/>
                <a:gd name="connsiteY32" fmla="*/ 0 h 269081"/>
                <a:gd name="connsiteX33" fmla="*/ 81439 w 242316"/>
                <a:gd name="connsiteY33" fmla="*/ 4096 h 269081"/>
                <a:gd name="connsiteX34" fmla="*/ 77819 w 242316"/>
                <a:gd name="connsiteY34" fmla="*/ 1619 h 269081"/>
                <a:gd name="connsiteX35" fmla="*/ 59436 w 242316"/>
                <a:gd name="connsiteY35" fmla="*/ 5524 h 269081"/>
                <a:gd name="connsiteX36" fmla="*/ 50768 w 242316"/>
                <a:gd name="connsiteY36" fmla="*/ 12859 h 269081"/>
                <a:gd name="connsiteX37" fmla="*/ 47816 w 242316"/>
                <a:gd name="connsiteY37" fmla="*/ 12859 h 269081"/>
                <a:gd name="connsiteX38" fmla="*/ 39910 w 242316"/>
                <a:gd name="connsiteY38" fmla="*/ 20574 h 269081"/>
                <a:gd name="connsiteX39" fmla="*/ 31242 w 242316"/>
                <a:gd name="connsiteY39" fmla="*/ 19621 h 269081"/>
                <a:gd name="connsiteX40" fmla="*/ 22384 w 242316"/>
                <a:gd name="connsiteY40" fmla="*/ 28670 h 269081"/>
                <a:gd name="connsiteX41" fmla="*/ 2762 w 242316"/>
                <a:gd name="connsiteY41" fmla="*/ 25241 h 269081"/>
                <a:gd name="connsiteX42" fmla="*/ 2857 w 242316"/>
                <a:gd name="connsiteY42" fmla="*/ 25432 h 269081"/>
                <a:gd name="connsiteX43" fmla="*/ 20574 w 242316"/>
                <a:gd name="connsiteY43" fmla="*/ 58198 h 269081"/>
                <a:gd name="connsiteX44" fmla="*/ 13907 w 242316"/>
                <a:gd name="connsiteY44" fmla="*/ 64960 h 269081"/>
                <a:gd name="connsiteX45" fmla="*/ 13907 w 242316"/>
                <a:gd name="connsiteY45" fmla="*/ 76867 h 269081"/>
                <a:gd name="connsiteX46" fmla="*/ 11620 w 242316"/>
                <a:gd name="connsiteY46" fmla="*/ 81343 h 269081"/>
                <a:gd name="connsiteX47" fmla="*/ 17240 w 242316"/>
                <a:gd name="connsiteY47" fmla="*/ 91059 h 269081"/>
                <a:gd name="connsiteX48" fmla="*/ 6668 w 242316"/>
                <a:gd name="connsiteY48" fmla="*/ 102394 h 269081"/>
                <a:gd name="connsiteX49" fmla="*/ 6668 w 242316"/>
                <a:gd name="connsiteY49" fmla="*/ 107442 h 269081"/>
                <a:gd name="connsiteX50" fmla="*/ 12097 w 242316"/>
                <a:gd name="connsiteY50" fmla="*/ 112490 h 269081"/>
                <a:gd name="connsiteX51" fmla="*/ 5143 w 242316"/>
                <a:gd name="connsiteY51" fmla="*/ 120110 h 269081"/>
                <a:gd name="connsiteX52" fmla="*/ 10001 w 242316"/>
                <a:gd name="connsiteY52" fmla="*/ 131159 h 269081"/>
                <a:gd name="connsiteX53" fmla="*/ 15716 w 242316"/>
                <a:gd name="connsiteY53" fmla="*/ 131159 h 269081"/>
                <a:gd name="connsiteX54" fmla="*/ 18288 w 242316"/>
                <a:gd name="connsiteY54" fmla="*/ 134588 h 269081"/>
                <a:gd name="connsiteX55" fmla="*/ 13907 w 242316"/>
                <a:gd name="connsiteY55" fmla="*/ 141160 h 269081"/>
                <a:gd name="connsiteX56" fmla="*/ 9525 w 242316"/>
                <a:gd name="connsiteY56" fmla="*/ 142018 h 269081"/>
                <a:gd name="connsiteX57" fmla="*/ 0 w 242316"/>
                <a:gd name="connsiteY57" fmla="*/ 151447 h 269081"/>
                <a:gd name="connsiteX58" fmla="*/ 5619 w 242316"/>
                <a:gd name="connsiteY58" fmla="*/ 157258 h 269081"/>
                <a:gd name="connsiteX59" fmla="*/ 8001 w 242316"/>
                <a:gd name="connsiteY59" fmla="*/ 165449 h 269081"/>
                <a:gd name="connsiteX60" fmla="*/ 13621 w 242316"/>
                <a:gd name="connsiteY60" fmla="*/ 169069 h 269081"/>
                <a:gd name="connsiteX61" fmla="*/ 11049 w 242316"/>
                <a:gd name="connsiteY61" fmla="*/ 172593 h 269081"/>
                <a:gd name="connsiteX62" fmla="*/ 14668 w 242316"/>
                <a:gd name="connsiteY62" fmla="*/ 187547 h 269081"/>
                <a:gd name="connsiteX63" fmla="*/ 25527 w 242316"/>
                <a:gd name="connsiteY63" fmla="*/ 196501 h 269081"/>
                <a:gd name="connsiteX64" fmla="*/ 20098 w 242316"/>
                <a:gd name="connsiteY64" fmla="*/ 202311 h 269081"/>
                <a:gd name="connsiteX65" fmla="*/ 24193 w 242316"/>
                <a:gd name="connsiteY65" fmla="*/ 207835 h 269081"/>
                <a:gd name="connsiteX66" fmla="*/ 18574 w 242316"/>
                <a:gd name="connsiteY66" fmla="*/ 211646 h 269081"/>
                <a:gd name="connsiteX67" fmla="*/ 19335 w 242316"/>
                <a:gd name="connsiteY67" fmla="*/ 218694 h 269081"/>
                <a:gd name="connsiteX68" fmla="*/ 24955 w 242316"/>
                <a:gd name="connsiteY68" fmla="*/ 222028 h 269081"/>
                <a:gd name="connsiteX69" fmla="*/ 21431 w 242316"/>
                <a:gd name="connsiteY69" fmla="*/ 227171 h 269081"/>
                <a:gd name="connsiteX70" fmla="*/ 26575 w 242316"/>
                <a:gd name="connsiteY70" fmla="*/ 229171 h 269081"/>
                <a:gd name="connsiteX71" fmla="*/ 30670 w 242316"/>
                <a:gd name="connsiteY71" fmla="*/ 236220 h 269081"/>
                <a:gd name="connsiteX72" fmla="*/ 31432 w 242316"/>
                <a:gd name="connsiteY72" fmla="*/ 249364 h 269081"/>
                <a:gd name="connsiteX73" fmla="*/ 35814 w 242316"/>
                <a:gd name="connsiteY73" fmla="*/ 253460 h 269081"/>
                <a:gd name="connsiteX74" fmla="*/ 36576 w 242316"/>
                <a:gd name="connsiteY74" fmla="*/ 269081 h 269081"/>
                <a:gd name="connsiteX75" fmla="*/ 50006 w 242316"/>
                <a:gd name="connsiteY75" fmla="*/ 268033 h 269081"/>
                <a:gd name="connsiteX76" fmla="*/ 52864 w 242316"/>
                <a:gd name="connsiteY76" fmla="*/ 261747 h 269081"/>
                <a:gd name="connsiteX77" fmla="*/ 58484 w 242316"/>
                <a:gd name="connsiteY77" fmla="*/ 260318 h 269081"/>
                <a:gd name="connsiteX78" fmla="*/ 59531 w 242316"/>
                <a:gd name="connsiteY78" fmla="*/ 254603 h 269081"/>
                <a:gd name="connsiteX79" fmla="*/ 66580 w 242316"/>
                <a:gd name="connsiteY79" fmla="*/ 252984 h 269081"/>
                <a:gd name="connsiteX80" fmla="*/ 69152 w 242316"/>
                <a:gd name="connsiteY80" fmla="*/ 245269 h 269081"/>
                <a:gd name="connsiteX81" fmla="*/ 77914 w 242316"/>
                <a:gd name="connsiteY81" fmla="*/ 252413 h 269081"/>
                <a:gd name="connsiteX82" fmla="*/ 94392 w 242316"/>
                <a:gd name="connsiteY82" fmla="*/ 251555 h 269081"/>
                <a:gd name="connsiteX83" fmla="*/ 102679 w 242316"/>
                <a:gd name="connsiteY83" fmla="*/ 256222 h 269081"/>
                <a:gd name="connsiteX84" fmla="*/ 101346 w 242316"/>
                <a:gd name="connsiteY84" fmla="*/ 260318 h 269081"/>
                <a:gd name="connsiteX85" fmla="*/ 107061 w 242316"/>
                <a:gd name="connsiteY85" fmla="*/ 269081 h 269081"/>
                <a:gd name="connsiteX86" fmla="*/ 114776 w 242316"/>
                <a:gd name="connsiteY86" fmla="*/ 250507 h 269081"/>
                <a:gd name="connsiteX87" fmla="*/ 134874 w 242316"/>
                <a:gd name="connsiteY87" fmla="*/ 250507 h 269081"/>
                <a:gd name="connsiteX88" fmla="*/ 139827 w 242316"/>
                <a:gd name="connsiteY88" fmla="*/ 255365 h 269081"/>
                <a:gd name="connsiteX89" fmla="*/ 147257 w 242316"/>
                <a:gd name="connsiteY89" fmla="*/ 231838 h 269081"/>
                <a:gd name="connsiteX90" fmla="*/ 147257 w 242316"/>
                <a:gd name="connsiteY90" fmla="*/ 220123 h 269081"/>
                <a:gd name="connsiteX91" fmla="*/ 154210 w 242316"/>
                <a:gd name="connsiteY91" fmla="*/ 211360 h 269081"/>
                <a:gd name="connsiteX92" fmla="*/ 157639 w 242316"/>
                <a:gd name="connsiteY92" fmla="*/ 201263 h 269081"/>
                <a:gd name="connsiteX93" fmla="*/ 192405 w 242316"/>
                <a:gd name="connsiteY93" fmla="*/ 194405 h 269081"/>
                <a:gd name="connsiteX94" fmla="*/ 210217 w 242316"/>
                <a:gd name="connsiteY94" fmla="*/ 195453 h 269081"/>
                <a:gd name="connsiteX95" fmla="*/ 226981 w 242316"/>
                <a:gd name="connsiteY95" fmla="*/ 204692 h 269081"/>
                <a:gd name="connsiteX96" fmla="*/ 229743 w 242316"/>
                <a:gd name="connsiteY96" fmla="*/ 213265 h 269081"/>
                <a:gd name="connsiteX97" fmla="*/ 235934 w 242316"/>
                <a:gd name="connsiteY97" fmla="*/ 207550 h 269081"/>
                <a:gd name="connsiteX98" fmla="*/ 230981 w 242316"/>
                <a:gd name="connsiteY98" fmla="*/ 200787 h 269081"/>
                <a:gd name="connsiteX99" fmla="*/ 238030 w 242316"/>
                <a:gd name="connsiteY99" fmla="*/ 189643 h 269081"/>
                <a:gd name="connsiteX100" fmla="*/ 237268 w 242316"/>
                <a:gd name="connsiteY100" fmla="*/ 184975 h 26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42316" h="269081">
                  <a:moveTo>
                    <a:pt x="237268" y="184975"/>
                  </a:moveTo>
                  <a:lnTo>
                    <a:pt x="242316" y="173069"/>
                  </a:lnTo>
                  <a:lnTo>
                    <a:pt x="237363" y="160306"/>
                  </a:lnTo>
                  <a:lnTo>
                    <a:pt x="222790" y="152209"/>
                  </a:lnTo>
                  <a:lnTo>
                    <a:pt x="222790" y="140684"/>
                  </a:lnTo>
                  <a:lnTo>
                    <a:pt x="225457" y="132969"/>
                  </a:lnTo>
                  <a:lnTo>
                    <a:pt x="188500" y="132969"/>
                  </a:lnTo>
                  <a:lnTo>
                    <a:pt x="188500" y="116681"/>
                  </a:lnTo>
                  <a:lnTo>
                    <a:pt x="179546" y="107632"/>
                  </a:lnTo>
                  <a:lnTo>
                    <a:pt x="185928" y="107632"/>
                  </a:lnTo>
                  <a:lnTo>
                    <a:pt x="185928" y="97536"/>
                  </a:lnTo>
                  <a:lnTo>
                    <a:pt x="182404" y="90964"/>
                  </a:lnTo>
                  <a:lnTo>
                    <a:pt x="185928" y="85915"/>
                  </a:lnTo>
                  <a:lnTo>
                    <a:pt x="171259" y="76581"/>
                  </a:lnTo>
                  <a:lnTo>
                    <a:pt x="155448" y="77248"/>
                  </a:lnTo>
                  <a:lnTo>
                    <a:pt x="149638" y="70199"/>
                  </a:lnTo>
                  <a:lnTo>
                    <a:pt x="134112" y="64770"/>
                  </a:lnTo>
                  <a:lnTo>
                    <a:pt x="131445" y="58674"/>
                  </a:lnTo>
                  <a:lnTo>
                    <a:pt x="126587" y="61150"/>
                  </a:lnTo>
                  <a:lnTo>
                    <a:pt x="118491" y="54673"/>
                  </a:lnTo>
                  <a:lnTo>
                    <a:pt x="114871" y="58007"/>
                  </a:lnTo>
                  <a:lnTo>
                    <a:pt x="103917" y="56197"/>
                  </a:lnTo>
                  <a:lnTo>
                    <a:pt x="103632" y="51625"/>
                  </a:lnTo>
                  <a:lnTo>
                    <a:pt x="93726" y="47244"/>
                  </a:lnTo>
                  <a:lnTo>
                    <a:pt x="92678" y="44005"/>
                  </a:lnTo>
                  <a:lnTo>
                    <a:pt x="88773" y="40862"/>
                  </a:lnTo>
                  <a:lnTo>
                    <a:pt x="85439" y="30004"/>
                  </a:lnTo>
                  <a:lnTo>
                    <a:pt x="86773" y="23622"/>
                  </a:lnTo>
                  <a:lnTo>
                    <a:pt x="83820" y="18669"/>
                  </a:lnTo>
                  <a:lnTo>
                    <a:pt x="88106" y="10954"/>
                  </a:lnTo>
                  <a:lnTo>
                    <a:pt x="86773" y="7525"/>
                  </a:lnTo>
                  <a:lnTo>
                    <a:pt x="88487" y="2572"/>
                  </a:lnTo>
                  <a:lnTo>
                    <a:pt x="85439" y="0"/>
                  </a:lnTo>
                  <a:lnTo>
                    <a:pt x="81439" y="4096"/>
                  </a:lnTo>
                  <a:lnTo>
                    <a:pt x="77819" y="1619"/>
                  </a:lnTo>
                  <a:lnTo>
                    <a:pt x="59436" y="5524"/>
                  </a:lnTo>
                  <a:lnTo>
                    <a:pt x="50768" y="12859"/>
                  </a:lnTo>
                  <a:lnTo>
                    <a:pt x="47816" y="12859"/>
                  </a:lnTo>
                  <a:lnTo>
                    <a:pt x="39910" y="20574"/>
                  </a:lnTo>
                  <a:lnTo>
                    <a:pt x="31242" y="19621"/>
                  </a:lnTo>
                  <a:lnTo>
                    <a:pt x="22384" y="28670"/>
                  </a:lnTo>
                  <a:lnTo>
                    <a:pt x="2762" y="25241"/>
                  </a:lnTo>
                  <a:lnTo>
                    <a:pt x="2857" y="25432"/>
                  </a:lnTo>
                  <a:lnTo>
                    <a:pt x="20574" y="58198"/>
                  </a:lnTo>
                  <a:lnTo>
                    <a:pt x="13907" y="64960"/>
                  </a:lnTo>
                  <a:lnTo>
                    <a:pt x="13907" y="76867"/>
                  </a:lnTo>
                  <a:lnTo>
                    <a:pt x="11620" y="81343"/>
                  </a:lnTo>
                  <a:lnTo>
                    <a:pt x="17240" y="91059"/>
                  </a:lnTo>
                  <a:lnTo>
                    <a:pt x="6668" y="102394"/>
                  </a:lnTo>
                  <a:lnTo>
                    <a:pt x="6668" y="107442"/>
                  </a:lnTo>
                  <a:lnTo>
                    <a:pt x="12097" y="112490"/>
                  </a:lnTo>
                  <a:lnTo>
                    <a:pt x="5143" y="120110"/>
                  </a:lnTo>
                  <a:lnTo>
                    <a:pt x="10001" y="131159"/>
                  </a:lnTo>
                  <a:lnTo>
                    <a:pt x="15716" y="131159"/>
                  </a:lnTo>
                  <a:lnTo>
                    <a:pt x="18288" y="134588"/>
                  </a:lnTo>
                  <a:lnTo>
                    <a:pt x="13907" y="141160"/>
                  </a:lnTo>
                  <a:lnTo>
                    <a:pt x="9525" y="142018"/>
                  </a:lnTo>
                  <a:lnTo>
                    <a:pt x="0" y="151447"/>
                  </a:lnTo>
                  <a:lnTo>
                    <a:pt x="5619" y="157258"/>
                  </a:lnTo>
                  <a:lnTo>
                    <a:pt x="8001" y="165449"/>
                  </a:lnTo>
                  <a:lnTo>
                    <a:pt x="13621" y="169069"/>
                  </a:lnTo>
                  <a:lnTo>
                    <a:pt x="11049" y="172593"/>
                  </a:lnTo>
                  <a:lnTo>
                    <a:pt x="14668" y="187547"/>
                  </a:lnTo>
                  <a:lnTo>
                    <a:pt x="25527" y="196501"/>
                  </a:lnTo>
                  <a:lnTo>
                    <a:pt x="20098" y="202311"/>
                  </a:lnTo>
                  <a:lnTo>
                    <a:pt x="24193" y="207835"/>
                  </a:lnTo>
                  <a:lnTo>
                    <a:pt x="18574" y="211646"/>
                  </a:lnTo>
                  <a:lnTo>
                    <a:pt x="19335" y="218694"/>
                  </a:lnTo>
                  <a:lnTo>
                    <a:pt x="24955" y="222028"/>
                  </a:lnTo>
                  <a:lnTo>
                    <a:pt x="21431" y="227171"/>
                  </a:lnTo>
                  <a:lnTo>
                    <a:pt x="26575" y="229171"/>
                  </a:lnTo>
                  <a:lnTo>
                    <a:pt x="30670" y="236220"/>
                  </a:lnTo>
                  <a:lnTo>
                    <a:pt x="31432" y="249364"/>
                  </a:lnTo>
                  <a:lnTo>
                    <a:pt x="35814" y="253460"/>
                  </a:lnTo>
                  <a:lnTo>
                    <a:pt x="36576" y="269081"/>
                  </a:lnTo>
                  <a:lnTo>
                    <a:pt x="50006" y="268033"/>
                  </a:lnTo>
                  <a:lnTo>
                    <a:pt x="52864" y="261747"/>
                  </a:lnTo>
                  <a:lnTo>
                    <a:pt x="58484" y="260318"/>
                  </a:lnTo>
                  <a:lnTo>
                    <a:pt x="59531" y="254603"/>
                  </a:lnTo>
                  <a:lnTo>
                    <a:pt x="66580" y="252984"/>
                  </a:lnTo>
                  <a:lnTo>
                    <a:pt x="69152" y="245269"/>
                  </a:lnTo>
                  <a:lnTo>
                    <a:pt x="77914" y="252413"/>
                  </a:lnTo>
                  <a:lnTo>
                    <a:pt x="94392" y="251555"/>
                  </a:lnTo>
                  <a:lnTo>
                    <a:pt x="102679" y="256222"/>
                  </a:lnTo>
                  <a:lnTo>
                    <a:pt x="101346" y="260318"/>
                  </a:lnTo>
                  <a:lnTo>
                    <a:pt x="107061" y="269081"/>
                  </a:lnTo>
                  <a:lnTo>
                    <a:pt x="114776" y="250507"/>
                  </a:lnTo>
                  <a:lnTo>
                    <a:pt x="134874" y="250507"/>
                  </a:lnTo>
                  <a:lnTo>
                    <a:pt x="139827" y="255365"/>
                  </a:lnTo>
                  <a:lnTo>
                    <a:pt x="147257" y="231838"/>
                  </a:lnTo>
                  <a:lnTo>
                    <a:pt x="147257" y="220123"/>
                  </a:lnTo>
                  <a:lnTo>
                    <a:pt x="154210" y="211360"/>
                  </a:lnTo>
                  <a:lnTo>
                    <a:pt x="157639" y="201263"/>
                  </a:lnTo>
                  <a:lnTo>
                    <a:pt x="192405" y="194405"/>
                  </a:lnTo>
                  <a:lnTo>
                    <a:pt x="210217" y="195453"/>
                  </a:lnTo>
                  <a:lnTo>
                    <a:pt x="226981" y="204692"/>
                  </a:lnTo>
                  <a:lnTo>
                    <a:pt x="229743" y="213265"/>
                  </a:lnTo>
                  <a:lnTo>
                    <a:pt x="235934" y="207550"/>
                  </a:lnTo>
                  <a:lnTo>
                    <a:pt x="230981" y="200787"/>
                  </a:lnTo>
                  <a:lnTo>
                    <a:pt x="238030" y="189643"/>
                  </a:lnTo>
                  <a:lnTo>
                    <a:pt x="237268" y="18497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0" name="Freeform: Shape 2890">
              <a:extLst>
                <a:ext uri="{FF2B5EF4-FFF2-40B4-BE49-F238E27FC236}">
                  <a16:creationId xmlns:a16="http://schemas.microsoft.com/office/drawing/2014/main" id="{D3ED6F1B-4800-CCC3-B913-79E014499E26}"/>
                </a:ext>
              </a:extLst>
            </p:cNvPr>
            <p:cNvSpPr/>
            <p:nvPr/>
          </p:nvSpPr>
          <p:spPr>
            <a:xfrm>
              <a:off x="7429119" y="5046091"/>
              <a:ext cx="393667" cy="699230"/>
            </a:xfrm>
            <a:custGeom>
              <a:avLst/>
              <a:gdLst>
                <a:gd name="connsiteX0" fmla="*/ 393668 w 393667"/>
                <a:gd name="connsiteY0" fmla="*/ 95631 h 699230"/>
                <a:gd name="connsiteX1" fmla="*/ 390048 w 393667"/>
                <a:gd name="connsiteY1" fmla="*/ 88963 h 699230"/>
                <a:gd name="connsiteX2" fmla="*/ 388715 w 393667"/>
                <a:gd name="connsiteY2" fmla="*/ 82296 h 699230"/>
                <a:gd name="connsiteX3" fmla="*/ 384048 w 393667"/>
                <a:gd name="connsiteY3" fmla="*/ 78772 h 699230"/>
                <a:gd name="connsiteX4" fmla="*/ 378142 w 393667"/>
                <a:gd name="connsiteY4" fmla="*/ 83344 h 699230"/>
                <a:gd name="connsiteX5" fmla="*/ 375571 w 393667"/>
                <a:gd name="connsiteY5" fmla="*/ 80963 h 699230"/>
                <a:gd name="connsiteX6" fmla="*/ 372903 w 393667"/>
                <a:gd name="connsiteY6" fmla="*/ 89535 h 699230"/>
                <a:gd name="connsiteX7" fmla="*/ 374618 w 393667"/>
                <a:gd name="connsiteY7" fmla="*/ 95250 h 699230"/>
                <a:gd name="connsiteX8" fmla="*/ 371856 w 393667"/>
                <a:gd name="connsiteY8" fmla="*/ 103822 h 699230"/>
                <a:gd name="connsiteX9" fmla="*/ 367474 w 393667"/>
                <a:gd name="connsiteY9" fmla="*/ 103251 h 699230"/>
                <a:gd name="connsiteX10" fmla="*/ 363855 w 393667"/>
                <a:gd name="connsiteY10" fmla="*/ 110109 h 699230"/>
                <a:gd name="connsiteX11" fmla="*/ 357378 w 393667"/>
                <a:gd name="connsiteY11" fmla="*/ 111442 h 699230"/>
                <a:gd name="connsiteX12" fmla="*/ 356045 w 393667"/>
                <a:gd name="connsiteY12" fmla="*/ 118300 h 699230"/>
                <a:gd name="connsiteX13" fmla="*/ 351663 w 393667"/>
                <a:gd name="connsiteY13" fmla="*/ 121063 h 699230"/>
                <a:gd name="connsiteX14" fmla="*/ 349091 w 393667"/>
                <a:gd name="connsiteY14" fmla="*/ 117443 h 699230"/>
                <a:gd name="connsiteX15" fmla="*/ 343948 w 393667"/>
                <a:gd name="connsiteY15" fmla="*/ 117157 h 699230"/>
                <a:gd name="connsiteX16" fmla="*/ 341090 w 393667"/>
                <a:gd name="connsiteY16" fmla="*/ 124015 h 699230"/>
                <a:gd name="connsiteX17" fmla="*/ 336518 w 393667"/>
                <a:gd name="connsiteY17" fmla="*/ 119443 h 699230"/>
                <a:gd name="connsiteX18" fmla="*/ 333375 w 393667"/>
                <a:gd name="connsiteY18" fmla="*/ 122110 h 699230"/>
                <a:gd name="connsiteX19" fmla="*/ 330327 w 393667"/>
                <a:gd name="connsiteY19" fmla="*/ 118586 h 699230"/>
                <a:gd name="connsiteX20" fmla="*/ 324898 w 393667"/>
                <a:gd name="connsiteY20" fmla="*/ 121063 h 699230"/>
                <a:gd name="connsiteX21" fmla="*/ 312705 w 393667"/>
                <a:gd name="connsiteY21" fmla="*/ 116681 h 699230"/>
                <a:gd name="connsiteX22" fmla="*/ 295942 w 393667"/>
                <a:gd name="connsiteY22" fmla="*/ 118015 h 699230"/>
                <a:gd name="connsiteX23" fmla="*/ 294132 w 393667"/>
                <a:gd name="connsiteY23" fmla="*/ 113347 h 699230"/>
                <a:gd name="connsiteX24" fmla="*/ 304229 w 393667"/>
                <a:gd name="connsiteY24" fmla="*/ 102965 h 699230"/>
                <a:gd name="connsiteX25" fmla="*/ 302895 w 393667"/>
                <a:gd name="connsiteY25" fmla="*/ 97250 h 699230"/>
                <a:gd name="connsiteX26" fmla="*/ 310134 w 393667"/>
                <a:gd name="connsiteY26" fmla="*/ 90392 h 699230"/>
                <a:gd name="connsiteX27" fmla="*/ 310419 w 393667"/>
                <a:gd name="connsiteY27" fmla="*/ 83248 h 699230"/>
                <a:gd name="connsiteX28" fmla="*/ 315563 w 393667"/>
                <a:gd name="connsiteY28" fmla="*/ 81629 h 699230"/>
                <a:gd name="connsiteX29" fmla="*/ 317087 w 393667"/>
                <a:gd name="connsiteY29" fmla="*/ 78010 h 699230"/>
                <a:gd name="connsiteX30" fmla="*/ 304229 w 393667"/>
                <a:gd name="connsiteY30" fmla="*/ 67627 h 699230"/>
                <a:gd name="connsiteX31" fmla="*/ 300323 w 393667"/>
                <a:gd name="connsiteY31" fmla="*/ 70104 h 699230"/>
                <a:gd name="connsiteX32" fmla="*/ 297275 w 393667"/>
                <a:gd name="connsiteY32" fmla="*/ 65437 h 699230"/>
                <a:gd name="connsiteX33" fmla="*/ 291084 w 393667"/>
                <a:gd name="connsiteY33" fmla="*/ 63817 h 699230"/>
                <a:gd name="connsiteX34" fmla="*/ 267081 w 393667"/>
                <a:gd name="connsiteY34" fmla="*/ 48482 h 699230"/>
                <a:gd name="connsiteX35" fmla="*/ 248031 w 393667"/>
                <a:gd name="connsiteY35" fmla="*/ 44672 h 699230"/>
                <a:gd name="connsiteX36" fmla="*/ 245650 w 393667"/>
                <a:gd name="connsiteY36" fmla="*/ 38576 h 699230"/>
                <a:gd name="connsiteX37" fmla="*/ 229933 w 393667"/>
                <a:gd name="connsiteY37" fmla="*/ 28194 h 699230"/>
                <a:gd name="connsiteX38" fmla="*/ 224028 w 393667"/>
                <a:gd name="connsiteY38" fmla="*/ 20288 h 699230"/>
                <a:gd name="connsiteX39" fmla="*/ 224028 w 393667"/>
                <a:gd name="connsiteY39" fmla="*/ 16192 h 699230"/>
                <a:gd name="connsiteX40" fmla="*/ 215265 w 393667"/>
                <a:gd name="connsiteY40" fmla="*/ 10096 h 699230"/>
                <a:gd name="connsiteX41" fmla="*/ 210312 w 393667"/>
                <a:gd name="connsiteY41" fmla="*/ 5239 h 699230"/>
                <a:gd name="connsiteX42" fmla="*/ 190214 w 393667"/>
                <a:gd name="connsiteY42" fmla="*/ 5239 h 699230"/>
                <a:gd name="connsiteX43" fmla="*/ 182499 w 393667"/>
                <a:gd name="connsiteY43" fmla="*/ 23813 h 699230"/>
                <a:gd name="connsiteX44" fmla="*/ 176784 w 393667"/>
                <a:gd name="connsiteY44" fmla="*/ 15049 h 699230"/>
                <a:gd name="connsiteX45" fmla="*/ 178117 w 393667"/>
                <a:gd name="connsiteY45" fmla="*/ 10954 h 699230"/>
                <a:gd name="connsiteX46" fmla="*/ 169830 w 393667"/>
                <a:gd name="connsiteY46" fmla="*/ 6287 h 699230"/>
                <a:gd name="connsiteX47" fmla="*/ 153352 w 393667"/>
                <a:gd name="connsiteY47" fmla="*/ 7144 h 699230"/>
                <a:gd name="connsiteX48" fmla="*/ 144589 w 393667"/>
                <a:gd name="connsiteY48" fmla="*/ 0 h 699230"/>
                <a:gd name="connsiteX49" fmla="*/ 142018 w 393667"/>
                <a:gd name="connsiteY49" fmla="*/ 7715 h 699230"/>
                <a:gd name="connsiteX50" fmla="*/ 134969 w 393667"/>
                <a:gd name="connsiteY50" fmla="*/ 9334 h 699230"/>
                <a:gd name="connsiteX51" fmla="*/ 133921 w 393667"/>
                <a:gd name="connsiteY51" fmla="*/ 15049 h 699230"/>
                <a:gd name="connsiteX52" fmla="*/ 128301 w 393667"/>
                <a:gd name="connsiteY52" fmla="*/ 16478 h 699230"/>
                <a:gd name="connsiteX53" fmla="*/ 125444 w 393667"/>
                <a:gd name="connsiteY53" fmla="*/ 22765 h 699230"/>
                <a:gd name="connsiteX54" fmla="*/ 129635 w 393667"/>
                <a:gd name="connsiteY54" fmla="*/ 27241 h 699230"/>
                <a:gd name="connsiteX55" fmla="*/ 123063 w 393667"/>
                <a:gd name="connsiteY55" fmla="*/ 48196 h 699230"/>
                <a:gd name="connsiteX56" fmla="*/ 101441 w 393667"/>
                <a:gd name="connsiteY56" fmla="*/ 57436 h 699230"/>
                <a:gd name="connsiteX57" fmla="*/ 97536 w 393667"/>
                <a:gd name="connsiteY57" fmla="*/ 65056 h 699230"/>
                <a:gd name="connsiteX58" fmla="*/ 101441 w 393667"/>
                <a:gd name="connsiteY58" fmla="*/ 66484 h 699230"/>
                <a:gd name="connsiteX59" fmla="*/ 103155 w 393667"/>
                <a:gd name="connsiteY59" fmla="*/ 71438 h 699230"/>
                <a:gd name="connsiteX60" fmla="*/ 98870 w 393667"/>
                <a:gd name="connsiteY60" fmla="*/ 73057 h 699230"/>
                <a:gd name="connsiteX61" fmla="*/ 97155 w 393667"/>
                <a:gd name="connsiteY61" fmla="*/ 79629 h 699230"/>
                <a:gd name="connsiteX62" fmla="*/ 102012 w 393667"/>
                <a:gd name="connsiteY62" fmla="*/ 93154 h 699230"/>
                <a:gd name="connsiteX63" fmla="*/ 97726 w 393667"/>
                <a:gd name="connsiteY63" fmla="*/ 96869 h 699230"/>
                <a:gd name="connsiteX64" fmla="*/ 97726 w 393667"/>
                <a:gd name="connsiteY64" fmla="*/ 100774 h 699230"/>
                <a:gd name="connsiteX65" fmla="*/ 103917 w 393667"/>
                <a:gd name="connsiteY65" fmla="*/ 109823 h 699230"/>
                <a:gd name="connsiteX66" fmla="*/ 102965 w 393667"/>
                <a:gd name="connsiteY66" fmla="*/ 112681 h 699230"/>
                <a:gd name="connsiteX67" fmla="*/ 92107 w 393667"/>
                <a:gd name="connsiteY67" fmla="*/ 113919 h 699230"/>
                <a:gd name="connsiteX68" fmla="*/ 91916 w 393667"/>
                <a:gd name="connsiteY68" fmla="*/ 118205 h 699230"/>
                <a:gd name="connsiteX69" fmla="*/ 86106 w 393667"/>
                <a:gd name="connsiteY69" fmla="*/ 131350 h 699230"/>
                <a:gd name="connsiteX70" fmla="*/ 80296 w 393667"/>
                <a:gd name="connsiteY70" fmla="*/ 134683 h 699230"/>
                <a:gd name="connsiteX71" fmla="*/ 76295 w 393667"/>
                <a:gd name="connsiteY71" fmla="*/ 139827 h 699230"/>
                <a:gd name="connsiteX72" fmla="*/ 73342 w 393667"/>
                <a:gd name="connsiteY72" fmla="*/ 155448 h 699230"/>
                <a:gd name="connsiteX73" fmla="*/ 68866 w 393667"/>
                <a:gd name="connsiteY73" fmla="*/ 159067 h 699230"/>
                <a:gd name="connsiteX74" fmla="*/ 71438 w 393667"/>
                <a:gd name="connsiteY74" fmla="*/ 170212 h 699230"/>
                <a:gd name="connsiteX75" fmla="*/ 70104 w 393667"/>
                <a:gd name="connsiteY75" fmla="*/ 175070 h 699230"/>
                <a:gd name="connsiteX76" fmla="*/ 73723 w 393667"/>
                <a:gd name="connsiteY76" fmla="*/ 176593 h 699230"/>
                <a:gd name="connsiteX77" fmla="*/ 71628 w 393667"/>
                <a:gd name="connsiteY77" fmla="*/ 182880 h 699230"/>
                <a:gd name="connsiteX78" fmla="*/ 66580 w 393667"/>
                <a:gd name="connsiteY78" fmla="*/ 181832 h 699230"/>
                <a:gd name="connsiteX79" fmla="*/ 63627 w 393667"/>
                <a:gd name="connsiteY79" fmla="*/ 191262 h 699230"/>
                <a:gd name="connsiteX80" fmla="*/ 64294 w 393667"/>
                <a:gd name="connsiteY80" fmla="*/ 198406 h 699230"/>
                <a:gd name="connsiteX81" fmla="*/ 60007 w 393667"/>
                <a:gd name="connsiteY81" fmla="*/ 198882 h 699230"/>
                <a:gd name="connsiteX82" fmla="*/ 57912 w 393667"/>
                <a:gd name="connsiteY82" fmla="*/ 208312 h 699230"/>
                <a:gd name="connsiteX83" fmla="*/ 60198 w 393667"/>
                <a:gd name="connsiteY83" fmla="*/ 214027 h 699230"/>
                <a:gd name="connsiteX84" fmla="*/ 66008 w 393667"/>
                <a:gd name="connsiteY84" fmla="*/ 218408 h 699230"/>
                <a:gd name="connsiteX85" fmla="*/ 61913 w 393667"/>
                <a:gd name="connsiteY85" fmla="*/ 221266 h 699230"/>
                <a:gd name="connsiteX86" fmla="*/ 66770 w 393667"/>
                <a:gd name="connsiteY86" fmla="*/ 234601 h 699230"/>
                <a:gd name="connsiteX87" fmla="*/ 70866 w 393667"/>
                <a:gd name="connsiteY87" fmla="*/ 238696 h 699230"/>
                <a:gd name="connsiteX88" fmla="*/ 67151 w 393667"/>
                <a:gd name="connsiteY88" fmla="*/ 244030 h 699230"/>
                <a:gd name="connsiteX89" fmla="*/ 69056 w 393667"/>
                <a:gd name="connsiteY89" fmla="*/ 248126 h 699230"/>
                <a:gd name="connsiteX90" fmla="*/ 72961 w 393667"/>
                <a:gd name="connsiteY90" fmla="*/ 245554 h 699230"/>
                <a:gd name="connsiteX91" fmla="*/ 74866 w 393667"/>
                <a:gd name="connsiteY91" fmla="*/ 250603 h 699230"/>
                <a:gd name="connsiteX92" fmla="*/ 71438 w 393667"/>
                <a:gd name="connsiteY92" fmla="*/ 256699 h 699230"/>
                <a:gd name="connsiteX93" fmla="*/ 73342 w 393667"/>
                <a:gd name="connsiteY93" fmla="*/ 268510 h 699230"/>
                <a:gd name="connsiteX94" fmla="*/ 68485 w 393667"/>
                <a:gd name="connsiteY94" fmla="*/ 269557 h 699230"/>
                <a:gd name="connsiteX95" fmla="*/ 68294 w 393667"/>
                <a:gd name="connsiteY95" fmla="*/ 273748 h 699230"/>
                <a:gd name="connsiteX96" fmla="*/ 62674 w 393667"/>
                <a:gd name="connsiteY96" fmla="*/ 279940 h 699230"/>
                <a:gd name="connsiteX97" fmla="*/ 63055 w 393667"/>
                <a:gd name="connsiteY97" fmla="*/ 288226 h 699230"/>
                <a:gd name="connsiteX98" fmla="*/ 58102 w 393667"/>
                <a:gd name="connsiteY98" fmla="*/ 291560 h 699230"/>
                <a:gd name="connsiteX99" fmla="*/ 61722 w 393667"/>
                <a:gd name="connsiteY99" fmla="*/ 296323 h 699230"/>
                <a:gd name="connsiteX100" fmla="*/ 63341 w 393667"/>
                <a:gd name="connsiteY100" fmla="*/ 304419 h 699230"/>
                <a:gd name="connsiteX101" fmla="*/ 61913 w 393667"/>
                <a:gd name="connsiteY101" fmla="*/ 311182 h 699230"/>
                <a:gd name="connsiteX102" fmla="*/ 56483 w 393667"/>
                <a:gd name="connsiteY102" fmla="*/ 311658 h 699230"/>
                <a:gd name="connsiteX103" fmla="*/ 55530 w 393667"/>
                <a:gd name="connsiteY103" fmla="*/ 318230 h 699230"/>
                <a:gd name="connsiteX104" fmla="*/ 50101 w 393667"/>
                <a:gd name="connsiteY104" fmla="*/ 318040 h 699230"/>
                <a:gd name="connsiteX105" fmla="*/ 45911 w 393667"/>
                <a:gd name="connsiteY105" fmla="*/ 329565 h 699230"/>
                <a:gd name="connsiteX106" fmla="*/ 48768 w 393667"/>
                <a:gd name="connsiteY106" fmla="*/ 333565 h 699230"/>
                <a:gd name="connsiteX107" fmla="*/ 45339 w 393667"/>
                <a:gd name="connsiteY107" fmla="*/ 338138 h 699230"/>
                <a:gd name="connsiteX108" fmla="*/ 48577 w 393667"/>
                <a:gd name="connsiteY108" fmla="*/ 341852 h 699230"/>
                <a:gd name="connsiteX109" fmla="*/ 45720 w 393667"/>
                <a:gd name="connsiteY109" fmla="*/ 346710 h 699230"/>
                <a:gd name="connsiteX110" fmla="*/ 49720 w 393667"/>
                <a:gd name="connsiteY110" fmla="*/ 360712 h 699230"/>
                <a:gd name="connsiteX111" fmla="*/ 53816 w 393667"/>
                <a:gd name="connsiteY111" fmla="*/ 365284 h 699230"/>
                <a:gd name="connsiteX112" fmla="*/ 52864 w 393667"/>
                <a:gd name="connsiteY112" fmla="*/ 369475 h 699230"/>
                <a:gd name="connsiteX113" fmla="*/ 41814 w 393667"/>
                <a:gd name="connsiteY113" fmla="*/ 374713 h 699230"/>
                <a:gd name="connsiteX114" fmla="*/ 41434 w 393667"/>
                <a:gd name="connsiteY114" fmla="*/ 388906 h 699230"/>
                <a:gd name="connsiteX115" fmla="*/ 35623 w 393667"/>
                <a:gd name="connsiteY115" fmla="*/ 388239 h 699230"/>
                <a:gd name="connsiteX116" fmla="*/ 38100 w 393667"/>
                <a:gd name="connsiteY116" fmla="*/ 398812 h 699230"/>
                <a:gd name="connsiteX117" fmla="*/ 33528 w 393667"/>
                <a:gd name="connsiteY117" fmla="*/ 401764 h 699230"/>
                <a:gd name="connsiteX118" fmla="*/ 36957 w 393667"/>
                <a:gd name="connsiteY118" fmla="*/ 407480 h 699230"/>
                <a:gd name="connsiteX119" fmla="*/ 31337 w 393667"/>
                <a:gd name="connsiteY119" fmla="*/ 415576 h 699230"/>
                <a:gd name="connsiteX120" fmla="*/ 33718 w 393667"/>
                <a:gd name="connsiteY120" fmla="*/ 422243 h 699230"/>
                <a:gd name="connsiteX121" fmla="*/ 32099 w 393667"/>
                <a:gd name="connsiteY121" fmla="*/ 438055 h 699230"/>
                <a:gd name="connsiteX122" fmla="*/ 36195 w 393667"/>
                <a:gd name="connsiteY122" fmla="*/ 449008 h 699230"/>
                <a:gd name="connsiteX123" fmla="*/ 33338 w 393667"/>
                <a:gd name="connsiteY123" fmla="*/ 453104 h 699230"/>
                <a:gd name="connsiteX124" fmla="*/ 28670 w 393667"/>
                <a:gd name="connsiteY124" fmla="*/ 450247 h 699230"/>
                <a:gd name="connsiteX125" fmla="*/ 29623 w 393667"/>
                <a:gd name="connsiteY125" fmla="*/ 458533 h 699230"/>
                <a:gd name="connsiteX126" fmla="*/ 27337 w 393667"/>
                <a:gd name="connsiteY126" fmla="*/ 470535 h 699230"/>
                <a:gd name="connsiteX127" fmla="*/ 36576 w 393667"/>
                <a:gd name="connsiteY127" fmla="*/ 476726 h 699230"/>
                <a:gd name="connsiteX128" fmla="*/ 31146 w 393667"/>
                <a:gd name="connsiteY128" fmla="*/ 481965 h 699230"/>
                <a:gd name="connsiteX129" fmla="*/ 35814 w 393667"/>
                <a:gd name="connsiteY129" fmla="*/ 487013 h 699230"/>
                <a:gd name="connsiteX130" fmla="*/ 36957 w 393667"/>
                <a:gd name="connsiteY130" fmla="*/ 493681 h 699230"/>
                <a:gd name="connsiteX131" fmla="*/ 32385 w 393667"/>
                <a:gd name="connsiteY131" fmla="*/ 498729 h 699230"/>
                <a:gd name="connsiteX132" fmla="*/ 33718 w 393667"/>
                <a:gd name="connsiteY132" fmla="*/ 504634 h 699230"/>
                <a:gd name="connsiteX133" fmla="*/ 47625 w 393667"/>
                <a:gd name="connsiteY133" fmla="*/ 505873 h 699230"/>
                <a:gd name="connsiteX134" fmla="*/ 44482 w 393667"/>
                <a:gd name="connsiteY134" fmla="*/ 515874 h 699230"/>
                <a:gd name="connsiteX135" fmla="*/ 29051 w 393667"/>
                <a:gd name="connsiteY135" fmla="*/ 512540 h 699230"/>
                <a:gd name="connsiteX136" fmla="*/ 28289 w 393667"/>
                <a:gd name="connsiteY136" fmla="*/ 519017 h 699230"/>
                <a:gd name="connsiteX137" fmla="*/ 38862 w 393667"/>
                <a:gd name="connsiteY137" fmla="*/ 521875 h 699230"/>
                <a:gd name="connsiteX138" fmla="*/ 43529 w 393667"/>
                <a:gd name="connsiteY138" fmla="*/ 527875 h 699230"/>
                <a:gd name="connsiteX139" fmla="*/ 36195 w 393667"/>
                <a:gd name="connsiteY139" fmla="*/ 533114 h 699230"/>
                <a:gd name="connsiteX140" fmla="*/ 33909 w 393667"/>
                <a:gd name="connsiteY140" fmla="*/ 538543 h 699230"/>
                <a:gd name="connsiteX141" fmla="*/ 38481 w 393667"/>
                <a:gd name="connsiteY141" fmla="*/ 544544 h 699230"/>
                <a:gd name="connsiteX142" fmla="*/ 32671 w 393667"/>
                <a:gd name="connsiteY142" fmla="*/ 548354 h 699230"/>
                <a:gd name="connsiteX143" fmla="*/ 36957 w 393667"/>
                <a:gd name="connsiteY143" fmla="*/ 561308 h 699230"/>
                <a:gd name="connsiteX144" fmla="*/ 30956 w 393667"/>
                <a:gd name="connsiteY144" fmla="*/ 565118 h 699230"/>
                <a:gd name="connsiteX145" fmla="*/ 32671 w 393667"/>
                <a:gd name="connsiteY145" fmla="*/ 573976 h 699230"/>
                <a:gd name="connsiteX146" fmla="*/ 28670 w 393667"/>
                <a:gd name="connsiteY146" fmla="*/ 573976 h 699230"/>
                <a:gd name="connsiteX147" fmla="*/ 27146 w 393667"/>
                <a:gd name="connsiteY147" fmla="*/ 579406 h 699230"/>
                <a:gd name="connsiteX148" fmla="*/ 19145 w 393667"/>
                <a:gd name="connsiteY148" fmla="*/ 591598 h 699230"/>
                <a:gd name="connsiteX149" fmla="*/ 24574 w 393667"/>
                <a:gd name="connsiteY149" fmla="*/ 595884 h 699230"/>
                <a:gd name="connsiteX150" fmla="*/ 25527 w 393667"/>
                <a:gd name="connsiteY150" fmla="*/ 603313 h 699230"/>
                <a:gd name="connsiteX151" fmla="*/ 18955 w 393667"/>
                <a:gd name="connsiteY151" fmla="*/ 606171 h 699230"/>
                <a:gd name="connsiteX152" fmla="*/ 19907 w 393667"/>
                <a:gd name="connsiteY152" fmla="*/ 612838 h 699230"/>
                <a:gd name="connsiteX153" fmla="*/ 10668 w 393667"/>
                <a:gd name="connsiteY153" fmla="*/ 616934 h 699230"/>
                <a:gd name="connsiteX154" fmla="*/ 7715 w 393667"/>
                <a:gd name="connsiteY154" fmla="*/ 625030 h 699230"/>
                <a:gd name="connsiteX155" fmla="*/ 952 w 393667"/>
                <a:gd name="connsiteY155" fmla="*/ 625983 h 699230"/>
                <a:gd name="connsiteX156" fmla="*/ 2191 w 393667"/>
                <a:gd name="connsiteY156" fmla="*/ 637222 h 699230"/>
                <a:gd name="connsiteX157" fmla="*/ 0 w 393667"/>
                <a:gd name="connsiteY157" fmla="*/ 645319 h 699230"/>
                <a:gd name="connsiteX158" fmla="*/ 5429 w 393667"/>
                <a:gd name="connsiteY158" fmla="*/ 649986 h 699230"/>
                <a:gd name="connsiteX159" fmla="*/ 7334 w 393667"/>
                <a:gd name="connsiteY159" fmla="*/ 663130 h 699230"/>
                <a:gd name="connsiteX160" fmla="*/ 14573 w 393667"/>
                <a:gd name="connsiteY160" fmla="*/ 658368 h 699230"/>
                <a:gd name="connsiteX161" fmla="*/ 18383 w 393667"/>
                <a:gd name="connsiteY161" fmla="*/ 660749 h 699230"/>
                <a:gd name="connsiteX162" fmla="*/ 24193 w 393667"/>
                <a:gd name="connsiteY162" fmla="*/ 659416 h 699230"/>
                <a:gd name="connsiteX163" fmla="*/ 25527 w 393667"/>
                <a:gd name="connsiteY163" fmla="*/ 668560 h 699230"/>
                <a:gd name="connsiteX164" fmla="*/ 21145 w 393667"/>
                <a:gd name="connsiteY164" fmla="*/ 673132 h 699230"/>
                <a:gd name="connsiteX165" fmla="*/ 25527 w 393667"/>
                <a:gd name="connsiteY165" fmla="*/ 676847 h 699230"/>
                <a:gd name="connsiteX166" fmla="*/ 22860 w 393667"/>
                <a:gd name="connsiteY166" fmla="*/ 682276 h 699230"/>
                <a:gd name="connsiteX167" fmla="*/ 31909 w 393667"/>
                <a:gd name="connsiteY167" fmla="*/ 689229 h 699230"/>
                <a:gd name="connsiteX168" fmla="*/ 30956 w 393667"/>
                <a:gd name="connsiteY168" fmla="*/ 694372 h 699230"/>
                <a:gd name="connsiteX169" fmla="*/ 69056 w 393667"/>
                <a:gd name="connsiteY169" fmla="*/ 694372 h 699230"/>
                <a:gd name="connsiteX170" fmla="*/ 79153 w 393667"/>
                <a:gd name="connsiteY170" fmla="*/ 698945 h 699230"/>
                <a:gd name="connsiteX171" fmla="*/ 84772 w 393667"/>
                <a:gd name="connsiteY171" fmla="*/ 698087 h 699230"/>
                <a:gd name="connsiteX172" fmla="*/ 96774 w 393667"/>
                <a:gd name="connsiteY172" fmla="*/ 699230 h 699230"/>
                <a:gd name="connsiteX173" fmla="*/ 90201 w 393667"/>
                <a:gd name="connsiteY173" fmla="*/ 685324 h 699230"/>
                <a:gd name="connsiteX174" fmla="*/ 85915 w 393667"/>
                <a:gd name="connsiteY174" fmla="*/ 668846 h 699230"/>
                <a:gd name="connsiteX175" fmla="*/ 99250 w 393667"/>
                <a:gd name="connsiteY175" fmla="*/ 649986 h 699230"/>
                <a:gd name="connsiteX176" fmla="*/ 92678 w 393667"/>
                <a:gd name="connsiteY176" fmla="*/ 635508 h 699230"/>
                <a:gd name="connsiteX177" fmla="*/ 113347 w 393667"/>
                <a:gd name="connsiteY177" fmla="*/ 640461 h 699230"/>
                <a:gd name="connsiteX178" fmla="*/ 117634 w 393667"/>
                <a:gd name="connsiteY178" fmla="*/ 619220 h 699230"/>
                <a:gd name="connsiteX179" fmla="*/ 150971 w 393667"/>
                <a:gd name="connsiteY179" fmla="*/ 595979 h 699230"/>
                <a:gd name="connsiteX180" fmla="*/ 154305 w 393667"/>
                <a:gd name="connsiteY180" fmla="*/ 578453 h 699230"/>
                <a:gd name="connsiteX181" fmla="*/ 134778 w 393667"/>
                <a:gd name="connsiteY181" fmla="*/ 569881 h 699230"/>
                <a:gd name="connsiteX182" fmla="*/ 117634 w 393667"/>
                <a:gd name="connsiteY182" fmla="*/ 544639 h 699230"/>
                <a:gd name="connsiteX183" fmla="*/ 130207 w 393667"/>
                <a:gd name="connsiteY183" fmla="*/ 526256 h 699230"/>
                <a:gd name="connsiteX184" fmla="*/ 156876 w 393667"/>
                <a:gd name="connsiteY184" fmla="*/ 520637 h 699230"/>
                <a:gd name="connsiteX185" fmla="*/ 162496 w 393667"/>
                <a:gd name="connsiteY185" fmla="*/ 487204 h 699230"/>
                <a:gd name="connsiteX186" fmla="*/ 182689 w 393667"/>
                <a:gd name="connsiteY186" fmla="*/ 471297 h 699230"/>
                <a:gd name="connsiteX187" fmla="*/ 169450 w 393667"/>
                <a:gd name="connsiteY187" fmla="*/ 463105 h 699230"/>
                <a:gd name="connsiteX188" fmla="*/ 190976 w 393667"/>
                <a:gd name="connsiteY188" fmla="*/ 453104 h 699230"/>
                <a:gd name="connsiteX189" fmla="*/ 170879 w 393667"/>
                <a:gd name="connsiteY189" fmla="*/ 444055 h 699230"/>
                <a:gd name="connsiteX190" fmla="*/ 168116 w 393667"/>
                <a:gd name="connsiteY190" fmla="*/ 428244 h 699230"/>
                <a:gd name="connsiteX191" fmla="*/ 172021 w 393667"/>
                <a:gd name="connsiteY191" fmla="*/ 420624 h 699230"/>
                <a:gd name="connsiteX192" fmla="*/ 200501 w 393667"/>
                <a:gd name="connsiteY192" fmla="*/ 426434 h 699230"/>
                <a:gd name="connsiteX193" fmla="*/ 222313 w 393667"/>
                <a:gd name="connsiteY193" fmla="*/ 417862 h 699230"/>
                <a:gd name="connsiteX194" fmla="*/ 227933 w 393667"/>
                <a:gd name="connsiteY194" fmla="*/ 384334 h 699230"/>
                <a:gd name="connsiteX195" fmla="*/ 220694 w 393667"/>
                <a:gd name="connsiteY195" fmla="*/ 371189 h 699230"/>
                <a:gd name="connsiteX196" fmla="*/ 237172 w 393667"/>
                <a:gd name="connsiteY196" fmla="*/ 376142 h 699230"/>
                <a:gd name="connsiteX197" fmla="*/ 272129 w 393667"/>
                <a:gd name="connsiteY197" fmla="*/ 371951 h 699230"/>
                <a:gd name="connsiteX198" fmla="*/ 315753 w 393667"/>
                <a:gd name="connsiteY198" fmla="*/ 356330 h 699230"/>
                <a:gd name="connsiteX199" fmla="*/ 333946 w 393667"/>
                <a:gd name="connsiteY199" fmla="*/ 328613 h 699230"/>
                <a:gd name="connsiteX200" fmla="*/ 319754 w 393667"/>
                <a:gd name="connsiteY200" fmla="*/ 307753 h 699230"/>
                <a:gd name="connsiteX201" fmla="*/ 323659 w 393667"/>
                <a:gd name="connsiteY201" fmla="*/ 293180 h 699230"/>
                <a:gd name="connsiteX202" fmla="*/ 298228 w 393667"/>
                <a:gd name="connsiteY202" fmla="*/ 275939 h 699230"/>
                <a:gd name="connsiteX203" fmla="*/ 290703 w 393667"/>
                <a:gd name="connsiteY203" fmla="*/ 259842 h 699230"/>
                <a:gd name="connsiteX204" fmla="*/ 303562 w 393667"/>
                <a:gd name="connsiteY204" fmla="*/ 228886 h 699230"/>
                <a:gd name="connsiteX205" fmla="*/ 303562 w 393667"/>
                <a:gd name="connsiteY205" fmla="*/ 228886 h 699230"/>
                <a:gd name="connsiteX206" fmla="*/ 303276 w 393667"/>
                <a:gd name="connsiteY206" fmla="*/ 216122 h 699230"/>
                <a:gd name="connsiteX207" fmla="*/ 308610 w 393667"/>
                <a:gd name="connsiteY207" fmla="*/ 211931 h 699230"/>
                <a:gd name="connsiteX208" fmla="*/ 305848 w 393667"/>
                <a:gd name="connsiteY208" fmla="*/ 206407 h 699230"/>
                <a:gd name="connsiteX209" fmla="*/ 311467 w 393667"/>
                <a:gd name="connsiteY209" fmla="*/ 193738 h 699230"/>
                <a:gd name="connsiteX210" fmla="*/ 309372 w 393667"/>
                <a:gd name="connsiteY210" fmla="*/ 186880 h 699230"/>
                <a:gd name="connsiteX211" fmla="*/ 313087 w 393667"/>
                <a:gd name="connsiteY211" fmla="*/ 182689 h 699230"/>
                <a:gd name="connsiteX212" fmla="*/ 313754 w 393667"/>
                <a:gd name="connsiteY212" fmla="*/ 178022 h 699230"/>
                <a:gd name="connsiteX213" fmla="*/ 320516 w 393667"/>
                <a:gd name="connsiteY213" fmla="*/ 174212 h 699230"/>
                <a:gd name="connsiteX214" fmla="*/ 320516 w 393667"/>
                <a:gd name="connsiteY214" fmla="*/ 169259 h 699230"/>
                <a:gd name="connsiteX215" fmla="*/ 327470 w 393667"/>
                <a:gd name="connsiteY215" fmla="*/ 166878 h 699230"/>
                <a:gd name="connsiteX216" fmla="*/ 334708 w 393667"/>
                <a:gd name="connsiteY216" fmla="*/ 155543 h 699230"/>
                <a:gd name="connsiteX217" fmla="*/ 340804 w 393667"/>
                <a:gd name="connsiteY217" fmla="*/ 151352 h 699230"/>
                <a:gd name="connsiteX218" fmla="*/ 347853 w 393667"/>
                <a:gd name="connsiteY218" fmla="*/ 140113 h 699230"/>
                <a:gd name="connsiteX219" fmla="*/ 354044 w 393667"/>
                <a:gd name="connsiteY219" fmla="*/ 141827 h 699230"/>
                <a:gd name="connsiteX220" fmla="*/ 353758 w 393667"/>
                <a:gd name="connsiteY220" fmla="*/ 135826 h 699230"/>
                <a:gd name="connsiteX221" fmla="*/ 361473 w 393667"/>
                <a:gd name="connsiteY221" fmla="*/ 129635 h 699230"/>
                <a:gd name="connsiteX222" fmla="*/ 366236 w 393667"/>
                <a:gd name="connsiteY222" fmla="*/ 128873 h 699230"/>
                <a:gd name="connsiteX223" fmla="*/ 374523 w 393667"/>
                <a:gd name="connsiteY223" fmla="*/ 119729 h 699230"/>
                <a:gd name="connsiteX224" fmla="*/ 379857 w 393667"/>
                <a:gd name="connsiteY224" fmla="*/ 120491 h 699230"/>
                <a:gd name="connsiteX225" fmla="*/ 383476 w 393667"/>
                <a:gd name="connsiteY225" fmla="*/ 116300 h 699230"/>
                <a:gd name="connsiteX226" fmla="*/ 390048 w 393667"/>
                <a:gd name="connsiteY226" fmla="*/ 113443 h 699230"/>
                <a:gd name="connsiteX227" fmla="*/ 392335 w 393667"/>
                <a:gd name="connsiteY227" fmla="*/ 107537 h 699230"/>
                <a:gd name="connsiteX228" fmla="*/ 390906 w 393667"/>
                <a:gd name="connsiteY228" fmla="*/ 99155 h 699230"/>
                <a:gd name="connsiteX229" fmla="*/ 393668 w 393667"/>
                <a:gd name="connsiteY229" fmla="*/ 95631 h 69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393667" h="699230">
                  <a:moveTo>
                    <a:pt x="393668" y="95631"/>
                  </a:moveTo>
                  <a:lnTo>
                    <a:pt x="390048" y="88963"/>
                  </a:lnTo>
                  <a:lnTo>
                    <a:pt x="388715" y="82296"/>
                  </a:lnTo>
                  <a:lnTo>
                    <a:pt x="384048" y="78772"/>
                  </a:lnTo>
                  <a:lnTo>
                    <a:pt x="378142" y="83344"/>
                  </a:lnTo>
                  <a:lnTo>
                    <a:pt x="375571" y="80963"/>
                  </a:lnTo>
                  <a:lnTo>
                    <a:pt x="372903" y="89535"/>
                  </a:lnTo>
                  <a:lnTo>
                    <a:pt x="374618" y="95250"/>
                  </a:lnTo>
                  <a:lnTo>
                    <a:pt x="371856" y="103822"/>
                  </a:lnTo>
                  <a:lnTo>
                    <a:pt x="367474" y="103251"/>
                  </a:lnTo>
                  <a:lnTo>
                    <a:pt x="363855" y="110109"/>
                  </a:lnTo>
                  <a:lnTo>
                    <a:pt x="357378" y="111442"/>
                  </a:lnTo>
                  <a:lnTo>
                    <a:pt x="356045" y="118300"/>
                  </a:lnTo>
                  <a:lnTo>
                    <a:pt x="351663" y="121063"/>
                  </a:lnTo>
                  <a:lnTo>
                    <a:pt x="349091" y="117443"/>
                  </a:lnTo>
                  <a:lnTo>
                    <a:pt x="343948" y="117157"/>
                  </a:lnTo>
                  <a:lnTo>
                    <a:pt x="341090" y="124015"/>
                  </a:lnTo>
                  <a:lnTo>
                    <a:pt x="336518" y="119443"/>
                  </a:lnTo>
                  <a:lnTo>
                    <a:pt x="333375" y="122110"/>
                  </a:lnTo>
                  <a:lnTo>
                    <a:pt x="330327" y="118586"/>
                  </a:lnTo>
                  <a:lnTo>
                    <a:pt x="324898" y="121063"/>
                  </a:lnTo>
                  <a:lnTo>
                    <a:pt x="312705" y="116681"/>
                  </a:lnTo>
                  <a:lnTo>
                    <a:pt x="295942" y="118015"/>
                  </a:lnTo>
                  <a:lnTo>
                    <a:pt x="294132" y="113347"/>
                  </a:lnTo>
                  <a:lnTo>
                    <a:pt x="304229" y="102965"/>
                  </a:lnTo>
                  <a:lnTo>
                    <a:pt x="302895" y="97250"/>
                  </a:lnTo>
                  <a:lnTo>
                    <a:pt x="310134" y="90392"/>
                  </a:lnTo>
                  <a:lnTo>
                    <a:pt x="310419" y="83248"/>
                  </a:lnTo>
                  <a:lnTo>
                    <a:pt x="315563" y="81629"/>
                  </a:lnTo>
                  <a:lnTo>
                    <a:pt x="317087" y="78010"/>
                  </a:lnTo>
                  <a:lnTo>
                    <a:pt x="304229" y="67627"/>
                  </a:lnTo>
                  <a:lnTo>
                    <a:pt x="300323" y="70104"/>
                  </a:lnTo>
                  <a:lnTo>
                    <a:pt x="297275" y="65437"/>
                  </a:lnTo>
                  <a:lnTo>
                    <a:pt x="291084" y="63817"/>
                  </a:lnTo>
                  <a:lnTo>
                    <a:pt x="267081" y="48482"/>
                  </a:lnTo>
                  <a:lnTo>
                    <a:pt x="248031" y="44672"/>
                  </a:lnTo>
                  <a:lnTo>
                    <a:pt x="245650" y="38576"/>
                  </a:lnTo>
                  <a:lnTo>
                    <a:pt x="229933" y="28194"/>
                  </a:lnTo>
                  <a:lnTo>
                    <a:pt x="224028" y="20288"/>
                  </a:lnTo>
                  <a:lnTo>
                    <a:pt x="224028" y="16192"/>
                  </a:lnTo>
                  <a:lnTo>
                    <a:pt x="215265" y="10096"/>
                  </a:lnTo>
                  <a:lnTo>
                    <a:pt x="210312" y="5239"/>
                  </a:lnTo>
                  <a:lnTo>
                    <a:pt x="190214" y="5239"/>
                  </a:lnTo>
                  <a:lnTo>
                    <a:pt x="182499" y="23813"/>
                  </a:lnTo>
                  <a:lnTo>
                    <a:pt x="176784" y="15049"/>
                  </a:lnTo>
                  <a:lnTo>
                    <a:pt x="178117" y="10954"/>
                  </a:lnTo>
                  <a:lnTo>
                    <a:pt x="169830" y="6287"/>
                  </a:lnTo>
                  <a:lnTo>
                    <a:pt x="153352" y="7144"/>
                  </a:lnTo>
                  <a:lnTo>
                    <a:pt x="144589" y="0"/>
                  </a:lnTo>
                  <a:lnTo>
                    <a:pt x="142018" y="7715"/>
                  </a:lnTo>
                  <a:lnTo>
                    <a:pt x="134969" y="9334"/>
                  </a:lnTo>
                  <a:lnTo>
                    <a:pt x="133921" y="15049"/>
                  </a:lnTo>
                  <a:lnTo>
                    <a:pt x="128301" y="16478"/>
                  </a:lnTo>
                  <a:lnTo>
                    <a:pt x="125444" y="22765"/>
                  </a:lnTo>
                  <a:lnTo>
                    <a:pt x="129635" y="27241"/>
                  </a:lnTo>
                  <a:lnTo>
                    <a:pt x="123063" y="48196"/>
                  </a:lnTo>
                  <a:lnTo>
                    <a:pt x="101441" y="57436"/>
                  </a:lnTo>
                  <a:lnTo>
                    <a:pt x="97536" y="65056"/>
                  </a:lnTo>
                  <a:lnTo>
                    <a:pt x="101441" y="66484"/>
                  </a:lnTo>
                  <a:lnTo>
                    <a:pt x="103155" y="71438"/>
                  </a:lnTo>
                  <a:lnTo>
                    <a:pt x="98870" y="73057"/>
                  </a:lnTo>
                  <a:lnTo>
                    <a:pt x="97155" y="79629"/>
                  </a:lnTo>
                  <a:lnTo>
                    <a:pt x="102012" y="93154"/>
                  </a:lnTo>
                  <a:lnTo>
                    <a:pt x="97726" y="96869"/>
                  </a:lnTo>
                  <a:lnTo>
                    <a:pt x="97726" y="100774"/>
                  </a:lnTo>
                  <a:lnTo>
                    <a:pt x="103917" y="109823"/>
                  </a:lnTo>
                  <a:lnTo>
                    <a:pt x="102965" y="112681"/>
                  </a:lnTo>
                  <a:lnTo>
                    <a:pt x="92107" y="113919"/>
                  </a:lnTo>
                  <a:lnTo>
                    <a:pt x="91916" y="118205"/>
                  </a:lnTo>
                  <a:lnTo>
                    <a:pt x="86106" y="131350"/>
                  </a:lnTo>
                  <a:lnTo>
                    <a:pt x="80296" y="134683"/>
                  </a:lnTo>
                  <a:lnTo>
                    <a:pt x="76295" y="139827"/>
                  </a:lnTo>
                  <a:lnTo>
                    <a:pt x="73342" y="155448"/>
                  </a:lnTo>
                  <a:lnTo>
                    <a:pt x="68866" y="159067"/>
                  </a:lnTo>
                  <a:lnTo>
                    <a:pt x="71438" y="170212"/>
                  </a:lnTo>
                  <a:lnTo>
                    <a:pt x="70104" y="175070"/>
                  </a:lnTo>
                  <a:lnTo>
                    <a:pt x="73723" y="176593"/>
                  </a:lnTo>
                  <a:lnTo>
                    <a:pt x="71628" y="182880"/>
                  </a:lnTo>
                  <a:lnTo>
                    <a:pt x="66580" y="181832"/>
                  </a:lnTo>
                  <a:lnTo>
                    <a:pt x="63627" y="191262"/>
                  </a:lnTo>
                  <a:lnTo>
                    <a:pt x="64294" y="198406"/>
                  </a:lnTo>
                  <a:lnTo>
                    <a:pt x="60007" y="198882"/>
                  </a:lnTo>
                  <a:lnTo>
                    <a:pt x="57912" y="208312"/>
                  </a:lnTo>
                  <a:lnTo>
                    <a:pt x="60198" y="214027"/>
                  </a:lnTo>
                  <a:lnTo>
                    <a:pt x="66008" y="218408"/>
                  </a:lnTo>
                  <a:lnTo>
                    <a:pt x="61913" y="221266"/>
                  </a:lnTo>
                  <a:lnTo>
                    <a:pt x="66770" y="234601"/>
                  </a:lnTo>
                  <a:lnTo>
                    <a:pt x="70866" y="238696"/>
                  </a:lnTo>
                  <a:lnTo>
                    <a:pt x="67151" y="244030"/>
                  </a:lnTo>
                  <a:lnTo>
                    <a:pt x="69056" y="248126"/>
                  </a:lnTo>
                  <a:lnTo>
                    <a:pt x="72961" y="245554"/>
                  </a:lnTo>
                  <a:lnTo>
                    <a:pt x="74866" y="250603"/>
                  </a:lnTo>
                  <a:lnTo>
                    <a:pt x="71438" y="256699"/>
                  </a:lnTo>
                  <a:lnTo>
                    <a:pt x="73342" y="268510"/>
                  </a:lnTo>
                  <a:lnTo>
                    <a:pt x="68485" y="269557"/>
                  </a:lnTo>
                  <a:lnTo>
                    <a:pt x="68294" y="273748"/>
                  </a:lnTo>
                  <a:lnTo>
                    <a:pt x="62674" y="279940"/>
                  </a:lnTo>
                  <a:lnTo>
                    <a:pt x="63055" y="288226"/>
                  </a:lnTo>
                  <a:lnTo>
                    <a:pt x="58102" y="291560"/>
                  </a:lnTo>
                  <a:lnTo>
                    <a:pt x="61722" y="296323"/>
                  </a:lnTo>
                  <a:lnTo>
                    <a:pt x="63341" y="304419"/>
                  </a:lnTo>
                  <a:lnTo>
                    <a:pt x="61913" y="311182"/>
                  </a:lnTo>
                  <a:lnTo>
                    <a:pt x="56483" y="311658"/>
                  </a:lnTo>
                  <a:lnTo>
                    <a:pt x="55530" y="318230"/>
                  </a:lnTo>
                  <a:lnTo>
                    <a:pt x="50101" y="318040"/>
                  </a:lnTo>
                  <a:lnTo>
                    <a:pt x="45911" y="329565"/>
                  </a:lnTo>
                  <a:lnTo>
                    <a:pt x="48768" y="333565"/>
                  </a:lnTo>
                  <a:lnTo>
                    <a:pt x="45339" y="338138"/>
                  </a:lnTo>
                  <a:lnTo>
                    <a:pt x="48577" y="341852"/>
                  </a:lnTo>
                  <a:lnTo>
                    <a:pt x="45720" y="346710"/>
                  </a:lnTo>
                  <a:lnTo>
                    <a:pt x="49720" y="360712"/>
                  </a:lnTo>
                  <a:lnTo>
                    <a:pt x="53816" y="365284"/>
                  </a:lnTo>
                  <a:lnTo>
                    <a:pt x="52864" y="369475"/>
                  </a:lnTo>
                  <a:lnTo>
                    <a:pt x="41814" y="374713"/>
                  </a:lnTo>
                  <a:lnTo>
                    <a:pt x="41434" y="388906"/>
                  </a:lnTo>
                  <a:lnTo>
                    <a:pt x="35623" y="388239"/>
                  </a:lnTo>
                  <a:lnTo>
                    <a:pt x="38100" y="398812"/>
                  </a:lnTo>
                  <a:lnTo>
                    <a:pt x="33528" y="401764"/>
                  </a:lnTo>
                  <a:lnTo>
                    <a:pt x="36957" y="407480"/>
                  </a:lnTo>
                  <a:lnTo>
                    <a:pt x="31337" y="415576"/>
                  </a:lnTo>
                  <a:lnTo>
                    <a:pt x="33718" y="422243"/>
                  </a:lnTo>
                  <a:lnTo>
                    <a:pt x="32099" y="438055"/>
                  </a:lnTo>
                  <a:lnTo>
                    <a:pt x="36195" y="449008"/>
                  </a:lnTo>
                  <a:lnTo>
                    <a:pt x="33338" y="453104"/>
                  </a:lnTo>
                  <a:lnTo>
                    <a:pt x="28670" y="450247"/>
                  </a:lnTo>
                  <a:lnTo>
                    <a:pt x="29623" y="458533"/>
                  </a:lnTo>
                  <a:lnTo>
                    <a:pt x="27337" y="470535"/>
                  </a:lnTo>
                  <a:lnTo>
                    <a:pt x="36576" y="476726"/>
                  </a:lnTo>
                  <a:lnTo>
                    <a:pt x="31146" y="481965"/>
                  </a:lnTo>
                  <a:lnTo>
                    <a:pt x="35814" y="487013"/>
                  </a:lnTo>
                  <a:lnTo>
                    <a:pt x="36957" y="493681"/>
                  </a:lnTo>
                  <a:lnTo>
                    <a:pt x="32385" y="498729"/>
                  </a:lnTo>
                  <a:lnTo>
                    <a:pt x="33718" y="504634"/>
                  </a:lnTo>
                  <a:lnTo>
                    <a:pt x="47625" y="505873"/>
                  </a:lnTo>
                  <a:lnTo>
                    <a:pt x="44482" y="515874"/>
                  </a:lnTo>
                  <a:lnTo>
                    <a:pt x="29051" y="512540"/>
                  </a:lnTo>
                  <a:lnTo>
                    <a:pt x="28289" y="519017"/>
                  </a:lnTo>
                  <a:lnTo>
                    <a:pt x="38862" y="521875"/>
                  </a:lnTo>
                  <a:lnTo>
                    <a:pt x="43529" y="527875"/>
                  </a:lnTo>
                  <a:lnTo>
                    <a:pt x="36195" y="533114"/>
                  </a:lnTo>
                  <a:lnTo>
                    <a:pt x="33909" y="538543"/>
                  </a:lnTo>
                  <a:lnTo>
                    <a:pt x="38481" y="544544"/>
                  </a:lnTo>
                  <a:lnTo>
                    <a:pt x="32671" y="548354"/>
                  </a:lnTo>
                  <a:lnTo>
                    <a:pt x="36957" y="561308"/>
                  </a:lnTo>
                  <a:lnTo>
                    <a:pt x="30956" y="565118"/>
                  </a:lnTo>
                  <a:lnTo>
                    <a:pt x="32671" y="573976"/>
                  </a:lnTo>
                  <a:lnTo>
                    <a:pt x="28670" y="573976"/>
                  </a:lnTo>
                  <a:lnTo>
                    <a:pt x="27146" y="579406"/>
                  </a:lnTo>
                  <a:lnTo>
                    <a:pt x="19145" y="591598"/>
                  </a:lnTo>
                  <a:lnTo>
                    <a:pt x="24574" y="595884"/>
                  </a:lnTo>
                  <a:lnTo>
                    <a:pt x="25527" y="603313"/>
                  </a:lnTo>
                  <a:lnTo>
                    <a:pt x="18955" y="606171"/>
                  </a:lnTo>
                  <a:lnTo>
                    <a:pt x="19907" y="612838"/>
                  </a:lnTo>
                  <a:lnTo>
                    <a:pt x="10668" y="616934"/>
                  </a:lnTo>
                  <a:lnTo>
                    <a:pt x="7715" y="625030"/>
                  </a:lnTo>
                  <a:lnTo>
                    <a:pt x="952" y="625983"/>
                  </a:lnTo>
                  <a:lnTo>
                    <a:pt x="2191" y="637222"/>
                  </a:lnTo>
                  <a:lnTo>
                    <a:pt x="0" y="645319"/>
                  </a:lnTo>
                  <a:lnTo>
                    <a:pt x="5429" y="649986"/>
                  </a:lnTo>
                  <a:lnTo>
                    <a:pt x="7334" y="663130"/>
                  </a:lnTo>
                  <a:lnTo>
                    <a:pt x="14573" y="658368"/>
                  </a:lnTo>
                  <a:lnTo>
                    <a:pt x="18383" y="660749"/>
                  </a:lnTo>
                  <a:lnTo>
                    <a:pt x="24193" y="659416"/>
                  </a:lnTo>
                  <a:lnTo>
                    <a:pt x="25527" y="668560"/>
                  </a:lnTo>
                  <a:lnTo>
                    <a:pt x="21145" y="673132"/>
                  </a:lnTo>
                  <a:lnTo>
                    <a:pt x="25527" y="676847"/>
                  </a:lnTo>
                  <a:lnTo>
                    <a:pt x="22860" y="682276"/>
                  </a:lnTo>
                  <a:lnTo>
                    <a:pt x="31909" y="689229"/>
                  </a:lnTo>
                  <a:lnTo>
                    <a:pt x="30956" y="694372"/>
                  </a:lnTo>
                  <a:lnTo>
                    <a:pt x="69056" y="694372"/>
                  </a:lnTo>
                  <a:lnTo>
                    <a:pt x="79153" y="698945"/>
                  </a:lnTo>
                  <a:lnTo>
                    <a:pt x="84772" y="698087"/>
                  </a:lnTo>
                  <a:lnTo>
                    <a:pt x="96774" y="699230"/>
                  </a:lnTo>
                  <a:lnTo>
                    <a:pt x="90201" y="685324"/>
                  </a:lnTo>
                  <a:lnTo>
                    <a:pt x="85915" y="668846"/>
                  </a:lnTo>
                  <a:lnTo>
                    <a:pt x="99250" y="649986"/>
                  </a:lnTo>
                  <a:lnTo>
                    <a:pt x="92678" y="635508"/>
                  </a:lnTo>
                  <a:lnTo>
                    <a:pt x="113347" y="640461"/>
                  </a:lnTo>
                  <a:lnTo>
                    <a:pt x="117634" y="619220"/>
                  </a:lnTo>
                  <a:lnTo>
                    <a:pt x="150971" y="595979"/>
                  </a:lnTo>
                  <a:lnTo>
                    <a:pt x="154305" y="578453"/>
                  </a:lnTo>
                  <a:lnTo>
                    <a:pt x="134778" y="569881"/>
                  </a:lnTo>
                  <a:lnTo>
                    <a:pt x="117634" y="544639"/>
                  </a:lnTo>
                  <a:lnTo>
                    <a:pt x="130207" y="526256"/>
                  </a:lnTo>
                  <a:lnTo>
                    <a:pt x="156876" y="520637"/>
                  </a:lnTo>
                  <a:lnTo>
                    <a:pt x="162496" y="487204"/>
                  </a:lnTo>
                  <a:lnTo>
                    <a:pt x="182689" y="471297"/>
                  </a:lnTo>
                  <a:lnTo>
                    <a:pt x="169450" y="463105"/>
                  </a:lnTo>
                  <a:lnTo>
                    <a:pt x="190976" y="453104"/>
                  </a:lnTo>
                  <a:lnTo>
                    <a:pt x="170879" y="444055"/>
                  </a:lnTo>
                  <a:lnTo>
                    <a:pt x="168116" y="428244"/>
                  </a:lnTo>
                  <a:lnTo>
                    <a:pt x="172021" y="420624"/>
                  </a:lnTo>
                  <a:lnTo>
                    <a:pt x="200501" y="426434"/>
                  </a:lnTo>
                  <a:lnTo>
                    <a:pt x="222313" y="417862"/>
                  </a:lnTo>
                  <a:lnTo>
                    <a:pt x="227933" y="384334"/>
                  </a:lnTo>
                  <a:lnTo>
                    <a:pt x="220694" y="371189"/>
                  </a:lnTo>
                  <a:lnTo>
                    <a:pt x="237172" y="376142"/>
                  </a:lnTo>
                  <a:lnTo>
                    <a:pt x="272129" y="371951"/>
                  </a:lnTo>
                  <a:lnTo>
                    <a:pt x="315753" y="356330"/>
                  </a:lnTo>
                  <a:lnTo>
                    <a:pt x="333946" y="328613"/>
                  </a:lnTo>
                  <a:lnTo>
                    <a:pt x="319754" y="307753"/>
                  </a:lnTo>
                  <a:lnTo>
                    <a:pt x="323659" y="293180"/>
                  </a:lnTo>
                  <a:lnTo>
                    <a:pt x="298228" y="275939"/>
                  </a:lnTo>
                  <a:lnTo>
                    <a:pt x="290703" y="259842"/>
                  </a:lnTo>
                  <a:lnTo>
                    <a:pt x="303562" y="228886"/>
                  </a:lnTo>
                  <a:lnTo>
                    <a:pt x="303562" y="228886"/>
                  </a:lnTo>
                  <a:lnTo>
                    <a:pt x="303276" y="216122"/>
                  </a:lnTo>
                  <a:lnTo>
                    <a:pt x="308610" y="211931"/>
                  </a:lnTo>
                  <a:lnTo>
                    <a:pt x="305848" y="206407"/>
                  </a:lnTo>
                  <a:lnTo>
                    <a:pt x="311467" y="193738"/>
                  </a:lnTo>
                  <a:lnTo>
                    <a:pt x="309372" y="186880"/>
                  </a:lnTo>
                  <a:lnTo>
                    <a:pt x="313087" y="182689"/>
                  </a:lnTo>
                  <a:lnTo>
                    <a:pt x="313754" y="178022"/>
                  </a:lnTo>
                  <a:lnTo>
                    <a:pt x="320516" y="174212"/>
                  </a:lnTo>
                  <a:lnTo>
                    <a:pt x="320516" y="169259"/>
                  </a:lnTo>
                  <a:lnTo>
                    <a:pt x="327470" y="166878"/>
                  </a:lnTo>
                  <a:lnTo>
                    <a:pt x="334708" y="155543"/>
                  </a:lnTo>
                  <a:lnTo>
                    <a:pt x="340804" y="151352"/>
                  </a:lnTo>
                  <a:lnTo>
                    <a:pt x="347853" y="140113"/>
                  </a:lnTo>
                  <a:lnTo>
                    <a:pt x="354044" y="141827"/>
                  </a:lnTo>
                  <a:lnTo>
                    <a:pt x="353758" y="135826"/>
                  </a:lnTo>
                  <a:lnTo>
                    <a:pt x="361473" y="129635"/>
                  </a:lnTo>
                  <a:lnTo>
                    <a:pt x="366236" y="128873"/>
                  </a:lnTo>
                  <a:lnTo>
                    <a:pt x="374523" y="119729"/>
                  </a:lnTo>
                  <a:lnTo>
                    <a:pt x="379857" y="120491"/>
                  </a:lnTo>
                  <a:lnTo>
                    <a:pt x="383476" y="116300"/>
                  </a:lnTo>
                  <a:lnTo>
                    <a:pt x="390048" y="113443"/>
                  </a:lnTo>
                  <a:lnTo>
                    <a:pt x="392335" y="107537"/>
                  </a:lnTo>
                  <a:lnTo>
                    <a:pt x="390906" y="99155"/>
                  </a:lnTo>
                  <a:lnTo>
                    <a:pt x="393668" y="9563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1" name="Freeform: Shape 2891">
              <a:extLst>
                <a:ext uri="{FF2B5EF4-FFF2-40B4-BE49-F238E27FC236}">
                  <a16:creationId xmlns:a16="http://schemas.microsoft.com/office/drawing/2014/main" id="{B163AEA4-A3B4-B85A-A9C3-4B8267AFA541}"/>
                </a:ext>
              </a:extLst>
            </p:cNvPr>
            <p:cNvSpPr/>
            <p:nvPr/>
          </p:nvSpPr>
          <p:spPr>
            <a:xfrm>
              <a:off x="7525416" y="5762370"/>
              <a:ext cx="69913" cy="64960"/>
            </a:xfrm>
            <a:custGeom>
              <a:avLst/>
              <a:gdLst>
                <a:gd name="connsiteX0" fmla="*/ 43815 w 69913"/>
                <a:gd name="connsiteY0" fmla="*/ 64961 h 64960"/>
                <a:gd name="connsiteX1" fmla="*/ 65627 w 69913"/>
                <a:gd name="connsiteY1" fmla="*/ 61722 h 64960"/>
                <a:gd name="connsiteX2" fmla="*/ 69913 w 69913"/>
                <a:gd name="connsiteY2" fmla="*/ 54007 h 64960"/>
                <a:gd name="connsiteX3" fmla="*/ 48101 w 69913"/>
                <a:gd name="connsiteY3" fmla="*/ 50768 h 64960"/>
                <a:gd name="connsiteX4" fmla="*/ 2191 w 69913"/>
                <a:gd name="connsiteY4" fmla="*/ 14954 h 64960"/>
                <a:gd name="connsiteX5" fmla="*/ 8763 w 69913"/>
                <a:gd name="connsiteY5" fmla="*/ 6287 h 64960"/>
                <a:gd name="connsiteX6" fmla="*/ 0 w 69913"/>
                <a:gd name="connsiteY6" fmla="*/ 0 h 64960"/>
                <a:gd name="connsiteX7" fmla="*/ 0 w 69913"/>
                <a:gd name="connsiteY7" fmla="*/ 0 h 64960"/>
                <a:gd name="connsiteX8" fmla="*/ 0 w 69913"/>
                <a:gd name="connsiteY8" fmla="*/ 60198 h 64960"/>
                <a:gd name="connsiteX9" fmla="*/ 22288 w 69913"/>
                <a:gd name="connsiteY9" fmla="*/ 59912 h 64960"/>
                <a:gd name="connsiteX10" fmla="*/ 43815 w 69913"/>
                <a:gd name="connsiteY10" fmla="*/ 64961 h 6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913" h="64960">
                  <a:moveTo>
                    <a:pt x="43815" y="64961"/>
                  </a:moveTo>
                  <a:lnTo>
                    <a:pt x="65627" y="61722"/>
                  </a:lnTo>
                  <a:lnTo>
                    <a:pt x="69913" y="54007"/>
                  </a:lnTo>
                  <a:lnTo>
                    <a:pt x="48101" y="50768"/>
                  </a:lnTo>
                  <a:lnTo>
                    <a:pt x="2191" y="14954"/>
                  </a:lnTo>
                  <a:lnTo>
                    <a:pt x="8763" y="6287"/>
                  </a:lnTo>
                  <a:lnTo>
                    <a:pt x="0" y="0"/>
                  </a:lnTo>
                  <a:lnTo>
                    <a:pt x="0" y="0"/>
                  </a:lnTo>
                  <a:lnTo>
                    <a:pt x="0" y="60198"/>
                  </a:lnTo>
                  <a:lnTo>
                    <a:pt x="22288" y="59912"/>
                  </a:lnTo>
                  <a:lnTo>
                    <a:pt x="43815" y="6496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2" name="Freeform: Shape 2892">
              <a:extLst>
                <a:ext uri="{FF2B5EF4-FFF2-40B4-BE49-F238E27FC236}">
                  <a16:creationId xmlns:a16="http://schemas.microsoft.com/office/drawing/2014/main" id="{4ED513E7-33B6-0613-F9BA-98E4AA8D62CD}"/>
                </a:ext>
              </a:extLst>
            </p:cNvPr>
            <p:cNvSpPr/>
            <p:nvPr/>
          </p:nvSpPr>
          <p:spPr>
            <a:xfrm>
              <a:off x="7602664" y="5814949"/>
              <a:ext cx="17811" cy="10763"/>
            </a:xfrm>
            <a:custGeom>
              <a:avLst/>
              <a:gdLst>
                <a:gd name="connsiteX0" fmla="*/ 8191 w 17811"/>
                <a:gd name="connsiteY0" fmla="*/ 0 h 10763"/>
                <a:gd name="connsiteX1" fmla="*/ 17812 w 17811"/>
                <a:gd name="connsiteY1" fmla="*/ 3238 h 10763"/>
                <a:gd name="connsiteX2" fmla="*/ 10859 w 17811"/>
                <a:gd name="connsiteY2" fmla="*/ 10763 h 10763"/>
                <a:gd name="connsiteX3" fmla="*/ 0 w 17811"/>
                <a:gd name="connsiteY3" fmla="*/ 7525 h 10763"/>
                <a:gd name="connsiteX4" fmla="*/ 8191 w 17811"/>
                <a:gd name="connsiteY4" fmla="*/ 0 h 10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1" h="10763">
                  <a:moveTo>
                    <a:pt x="8191" y="0"/>
                  </a:moveTo>
                  <a:lnTo>
                    <a:pt x="17812" y="3238"/>
                  </a:lnTo>
                  <a:lnTo>
                    <a:pt x="10859" y="10763"/>
                  </a:lnTo>
                  <a:lnTo>
                    <a:pt x="0" y="7525"/>
                  </a:lnTo>
                  <a:lnTo>
                    <a:pt x="8191"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3" name="Freeform: Shape 2893">
              <a:extLst>
                <a:ext uri="{FF2B5EF4-FFF2-40B4-BE49-F238E27FC236}">
                  <a16:creationId xmlns:a16="http://schemas.microsoft.com/office/drawing/2014/main" id="{257B0888-2790-3E34-9667-AA915D900B65}"/>
                </a:ext>
              </a:extLst>
            </p:cNvPr>
            <p:cNvSpPr/>
            <p:nvPr/>
          </p:nvSpPr>
          <p:spPr>
            <a:xfrm>
              <a:off x="7422737" y="3752024"/>
              <a:ext cx="42386" cy="13620"/>
            </a:xfrm>
            <a:custGeom>
              <a:avLst/>
              <a:gdLst>
                <a:gd name="connsiteX0" fmla="*/ 42386 w 42386"/>
                <a:gd name="connsiteY0" fmla="*/ 0 h 13620"/>
                <a:gd name="connsiteX1" fmla="*/ 42386 w 42386"/>
                <a:gd name="connsiteY1" fmla="*/ 0 h 13620"/>
                <a:gd name="connsiteX2" fmla="*/ 25813 w 42386"/>
                <a:gd name="connsiteY2" fmla="*/ 11049 h 13620"/>
                <a:gd name="connsiteX3" fmla="*/ 0 w 42386"/>
                <a:gd name="connsiteY3" fmla="*/ 13621 h 13620"/>
                <a:gd name="connsiteX4" fmla="*/ 11335 w 42386"/>
                <a:gd name="connsiteY4" fmla="*/ 2381 h 13620"/>
                <a:gd name="connsiteX5" fmla="*/ 42386 w 42386"/>
                <a:gd name="connsiteY5" fmla="*/ 0 h 1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386" h="13620">
                  <a:moveTo>
                    <a:pt x="42386" y="0"/>
                  </a:moveTo>
                  <a:lnTo>
                    <a:pt x="42386" y="0"/>
                  </a:lnTo>
                  <a:lnTo>
                    <a:pt x="25813" y="11049"/>
                  </a:lnTo>
                  <a:lnTo>
                    <a:pt x="0" y="13621"/>
                  </a:lnTo>
                  <a:lnTo>
                    <a:pt x="11335" y="2381"/>
                  </a:lnTo>
                  <a:lnTo>
                    <a:pt x="42386"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4" name="Freeform: Shape 2894">
              <a:extLst>
                <a:ext uri="{FF2B5EF4-FFF2-40B4-BE49-F238E27FC236}">
                  <a16:creationId xmlns:a16="http://schemas.microsoft.com/office/drawing/2014/main" id="{ED9C3793-0403-4C2D-C433-0F743D12A29A}"/>
                </a:ext>
              </a:extLst>
            </p:cNvPr>
            <p:cNvSpPr/>
            <p:nvPr/>
          </p:nvSpPr>
          <p:spPr>
            <a:xfrm>
              <a:off x="6440423" y="3556476"/>
              <a:ext cx="6953" cy="9525"/>
            </a:xfrm>
            <a:custGeom>
              <a:avLst/>
              <a:gdLst>
                <a:gd name="connsiteX0" fmla="*/ 4668 w 6953"/>
                <a:gd name="connsiteY0" fmla="*/ 0 h 9525"/>
                <a:gd name="connsiteX1" fmla="*/ 0 w 6953"/>
                <a:gd name="connsiteY1" fmla="*/ 5715 h 9525"/>
                <a:gd name="connsiteX2" fmla="*/ 6954 w 6953"/>
                <a:gd name="connsiteY2" fmla="*/ 9525 h 9525"/>
                <a:gd name="connsiteX3" fmla="*/ 4668 w 6953"/>
                <a:gd name="connsiteY3" fmla="*/ 0 h 9525"/>
              </a:gdLst>
              <a:ahLst/>
              <a:cxnLst>
                <a:cxn ang="0">
                  <a:pos x="connsiteX0" y="connsiteY0"/>
                </a:cxn>
                <a:cxn ang="0">
                  <a:pos x="connsiteX1" y="connsiteY1"/>
                </a:cxn>
                <a:cxn ang="0">
                  <a:pos x="connsiteX2" y="connsiteY2"/>
                </a:cxn>
                <a:cxn ang="0">
                  <a:pos x="connsiteX3" y="connsiteY3"/>
                </a:cxn>
              </a:cxnLst>
              <a:rect l="l" t="t" r="r" b="b"/>
              <a:pathLst>
                <a:path w="6953" h="9525">
                  <a:moveTo>
                    <a:pt x="4668" y="0"/>
                  </a:moveTo>
                  <a:lnTo>
                    <a:pt x="0" y="5715"/>
                  </a:lnTo>
                  <a:lnTo>
                    <a:pt x="6954" y="9525"/>
                  </a:lnTo>
                  <a:lnTo>
                    <a:pt x="4668"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5" name="Freeform: Shape 2895">
              <a:extLst>
                <a:ext uri="{FF2B5EF4-FFF2-40B4-BE49-F238E27FC236}">
                  <a16:creationId xmlns:a16="http://schemas.microsoft.com/office/drawing/2014/main" id="{A2125E91-9A9C-CD37-4202-035E0E5FA679}"/>
                </a:ext>
              </a:extLst>
            </p:cNvPr>
            <p:cNvSpPr/>
            <p:nvPr/>
          </p:nvSpPr>
          <p:spPr>
            <a:xfrm>
              <a:off x="6414801" y="3545046"/>
              <a:ext cx="1139857" cy="556355"/>
            </a:xfrm>
            <a:custGeom>
              <a:avLst/>
              <a:gdLst>
                <a:gd name="connsiteX0" fmla="*/ 1134904 w 1139857"/>
                <a:gd name="connsiteY0" fmla="*/ 92964 h 556355"/>
                <a:gd name="connsiteX1" fmla="*/ 1127665 w 1139857"/>
                <a:gd name="connsiteY1" fmla="*/ 90107 h 556355"/>
                <a:gd name="connsiteX2" fmla="*/ 1127665 w 1139857"/>
                <a:gd name="connsiteY2" fmla="*/ 56674 h 556355"/>
                <a:gd name="connsiteX3" fmla="*/ 1117378 w 1139857"/>
                <a:gd name="connsiteY3" fmla="*/ 49340 h 556355"/>
                <a:gd name="connsiteX4" fmla="*/ 1105948 w 1139857"/>
                <a:gd name="connsiteY4" fmla="*/ 53435 h 556355"/>
                <a:gd name="connsiteX5" fmla="*/ 1102900 w 1139857"/>
                <a:gd name="connsiteY5" fmla="*/ 51245 h 556355"/>
                <a:gd name="connsiteX6" fmla="*/ 1102900 w 1139857"/>
                <a:gd name="connsiteY6" fmla="*/ 46768 h 556355"/>
                <a:gd name="connsiteX7" fmla="*/ 1098805 w 1139857"/>
                <a:gd name="connsiteY7" fmla="*/ 46768 h 556355"/>
                <a:gd name="connsiteX8" fmla="*/ 1083564 w 1139857"/>
                <a:gd name="connsiteY8" fmla="*/ 65532 h 556355"/>
                <a:gd name="connsiteX9" fmla="*/ 1082993 w 1139857"/>
                <a:gd name="connsiteY9" fmla="*/ 71628 h 556355"/>
                <a:gd name="connsiteX10" fmla="*/ 1079945 w 1139857"/>
                <a:gd name="connsiteY10" fmla="*/ 72866 h 556355"/>
                <a:gd name="connsiteX11" fmla="*/ 1077373 w 1139857"/>
                <a:gd name="connsiteY11" fmla="*/ 80486 h 556355"/>
                <a:gd name="connsiteX12" fmla="*/ 1079945 w 1139857"/>
                <a:gd name="connsiteY12" fmla="*/ 87249 h 556355"/>
                <a:gd name="connsiteX13" fmla="*/ 1070420 w 1139857"/>
                <a:gd name="connsiteY13" fmla="*/ 92964 h 556355"/>
                <a:gd name="connsiteX14" fmla="*/ 1070134 w 1139857"/>
                <a:gd name="connsiteY14" fmla="*/ 99346 h 556355"/>
                <a:gd name="connsiteX15" fmla="*/ 1064419 w 1139857"/>
                <a:gd name="connsiteY15" fmla="*/ 96393 h 556355"/>
                <a:gd name="connsiteX16" fmla="*/ 1061371 w 1139857"/>
                <a:gd name="connsiteY16" fmla="*/ 99917 h 556355"/>
                <a:gd name="connsiteX17" fmla="*/ 1056227 w 1139857"/>
                <a:gd name="connsiteY17" fmla="*/ 99632 h 556355"/>
                <a:gd name="connsiteX18" fmla="*/ 1053846 w 1139857"/>
                <a:gd name="connsiteY18" fmla="*/ 106299 h 556355"/>
                <a:gd name="connsiteX19" fmla="*/ 984504 w 1139857"/>
                <a:gd name="connsiteY19" fmla="*/ 106299 h 556355"/>
                <a:gd name="connsiteX20" fmla="*/ 967740 w 1139857"/>
                <a:gd name="connsiteY20" fmla="*/ 121634 h 556355"/>
                <a:gd name="connsiteX21" fmla="*/ 956596 w 1139857"/>
                <a:gd name="connsiteY21" fmla="*/ 128588 h 556355"/>
                <a:gd name="connsiteX22" fmla="*/ 956406 w 1139857"/>
                <a:gd name="connsiteY22" fmla="*/ 128873 h 556355"/>
                <a:gd name="connsiteX23" fmla="*/ 967740 w 1139857"/>
                <a:gd name="connsiteY23" fmla="*/ 133350 h 556355"/>
                <a:gd name="connsiteX24" fmla="*/ 953834 w 1139857"/>
                <a:gd name="connsiteY24" fmla="*/ 149257 h 556355"/>
                <a:gd name="connsiteX25" fmla="*/ 905828 w 1139857"/>
                <a:gd name="connsiteY25" fmla="*/ 156972 h 556355"/>
                <a:gd name="connsiteX26" fmla="*/ 900779 w 1139857"/>
                <a:gd name="connsiteY26" fmla="*/ 174022 h 556355"/>
                <a:gd name="connsiteX27" fmla="*/ 840296 w 1139857"/>
                <a:gd name="connsiteY27" fmla="*/ 200406 h 556355"/>
                <a:gd name="connsiteX28" fmla="*/ 818865 w 1139857"/>
                <a:gd name="connsiteY28" fmla="*/ 181737 h 556355"/>
                <a:gd name="connsiteX29" fmla="*/ 844868 w 1139857"/>
                <a:gd name="connsiteY29" fmla="*/ 170307 h 556355"/>
                <a:gd name="connsiteX30" fmla="*/ 833533 w 1139857"/>
                <a:gd name="connsiteY30" fmla="*/ 163259 h 556355"/>
                <a:gd name="connsiteX31" fmla="*/ 840772 w 1139857"/>
                <a:gd name="connsiteY31" fmla="*/ 153162 h 556355"/>
                <a:gd name="connsiteX32" fmla="*/ 832581 w 1139857"/>
                <a:gd name="connsiteY32" fmla="*/ 129540 h 556355"/>
                <a:gd name="connsiteX33" fmla="*/ 807244 w 1139857"/>
                <a:gd name="connsiteY33" fmla="*/ 142303 h 556355"/>
                <a:gd name="connsiteX34" fmla="*/ 826866 w 1139857"/>
                <a:gd name="connsiteY34" fmla="*/ 114872 h 556355"/>
                <a:gd name="connsiteX35" fmla="*/ 823246 w 1139857"/>
                <a:gd name="connsiteY35" fmla="*/ 100298 h 556355"/>
                <a:gd name="connsiteX36" fmla="*/ 793623 w 1139857"/>
                <a:gd name="connsiteY36" fmla="*/ 90011 h 556355"/>
                <a:gd name="connsiteX37" fmla="*/ 782479 w 1139857"/>
                <a:gd name="connsiteY37" fmla="*/ 111728 h 556355"/>
                <a:gd name="connsiteX38" fmla="*/ 776764 w 1139857"/>
                <a:gd name="connsiteY38" fmla="*/ 103442 h 556355"/>
                <a:gd name="connsiteX39" fmla="*/ 768478 w 1139857"/>
                <a:gd name="connsiteY39" fmla="*/ 135350 h 556355"/>
                <a:gd name="connsiteX40" fmla="*/ 773716 w 1139857"/>
                <a:gd name="connsiteY40" fmla="*/ 160782 h 556355"/>
                <a:gd name="connsiteX41" fmla="*/ 749428 w 1139857"/>
                <a:gd name="connsiteY41" fmla="*/ 188785 h 556355"/>
                <a:gd name="connsiteX42" fmla="*/ 732949 w 1139857"/>
                <a:gd name="connsiteY42" fmla="*/ 160782 h 556355"/>
                <a:gd name="connsiteX43" fmla="*/ 748285 w 1139857"/>
                <a:gd name="connsiteY43" fmla="*/ 100870 h 556355"/>
                <a:gd name="connsiteX44" fmla="*/ 804672 w 1139857"/>
                <a:gd name="connsiteY44" fmla="*/ 76676 h 556355"/>
                <a:gd name="connsiteX45" fmla="*/ 779812 w 1139857"/>
                <a:gd name="connsiteY45" fmla="*/ 68199 h 556355"/>
                <a:gd name="connsiteX46" fmla="*/ 745713 w 1139857"/>
                <a:gd name="connsiteY46" fmla="*/ 69723 h 556355"/>
                <a:gd name="connsiteX47" fmla="*/ 735616 w 1139857"/>
                <a:gd name="connsiteY47" fmla="*/ 55721 h 556355"/>
                <a:gd name="connsiteX48" fmla="*/ 723043 w 1139857"/>
                <a:gd name="connsiteY48" fmla="*/ 58769 h 556355"/>
                <a:gd name="connsiteX49" fmla="*/ 691515 w 1139857"/>
                <a:gd name="connsiteY49" fmla="*/ 80582 h 556355"/>
                <a:gd name="connsiteX50" fmla="*/ 659988 w 1139857"/>
                <a:gd name="connsiteY50" fmla="*/ 75914 h 556355"/>
                <a:gd name="connsiteX51" fmla="*/ 653701 w 1139857"/>
                <a:gd name="connsiteY51" fmla="*/ 71247 h 556355"/>
                <a:gd name="connsiteX52" fmla="*/ 700945 w 1139857"/>
                <a:gd name="connsiteY52" fmla="*/ 35338 h 556355"/>
                <a:gd name="connsiteX53" fmla="*/ 684848 w 1139857"/>
                <a:gd name="connsiteY53" fmla="*/ 30956 h 556355"/>
                <a:gd name="connsiteX54" fmla="*/ 673322 w 1139857"/>
                <a:gd name="connsiteY54" fmla="*/ 31813 h 556355"/>
                <a:gd name="connsiteX55" fmla="*/ 670275 w 1139857"/>
                <a:gd name="connsiteY55" fmla="*/ 25813 h 556355"/>
                <a:gd name="connsiteX56" fmla="*/ 659416 w 1139857"/>
                <a:gd name="connsiteY56" fmla="*/ 32575 h 556355"/>
                <a:gd name="connsiteX57" fmla="*/ 649224 w 1139857"/>
                <a:gd name="connsiteY57" fmla="*/ 26384 h 556355"/>
                <a:gd name="connsiteX58" fmla="*/ 641795 w 1139857"/>
                <a:gd name="connsiteY58" fmla="*/ 30480 h 556355"/>
                <a:gd name="connsiteX59" fmla="*/ 638270 w 1139857"/>
                <a:gd name="connsiteY59" fmla="*/ 22765 h 556355"/>
                <a:gd name="connsiteX60" fmla="*/ 623411 w 1139857"/>
                <a:gd name="connsiteY60" fmla="*/ 18288 h 556355"/>
                <a:gd name="connsiteX61" fmla="*/ 615601 w 1139857"/>
                <a:gd name="connsiteY61" fmla="*/ 23527 h 556355"/>
                <a:gd name="connsiteX62" fmla="*/ 610934 w 1139857"/>
                <a:gd name="connsiteY62" fmla="*/ 18288 h 556355"/>
                <a:gd name="connsiteX63" fmla="*/ 595027 w 1139857"/>
                <a:gd name="connsiteY63" fmla="*/ 15050 h 556355"/>
                <a:gd name="connsiteX64" fmla="*/ 592074 w 1139857"/>
                <a:gd name="connsiteY64" fmla="*/ 1619 h 556355"/>
                <a:gd name="connsiteX65" fmla="*/ 585788 w 1139857"/>
                <a:gd name="connsiteY65" fmla="*/ 0 h 556355"/>
                <a:gd name="connsiteX66" fmla="*/ 585788 w 1139857"/>
                <a:gd name="connsiteY66" fmla="*/ 9334 h 556355"/>
                <a:gd name="connsiteX67" fmla="*/ 39434 w 1139857"/>
                <a:gd name="connsiteY67" fmla="*/ 9334 h 556355"/>
                <a:gd name="connsiteX68" fmla="*/ 50197 w 1139857"/>
                <a:gd name="connsiteY68" fmla="*/ 33433 h 556355"/>
                <a:gd name="connsiteX69" fmla="*/ 46292 w 1139857"/>
                <a:gd name="connsiteY69" fmla="*/ 50959 h 556355"/>
                <a:gd name="connsiteX70" fmla="*/ 32671 w 1139857"/>
                <a:gd name="connsiteY70" fmla="*/ 55436 h 556355"/>
                <a:gd name="connsiteX71" fmla="*/ 38958 w 1139857"/>
                <a:gd name="connsiteY71" fmla="*/ 29718 h 556355"/>
                <a:gd name="connsiteX72" fmla="*/ 16574 w 1139857"/>
                <a:gd name="connsiteY72" fmla="*/ 32766 h 556355"/>
                <a:gd name="connsiteX73" fmla="*/ 0 w 1139857"/>
                <a:gd name="connsiteY73" fmla="*/ 24003 h 556355"/>
                <a:gd name="connsiteX74" fmla="*/ 10002 w 1139857"/>
                <a:gd name="connsiteY74" fmla="*/ 54864 h 556355"/>
                <a:gd name="connsiteX75" fmla="*/ 14574 w 1139857"/>
                <a:gd name="connsiteY75" fmla="*/ 56198 h 556355"/>
                <a:gd name="connsiteX76" fmla="*/ 11906 w 1139857"/>
                <a:gd name="connsiteY76" fmla="*/ 60293 h 556355"/>
                <a:gd name="connsiteX77" fmla="*/ 19145 w 1139857"/>
                <a:gd name="connsiteY77" fmla="*/ 65627 h 556355"/>
                <a:gd name="connsiteX78" fmla="*/ 12859 w 1139857"/>
                <a:gd name="connsiteY78" fmla="*/ 75819 h 556355"/>
                <a:gd name="connsiteX79" fmla="*/ 10954 w 1139857"/>
                <a:gd name="connsiteY79" fmla="*/ 133064 h 556355"/>
                <a:gd name="connsiteX80" fmla="*/ 15526 w 1139857"/>
                <a:gd name="connsiteY80" fmla="*/ 135255 h 556355"/>
                <a:gd name="connsiteX81" fmla="*/ 3334 w 1139857"/>
                <a:gd name="connsiteY81" fmla="*/ 159734 h 556355"/>
                <a:gd name="connsiteX82" fmla="*/ 10573 w 1139857"/>
                <a:gd name="connsiteY82" fmla="*/ 180594 h 556355"/>
                <a:gd name="connsiteX83" fmla="*/ 12859 w 1139857"/>
                <a:gd name="connsiteY83" fmla="*/ 208693 h 556355"/>
                <a:gd name="connsiteX84" fmla="*/ 6668 w 1139857"/>
                <a:gd name="connsiteY84" fmla="*/ 218408 h 556355"/>
                <a:gd name="connsiteX85" fmla="*/ 17812 w 1139857"/>
                <a:gd name="connsiteY85" fmla="*/ 233172 h 556355"/>
                <a:gd name="connsiteX86" fmla="*/ 20194 w 1139857"/>
                <a:gd name="connsiteY86" fmla="*/ 253365 h 556355"/>
                <a:gd name="connsiteX87" fmla="*/ 34004 w 1139857"/>
                <a:gd name="connsiteY87" fmla="*/ 274320 h 556355"/>
                <a:gd name="connsiteX88" fmla="*/ 44291 w 1139857"/>
                <a:gd name="connsiteY88" fmla="*/ 278035 h 556355"/>
                <a:gd name="connsiteX89" fmla="*/ 65437 w 1139857"/>
                <a:gd name="connsiteY89" fmla="*/ 273939 h 556355"/>
                <a:gd name="connsiteX90" fmla="*/ 56484 w 1139857"/>
                <a:gd name="connsiteY90" fmla="*/ 312420 h 556355"/>
                <a:gd name="connsiteX91" fmla="*/ 76581 w 1139857"/>
                <a:gd name="connsiteY91" fmla="*/ 336709 h 556355"/>
                <a:gd name="connsiteX92" fmla="*/ 81249 w 1139857"/>
                <a:gd name="connsiteY92" fmla="*/ 336994 h 556355"/>
                <a:gd name="connsiteX93" fmla="*/ 81249 w 1139857"/>
                <a:gd name="connsiteY93" fmla="*/ 351282 h 556355"/>
                <a:gd name="connsiteX94" fmla="*/ 102680 w 1139857"/>
                <a:gd name="connsiteY94" fmla="*/ 354616 h 556355"/>
                <a:gd name="connsiteX95" fmla="*/ 110966 w 1139857"/>
                <a:gd name="connsiteY95" fmla="*/ 361378 h 556355"/>
                <a:gd name="connsiteX96" fmla="*/ 122492 w 1139857"/>
                <a:gd name="connsiteY96" fmla="*/ 362902 h 556355"/>
                <a:gd name="connsiteX97" fmla="*/ 147257 w 1139857"/>
                <a:gd name="connsiteY97" fmla="*/ 386429 h 556355"/>
                <a:gd name="connsiteX98" fmla="*/ 149162 w 1139857"/>
                <a:gd name="connsiteY98" fmla="*/ 390144 h 556355"/>
                <a:gd name="connsiteX99" fmla="*/ 198406 w 1139857"/>
                <a:gd name="connsiteY99" fmla="*/ 390144 h 556355"/>
                <a:gd name="connsiteX100" fmla="*/ 198406 w 1139857"/>
                <a:gd name="connsiteY100" fmla="*/ 397669 h 556355"/>
                <a:gd name="connsiteX101" fmla="*/ 270701 w 1139857"/>
                <a:gd name="connsiteY101" fmla="*/ 423386 h 556355"/>
                <a:gd name="connsiteX102" fmla="*/ 326898 w 1139857"/>
                <a:gd name="connsiteY102" fmla="*/ 423386 h 556355"/>
                <a:gd name="connsiteX103" fmla="*/ 326898 w 1139857"/>
                <a:gd name="connsiteY103" fmla="*/ 412814 h 556355"/>
                <a:gd name="connsiteX104" fmla="*/ 360998 w 1139857"/>
                <a:gd name="connsiteY104" fmla="*/ 412814 h 556355"/>
                <a:gd name="connsiteX105" fmla="*/ 366141 w 1139857"/>
                <a:gd name="connsiteY105" fmla="*/ 421005 h 556355"/>
                <a:gd name="connsiteX106" fmla="*/ 374428 w 1139857"/>
                <a:gd name="connsiteY106" fmla="*/ 424529 h 556355"/>
                <a:gd name="connsiteX107" fmla="*/ 397574 w 1139857"/>
                <a:gd name="connsiteY107" fmla="*/ 449866 h 556355"/>
                <a:gd name="connsiteX108" fmla="*/ 397574 w 1139857"/>
                <a:gd name="connsiteY108" fmla="*/ 458057 h 556355"/>
                <a:gd name="connsiteX109" fmla="*/ 425958 w 1139857"/>
                <a:gd name="connsiteY109" fmla="*/ 474535 h 556355"/>
                <a:gd name="connsiteX110" fmla="*/ 436341 w 1139857"/>
                <a:gd name="connsiteY110" fmla="*/ 459772 h 556355"/>
                <a:gd name="connsiteX111" fmla="*/ 444532 w 1139857"/>
                <a:gd name="connsiteY111" fmla="*/ 455962 h 556355"/>
                <a:gd name="connsiteX112" fmla="*/ 462629 w 1139857"/>
                <a:gd name="connsiteY112" fmla="*/ 458629 h 556355"/>
                <a:gd name="connsiteX113" fmla="*/ 475488 w 1139857"/>
                <a:gd name="connsiteY113" fmla="*/ 471773 h 556355"/>
                <a:gd name="connsiteX114" fmla="*/ 485870 w 1139857"/>
                <a:gd name="connsiteY114" fmla="*/ 491490 h 556355"/>
                <a:gd name="connsiteX115" fmla="*/ 499206 w 1139857"/>
                <a:gd name="connsiteY115" fmla="*/ 504158 h 556355"/>
                <a:gd name="connsiteX116" fmla="*/ 500253 w 1139857"/>
                <a:gd name="connsiteY116" fmla="*/ 515588 h 556355"/>
                <a:gd name="connsiteX117" fmla="*/ 505969 w 1139857"/>
                <a:gd name="connsiteY117" fmla="*/ 518350 h 556355"/>
                <a:gd name="connsiteX118" fmla="*/ 507492 w 1139857"/>
                <a:gd name="connsiteY118" fmla="*/ 528733 h 556355"/>
                <a:gd name="connsiteX119" fmla="*/ 528161 w 1139857"/>
                <a:gd name="connsiteY119" fmla="*/ 537019 h 556355"/>
                <a:gd name="connsiteX120" fmla="*/ 546545 w 1139857"/>
                <a:gd name="connsiteY120" fmla="*/ 538448 h 556355"/>
                <a:gd name="connsiteX121" fmla="*/ 541211 w 1139857"/>
                <a:gd name="connsiteY121" fmla="*/ 509778 h 556355"/>
                <a:gd name="connsiteX122" fmla="*/ 544163 w 1139857"/>
                <a:gd name="connsiteY122" fmla="*/ 502063 h 556355"/>
                <a:gd name="connsiteX123" fmla="*/ 538925 w 1139857"/>
                <a:gd name="connsiteY123" fmla="*/ 498539 h 556355"/>
                <a:gd name="connsiteX124" fmla="*/ 581502 w 1139857"/>
                <a:gd name="connsiteY124" fmla="*/ 477107 h 556355"/>
                <a:gd name="connsiteX125" fmla="*/ 590836 w 1139857"/>
                <a:gd name="connsiteY125" fmla="*/ 469297 h 556355"/>
                <a:gd name="connsiteX126" fmla="*/ 587407 w 1139857"/>
                <a:gd name="connsiteY126" fmla="*/ 459581 h 556355"/>
                <a:gd name="connsiteX127" fmla="*/ 599027 w 1139857"/>
                <a:gd name="connsiteY127" fmla="*/ 462725 h 556355"/>
                <a:gd name="connsiteX128" fmla="*/ 609886 w 1139857"/>
                <a:gd name="connsiteY128" fmla="*/ 454247 h 556355"/>
                <a:gd name="connsiteX129" fmla="*/ 611887 w 1139857"/>
                <a:gd name="connsiteY129" fmla="*/ 459962 h 556355"/>
                <a:gd name="connsiteX130" fmla="*/ 642557 w 1139857"/>
                <a:gd name="connsiteY130" fmla="*/ 463486 h 556355"/>
                <a:gd name="connsiteX131" fmla="*/ 651510 w 1139857"/>
                <a:gd name="connsiteY131" fmla="*/ 457200 h 556355"/>
                <a:gd name="connsiteX132" fmla="*/ 663703 w 1139857"/>
                <a:gd name="connsiteY132" fmla="*/ 462058 h 556355"/>
                <a:gd name="connsiteX133" fmla="*/ 662750 w 1139857"/>
                <a:gd name="connsiteY133" fmla="*/ 469392 h 556355"/>
                <a:gd name="connsiteX134" fmla="*/ 673989 w 1139857"/>
                <a:gd name="connsiteY134" fmla="*/ 472250 h 556355"/>
                <a:gd name="connsiteX135" fmla="*/ 679228 w 1139857"/>
                <a:gd name="connsiteY135" fmla="*/ 467297 h 556355"/>
                <a:gd name="connsiteX136" fmla="*/ 683229 w 1139857"/>
                <a:gd name="connsiteY136" fmla="*/ 472916 h 556355"/>
                <a:gd name="connsiteX137" fmla="*/ 687515 w 1139857"/>
                <a:gd name="connsiteY137" fmla="*/ 468440 h 556355"/>
                <a:gd name="connsiteX138" fmla="*/ 684181 w 1139857"/>
                <a:gd name="connsiteY138" fmla="*/ 462725 h 556355"/>
                <a:gd name="connsiteX139" fmla="*/ 699707 w 1139857"/>
                <a:gd name="connsiteY139" fmla="*/ 470249 h 556355"/>
                <a:gd name="connsiteX140" fmla="*/ 700374 w 1139857"/>
                <a:gd name="connsiteY140" fmla="*/ 457962 h 556355"/>
                <a:gd name="connsiteX141" fmla="*/ 681704 w 1139857"/>
                <a:gd name="connsiteY141" fmla="*/ 449390 h 556355"/>
                <a:gd name="connsiteX142" fmla="*/ 700754 w 1139857"/>
                <a:gd name="connsiteY142" fmla="*/ 451009 h 556355"/>
                <a:gd name="connsiteX143" fmla="*/ 719519 w 1139857"/>
                <a:gd name="connsiteY143" fmla="*/ 445103 h 556355"/>
                <a:gd name="connsiteX144" fmla="*/ 737331 w 1139857"/>
                <a:gd name="connsiteY144" fmla="*/ 448056 h 556355"/>
                <a:gd name="connsiteX145" fmla="*/ 756857 w 1139857"/>
                <a:gd name="connsiteY145" fmla="*/ 444722 h 556355"/>
                <a:gd name="connsiteX146" fmla="*/ 770001 w 1139857"/>
                <a:gd name="connsiteY146" fmla="*/ 450151 h 556355"/>
                <a:gd name="connsiteX147" fmla="*/ 770382 w 1139857"/>
                <a:gd name="connsiteY147" fmla="*/ 445580 h 556355"/>
                <a:gd name="connsiteX148" fmla="*/ 775621 w 1139857"/>
                <a:gd name="connsiteY148" fmla="*/ 444817 h 556355"/>
                <a:gd name="connsiteX149" fmla="*/ 774192 w 1139857"/>
                <a:gd name="connsiteY149" fmla="*/ 450818 h 556355"/>
                <a:gd name="connsiteX150" fmla="*/ 779336 w 1139857"/>
                <a:gd name="connsiteY150" fmla="*/ 455390 h 556355"/>
                <a:gd name="connsiteX151" fmla="*/ 780288 w 1139857"/>
                <a:gd name="connsiteY151" fmla="*/ 460343 h 556355"/>
                <a:gd name="connsiteX152" fmla="*/ 806387 w 1139857"/>
                <a:gd name="connsiteY152" fmla="*/ 451580 h 556355"/>
                <a:gd name="connsiteX153" fmla="*/ 833819 w 1139857"/>
                <a:gd name="connsiteY153" fmla="*/ 477107 h 556355"/>
                <a:gd name="connsiteX154" fmla="*/ 828485 w 1139857"/>
                <a:gd name="connsiteY154" fmla="*/ 495776 h 556355"/>
                <a:gd name="connsiteX155" fmla="*/ 832295 w 1139857"/>
                <a:gd name="connsiteY155" fmla="*/ 500158 h 556355"/>
                <a:gd name="connsiteX156" fmla="*/ 832771 w 1139857"/>
                <a:gd name="connsiteY156" fmla="*/ 495014 h 556355"/>
                <a:gd name="connsiteX157" fmla="*/ 840772 w 1139857"/>
                <a:gd name="connsiteY157" fmla="*/ 501110 h 556355"/>
                <a:gd name="connsiteX158" fmla="*/ 831818 w 1139857"/>
                <a:gd name="connsiteY158" fmla="*/ 505873 h 556355"/>
                <a:gd name="connsiteX159" fmla="*/ 840391 w 1139857"/>
                <a:gd name="connsiteY159" fmla="*/ 520256 h 556355"/>
                <a:gd name="connsiteX160" fmla="*/ 846677 w 1139857"/>
                <a:gd name="connsiteY160" fmla="*/ 516731 h 556355"/>
                <a:gd name="connsiteX161" fmla="*/ 844678 w 1139857"/>
                <a:gd name="connsiteY161" fmla="*/ 523018 h 556355"/>
                <a:gd name="connsiteX162" fmla="*/ 845630 w 1139857"/>
                <a:gd name="connsiteY162" fmla="*/ 526923 h 556355"/>
                <a:gd name="connsiteX163" fmla="*/ 863537 w 1139857"/>
                <a:gd name="connsiteY163" fmla="*/ 551783 h 556355"/>
                <a:gd name="connsiteX164" fmla="*/ 864489 w 1139857"/>
                <a:gd name="connsiteY164" fmla="*/ 556355 h 556355"/>
                <a:gd name="connsiteX165" fmla="*/ 878015 w 1139857"/>
                <a:gd name="connsiteY165" fmla="*/ 554926 h 556355"/>
                <a:gd name="connsiteX166" fmla="*/ 885254 w 1139857"/>
                <a:gd name="connsiteY166" fmla="*/ 521303 h 556355"/>
                <a:gd name="connsiteX167" fmla="*/ 877062 w 1139857"/>
                <a:gd name="connsiteY167" fmla="*/ 498539 h 556355"/>
                <a:gd name="connsiteX168" fmla="*/ 875348 w 1139857"/>
                <a:gd name="connsiteY168" fmla="*/ 485870 h 556355"/>
                <a:gd name="connsiteX169" fmla="*/ 856202 w 1139857"/>
                <a:gd name="connsiteY169" fmla="*/ 441293 h 556355"/>
                <a:gd name="connsiteX170" fmla="*/ 868490 w 1139857"/>
                <a:gd name="connsiteY170" fmla="*/ 408432 h 556355"/>
                <a:gd name="connsiteX171" fmla="*/ 898208 w 1139857"/>
                <a:gd name="connsiteY171" fmla="*/ 386048 h 556355"/>
                <a:gd name="connsiteX172" fmla="*/ 914686 w 1139857"/>
                <a:gd name="connsiteY172" fmla="*/ 367379 h 556355"/>
                <a:gd name="connsiteX173" fmla="*/ 938785 w 1139857"/>
                <a:gd name="connsiteY173" fmla="*/ 351663 h 556355"/>
                <a:gd name="connsiteX174" fmla="*/ 958596 w 1139857"/>
                <a:gd name="connsiteY174" fmla="*/ 344138 h 556355"/>
                <a:gd name="connsiteX175" fmla="*/ 945547 w 1139857"/>
                <a:gd name="connsiteY175" fmla="*/ 332327 h 556355"/>
                <a:gd name="connsiteX176" fmla="*/ 970122 w 1139857"/>
                <a:gd name="connsiteY176" fmla="*/ 327755 h 556355"/>
                <a:gd name="connsiteX177" fmla="*/ 950691 w 1139857"/>
                <a:gd name="connsiteY177" fmla="*/ 320231 h 556355"/>
                <a:gd name="connsiteX178" fmla="*/ 960977 w 1139857"/>
                <a:gd name="connsiteY178" fmla="*/ 310134 h 556355"/>
                <a:gd name="connsiteX179" fmla="*/ 974789 w 1139857"/>
                <a:gd name="connsiteY179" fmla="*/ 324041 h 556355"/>
                <a:gd name="connsiteX180" fmla="*/ 964597 w 1139857"/>
                <a:gd name="connsiteY180" fmla="*/ 295751 h 556355"/>
                <a:gd name="connsiteX181" fmla="*/ 942785 w 1139857"/>
                <a:gd name="connsiteY181" fmla="*/ 270605 h 556355"/>
                <a:gd name="connsiteX182" fmla="*/ 945071 w 1139857"/>
                <a:gd name="connsiteY182" fmla="*/ 256699 h 556355"/>
                <a:gd name="connsiteX183" fmla="*/ 958882 w 1139857"/>
                <a:gd name="connsiteY183" fmla="*/ 273177 h 556355"/>
                <a:gd name="connsiteX184" fmla="*/ 952977 w 1139857"/>
                <a:gd name="connsiteY184" fmla="*/ 246221 h 556355"/>
                <a:gd name="connsiteX185" fmla="*/ 968503 w 1139857"/>
                <a:gd name="connsiteY185" fmla="*/ 238792 h 556355"/>
                <a:gd name="connsiteX186" fmla="*/ 960216 w 1139857"/>
                <a:gd name="connsiteY186" fmla="*/ 263461 h 556355"/>
                <a:gd name="connsiteX187" fmla="*/ 972122 w 1139857"/>
                <a:gd name="connsiteY187" fmla="*/ 275082 h 556355"/>
                <a:gd name="connsiteX188" fmla="*/ 969264 w 1139857"/>
                <a:gd name="connsiteY188" fmla="*/ 286607 h 556355"/>
                <a:gd name="connsiteX189" fmla="*/ 983171 w 1139857"/>
                <a:gd name="connsiteY189" fmla="*/ 276225 h 556355"/>
                <a:gd name="connsiteX190" fmla="*/ 984314 w 1139857"/>
                <a:gd name="connsiteY190" fmla="*/ 264224 h 556355"/>
                <a:gd name="connsiteX191" fmla="*/ 976789 w 1139857"/>
                <a:gd name="connsiteY191" fmla="*/ 233934 h 556355"/>
                <a:gd name="connsiteX192" fmla="*/ 983742 w 1139857"/>
                <a:gd name="connsiteY192" fmla="*/ 234220 h 556355"/>
                <a:gd name="connsiteX193" fmla="*/ 988029 w 1139857"/>
                <a:gd name="connsiteY193" fmla="*/ 252984 h 556355"/>
                <a:gd name="connsiteX194" fmla="*/ 1003173 w 1139857"/>
                <a:gd name="connsiteY194" fmla="*/ 234315 h 556355"/>
                <a:gd name="connsiteX195" fmla="*/ 1005840 w 1139857"/>
                <a:gd name="connsiteY195" fmla="*/ 219647 h 556355"/>
                <a:gd name="connsiteX196" fmla="*/ 995553 w 1139857"/>
                <a:gd name="connsiteY196" fmla="*/ 215551 h 556355"/>
                <a:gd name="connsiteX197" fmla="*/ 1026319 w 1139857"/>
                <a:gd name="connsiteY197" fmla="*/ 197644 h 556355"/>
                <a:gd name="connsiteX198" fmla="*/ 1047750 w 1139857"/>
                <a:gd name="connsiteY198" fmla="*/ 197263 h 556355"/>
                <a:gd name="connsiteX199" fmla="*/ 1061943 w 1139857"/>
                <a:gd name="connsiteY199" fmla="*/ 192786 h 556355"/>
                <a:gd name="connsiteX200" fmla="*/ 1069563 w 1139857"/>
                <a:gd name="connsiteY200" fmla="*/ 154496 h 556355"/>
                <a:gd name="connsiteX201" fmla="*/ 1101567 w 1139857"/>
                <a:gd name="connsiteY201" fmla="*/ 131255 h 556355"/>
                <a:gd name="connsiteX202" fmla="*/ 1107853 w 1139857"/>
                <a:gd name="connsiteY202" fmla="*/ 117348 h 556355"/>
                <a:gd name="connsiteX203" fmla="*/ 1113473 w 1139857"/>
                <a:gd name="connsiteY203" fmla="*/ 125540 h 556355"/>
                <a:gd name="connsiteX204" fmla="*/ 1116330 w 1139857"/>
                <a:gd name="connsiteY204" fmla="*/ 116491 h 556355"/>
                <a:gd name="connsiteX205" fmla="*/ 1122712 w 1139857"/>
                <a:gd name="connsiteY205" fmla="*/ 123063 h 556355"/>
                <a:gd name="connsiteX206" fmla="*/ 1139857 w 1139857"/>
                <a:gd name="connsiteY206" fmla="*/ 115348 h 556355"/>
                <a:gd name="connsiteX207" fmla="*/ 1139571 w 1139857"/>
                <a:gd name="connsiteY207" fmla="*/ 102680 h 556355"/>
                <a:gd name="connsiteX208" fmla="*/ 1134904 w 1139857"/>
                <a:gd name="connsiteY208" fmla="*/ 101251 h 556355"/>
                <a:gd name="connsiteX209" fmla="*/ 1134904 w 1139857"/>
                <a:gd name="connsiteY209" fmla="*/ 92964 h 55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139857" h="556355">
                  <a:moveTo>
                    <a:pt x="1134904" y="92964"/>
                  </a:moveTo>
                  <a:lnTo>
                    <a:pt x="1127665" y="90107"/>
                  </a:lnTo>
                  <a:lnTo>
                    <a:pt x="1127665" y="56674"/>
                  </a:lnTo>
                  <a:lnTo>
                    <a:pt x="1117378" y="49340"/>
                  </a:lnTo>
                  <a:lnTo>
                    <a:pt x="1105948" y="53435"/>
                  </a:lnTo>
                  <a:lnTo>
                    <a:pt x="1102900" y="51245"/>
                  </a:lnTo>
                  <a:lnTo>
                    <a:pt x="1102900" y="46768"/>
                  </a:lnTo>
                  <a:lnTo>
                    <a:pt x="1098805" y="46768"/>
                  </a:lnTo>
                  <a:lnTo>
                    <a:pt x="1083564" y="65532"/>
                  </a:lnTo>
                  <a:lnTo>
                    <a:pt x="1082993" y="71628"/>
                  </a:lnTo>
                  <a:lnTo>
                    <a:pt x="1079945" y="72866"/>
                  </a:lnTo>
                  <a:lnTo>
                    <a:pt x="1077373" y="80486"/>
                  </a:lnTo>
                  <a:lnTo>
                    <a:pt x="1079945" y="87249"/>
                  </a:lnTo>
                  <a:lnTo>
                    <a:pt x="1070420" y="92964"/>
                  </a:lnTo>
                  <a:lnTo>
                    <a:pt x="1070134" y="99346"/>
                  </a:lnTo>
                  <a:lnTo>
                    <a:pt x="1064419" y="96393"/>
                  </a:lnTo>
                  <a:lnTo>
                    <a:pt x="1061371" y="99917"/>
                  </a:lnTo>
                  <a:lnTo>
                    <a:pt x="1056227" y="99632"/>
                  </a:lnTo>
                  <a:lnTo>
                    <a:pt x="1053846" y="106299"/>
                  </a:lnTo>
                  <a:lnTo>
                    <a:pt x="984504" y="106299"/>
                  </a:lnTo>
                  <a:lnTo>
                    <a:pt x="967740" y="121634"/>
                  </a:lnTo>
                  <a:lnTo>
                    <a:pt x="956596" y="128588"/>
                  </a:lnTo>
                  <a:lnTo>
                    <a:pt x="956406" y="128873"/>
                  </a:lnTo>
                  <a:lnTo>
                    <a:pt x="967740" y="133350"/>
                  </a:lnTo>
                  <a:lnTo>
                    <a:pt x="953834" y="149257"/>
                  </a:lnTo>
                  <a:lnTo>
                    <a:pt x="905828" y="156972"/>
                  </a:lnTo>
                  <a:lnTo>
                    <a:pt x="900779" y="174022"/>
                  </a:lnTo>
                  <a:lnTo>
                    <a:pt x="840296" y="200406"/>
                  </a:lnTo>
                  <a:lnTo>
                    <a:pt x="818865" y="181737"/>
                  </a:lnTo>
                  <a:lnTo>
                    <a:pt x="844868" y="170307"/>
                  </a:lnTo>
                  <a:lnTo>
                    <a:pt x="833533" y="163259"/>
                  </a:lnTo>
                  <a:lnTo>
                    <a:pt x="840772" y="153162"/>
                  </a:lnTo>
                  <a:lnTo>
                    <a:pt x="832581" y="129540"/>
                  </a:lnTo>
                  <a:lnTo>
                    <a:pt x="807244" y="142303"/>
                  </a:lnTo>
                  <a:lnTo>
                    <a:pt x="826866" y="114872"/>
                  </a:lnTo>
                  <a:lnTo>
                    <a:pt x="823246" y="100298"/>
                  </a:lnTo>
                  <a:lnTo>
                    <a:pt x="793623" y="90011"/>
                  </a:lnTo>
                  <a:lnTo>
                    <a:pt x="782479" y="111728"/>
                  </a:lnTo>
                  <a:lnTo>
                    <a:pt x="776764" y="103442"/>
                  </a:lnTo>
                  <a:lnTo>
                    <a:pt x="768478" y="135350"/>
                  </a:lnTo>
                  <a:lnTo>
                    <a:pt x="773716" y="160782"/>
                  </a:lnTo>
                  <a:lnTo>
                    <a:pt x="749428" y="188785"/>
                  </a:lnTo>
                  <a:lnTo>
                    <a:pt x="732949" y="160782"/>
                  </a:lnTo>
                  <a:lnTo>
                    <a:pt x="748285" y="100870"/>
                  </a:lnTo>
                  <a:lnTo>
                    <a:pt x="804672" y="76676"/>
                  </a:lnTo>
                  <a:lnTo>
                    <a:pt x="779812" y="68199"/>
                  </a:lnTo>
                  <a:lnTo>
                    <a:pt x="745713" y="69723"/>
                  </a:lnTo>
                  <a:lnTo>
                    <a:pt x="735616" y="55721"/>
                  </a:lnTo>
                  <a:lnTo>
                    <a:pt x="723043" y="58769"/>
                  </a:lnTo>
                  <a:lnTo>
                    <a:pt x="691515" y="80582"/>
                  </a:lnTo>
                  <a:lnTo>
                    <a:pt x="659988" y="75914"/>
                  </a:lnTo>
                  <a:lnTo>
                    <a:pt x="653701" y="71247"/>
                  </a:lnTo>
                  <a:lnTo>
                    <a:pt x="700945" y="35338"/>
                  </a:lnTo>
                  <a:lnTo>
                    <a:pt x="684848" y="30956"/>
                  </a:lnTo>
                  <a:lnTo>
                    <a:pt x="673322" y="31813"/>
                  </a:lnTo>
                  <a:lnTo>
                    <a:pt x="670275" y="25813"/>
                  </a:lnTo>
                  <a:lnTo>
                    <a:pt x="659416" y="32575"/>
                  </a:lnTo>
                  <a:lnTo>
                    <a:pt x="649224" y="26384"/>
                  </a:lnTo>
                  <a:lnTo>
                    <a:pt x="641795" y="30480"/>
                  </a:lnTo>
                  <a:lnTo>
                    <a:pt x="638270" y="22765"/>
                  </a:lnTo>
                  <a:lnTo>
                    <a:pt x="623411" y="18288"/>
                  </a:lnTo>
                  <a:lnTo>
                    <a:pt x="615601" y="23527"/>
                  </a:lnTo>
                  <a:lnTo>
                    <a:pt x="610934" y="18288"/>
                  </a:lnTo>
                  <a:lnTo>
                    <a:pt x="595027" y="15050"/>
                  </a:lnTo>
                  <a:lnTo>
                    <a:pt x="592074" y="1619"/>
                  </a:lnTo>
                  <a:lnTo>
                    <a:pt x="585788" y="0"/>
                  </a:lnTo>
                  <a:lnTo>
                    <a:pt x="585788" y="9334"/>
                  </a:lnTo>
                  <a:lnTo>
                    <a:pt x="39434" y="9334"/>
                  </a:lnTo>
                  <a:lnTo>
                    <a:pt x="50197" y="33433"/>
                  </a:lnTo>
                  <a:lnTo>
                    <a:pt x="46292" y="50959"/>
                  </a:lnTo>
                  <a:lnTo>
                    <a:pt x="32671" y="55436"/>
                  </a:lnTo>
                  <a:lnTo>
                    <a:pt x="38958" y="29718"/>
                  </a:lnTo>
                  <a:lnTo>
                    <a:pt x="16574" y="32766"/>
                  </a:lnTo>
                  <a:lnTo>
                    <a:pt x="0" y="24003"/>
                  </a:lnTo>
                  <a:lnTo>
                    <a:pt x="10002" y="54864"/>
                  </a:lnTo>
                  <a:lnTo>
                    <a:pt x="14574" y="56198"/>
                  </a:lnTo>
                  <a:lnTo>
                    <a:pt x="11906" y="60293"/>
                  </a:lnTo>
                  <a:lnTo>
                    <a:pt x="19145" y="65627"/>
                  </a:lnTo>
                  <a:lnTo>
                    <a:pt x="12859" y="75819"/>
                  </a:lnTo>
                  <a:lnTo>
                    <a:pt x="10954" y="133064"/>
                  </a:lnTo>
                  <a:lnTo>
                    <a:pt x="15526" y="135255"/>
                  </a:lnTo>
                  <a:lnTo>
                    <a:pt x="3334" y="159734"/>
                  </a:lnTo>
                  <a:lnTo>
                    <a:pt x="10573" y="180594"/>
                  </a:lnTo>
                  <a:lnTo>
                    <a:pt x="12859" y="208693"/>
                  </a:lnTo>
                  <a:lnTo>
                    <a:pt x="6668" y="218408"/>
                  </a:lnTo>
                  <a:lnTo>
                    <a:pt x="17812" y="233172"/>
                  </a:lnTo>
                  <a:lnTo>
                    <a:pt x="20194" y="253365"/>
                  </a:lnTo>
                  <a:lnTo>
                    <a:pt x="34004" y="274320"/>
                  </a:lnTo>
                  <a:lnTo>
                    <a:pt x="44291" y="278035"/>
                  </a:lnTo>
                  <a:lnTo>
                    <a:pt x="65437" y="273939"/>
                  </a:lnTo>
                  <a:lnTo>
                    <a:pt x="56484" y="312420"/>
                  </a:lnTo>
                  <a:lnTo>
                    <a:pt x="76581" y="336709"/>
                  </a:lnTo>
                  <a:lnTo>
                    <a:pt x="81249" y="336994"/>
                  </a:lnTo>
                  <a:lnTo>
                    <a:pt x="81249" y="351282"/>
                  </a:lnTo>
                  <a:lnTo>
                    <a:pt x="102680" y="354616"/>
                  </a:lnTo>
                  <a:lnTo>
                    <a:pt x="110966" y="361378"/>
                  </a:lnTo>
                  <a:lnTo>
                    <a:pt x="122492" y="362902"/>
                  </a:lnTo>
                  <a:lnTo>
                    <a:pt x="147257" y="386429"/>
                  </a:lnTo>
                  <a:lnTo>
                    <a:pt x="149162" y="390144"/>
                  </a:lnTo>
                  <a:lnTo>
                    <a:pt x="198406" y="390144"/>
                  </a:lnTo>
                  <a:lnTo>
                    <a:pt x="198406" y="397669"/>
                  </a:lnTo>
                  <a:lnTo>
                    <a:pt x="270701" y="423386"/>
                  </a:lnTo>
                  <a:lnTo>
                    <a:pt x="326898" y="423386"/>
                  </a:lnTo>
                  <a:lnTo>
                    <a:pt x="326898" y="412814"/>
                  </a:lnTo>
                  <a:lnTo>
                    <a:pt x="360998" y="412814"/>
                  </a:lnTo>
                  <a:lnTo>
                    <a:pt x="366141" y="421005"/>
                  </a:lnTo>
                  <a:lnTo>
                    <a:pt x="374428" y="424529"/>
                  </a:lnTo>
                  <a:lnTo>
                    <a:pt x="397574" y="449866"/>
                  </a:lnTo>
                  <a:lnTo>
                    <a:pt x="397574" y="458057"/>
                  </a:lnTo>
                  <a:lnTo>
                    <a:pt x="425958" y="474535"/>
                  </a:lnTo>
                  <a:lnTo>
                    <a:pt x="436341" y="459772"/>
                  </a:lnTo>
                  <a:lnTo>
                    <a:pt x="444532" y="455962"/>
                  </a:lnTo>
                  <a:lnTo>
                    <a:pt x="462629" y="458629"/>
                  </a:lnTo>
                  <a:lnTo>
                    <a:pt x="475488" y="471773"/>
                  </a:lnTo>
                  <a:lnTo>
                    <a:pt x="485870" y="491490"/>
                  </a:lnTo>
                  <a:lnTo>
                    <a:pt x="499206" y="504158"/>
                  </a:lnTo>
                  <a:lnTo>
                    <a:pt x="500253" y="515588"/>
                  </a:lnTo>
                  <a:lnTo>
                    <a:pt x="505969" y="518350"/>
                  </a:lnTo>
                  <a:lnTo>
                    <a:pt x="507492" y="528733"/>
                  </a:lnTo>
                  <a:lnTo>
                    <a:pt x="528161" y="537019"/>
                  </a:lnTo>
                  <a:lnTo>
                    <a:pt x="546545" y="538448"/>
                  </a:lnTo>
                  <a:lnTo>
                    <a:pt x="541211" y="509778"/>
                  </a:lnTo>
                  <a:lnTo>
                    <a:pt x="544163" y="502063"/>
                  </a:lnTo>
                  <a:lnTo>
                    <a:pt x="538925" y="498539"/>
                  </a:lnTo>
                  <a:lnTo>
                    <a:pt x="581502" y="477107"/>
                  </a:lnTo>
                  <a:lnTo>
                    <a:pt x="590836" y="469297"/>
                  </a:lnTo>
                  <a:lnTo>
                    <a:pt x="587407" y="459581"/>
                  </a:lnTo>
                  <a:lnTo>
                    <a:pt x="599027" y="462725"/>
                  </a:lnTo>
                  <a:lnTo>
                    <a:pt x="609886" y="454247"/>
                  </a:lnTo>
                  <a:lnTo>
                    <a:pt x="611887" y="459962"/>
                  </a:lnTo>
                  <a:lnTo>
                    <a:pt x="642557" y="463486"/>
                  </a:lnTo>
                  <a:lnTo>
                    <a:pt x="651510" y="457200"/>
                  </a:lnTo>
                  <a:lnTo>
                    <a:pt x="663703" y="462058"/>
                  </a:lnTo>
                  <a:lnTo>
                    <a:pt x="662750" y="469392"/>
                  </a:lnTo>
                  <a:lnTo>
                    <a:pt x="673989" y="472250"/>
                  </a:lnTo>
                  <a:lnTo>
                    <a:pt x="679228" y="467297"/>
                  </a:lnTo>
                  <a:lnTo>
                    <a:pt x="683229" y="472916"/>
                  </a:lnTo>
                  <a:lnTo>
                    <a:pt x="687515" y="468440"/>
                  </a:lnTo>
                  <a:lnTo>
                    <a:pt x="684181" y="462725"/>
                  </a:lnTo>
                  <a:lnTo>
                    <a:pt x="699707" y="470249"/>
                  </a:lnTo>
                  <a:lnTo>
                    <a:pt x="700374" y="457962"/>
                  </a:lnTo>
                  <a:lnTo>
                    <a:pt x="681704" y="449390"/>
                  </a:lnTo>
                  <a:lnTo>
                    <a:pt x="700754" y="451009"/>
                  </a:lnTo>
                  <a:lnTo>
                    <a:pt x="719519" y="445103"/>
                  </a:lnTo>
                  <a:lnTo>
                    <a:pt x="737331" y="448056"/>
                  </a:lnTo>
                  <a:lnTo>
                    <a:pt x="756857" y="444722"/>
                  </a:lnTo>
                  <a:lnTo>
                    <a:pt x="770001" y="450151"/>
                  </a:lnTo>
                  <a:lnTo>
                    <a:pt x="770382" y="445580"/>
                  </a:lnTo>
                  <a:lnTo>
                    <a:pt x="775621" y="444817"/>
                  </a:lnTo>
                  <a:lnTo>
                    <a:pt x="774192" y="450818"/>
                  </a:lnTo>
                  <a:lnTo>
                    <a:pt x="779336" y="455390"/>
                  </a:lnTo>
                  <a:lnTo>
                    <a:pt x="780288" y="460343"/>
                  </a:lnTo>
                  <a:lnTo>
                    <a:pt x="806387" y="451580"/>
                  </a:lnTo>
                  <a:lnTo>
                    <a:pt x="833819" y="477107"/>
                  </a:lnTo>
                  <a:lnTo>
                    <a:pt x="828485" y="495776"/>
                  </a:lnTo>
                  <a:lnTo>
                    <a:pt x="832295" y="500158"/>
                  </a:lnTo>
                  <a:lnTo>
                    <a:pt x="832771" y="495014"/>
                  </a:lnTo>
                  <a:lnTo>
                    <a:pt x="840772" y="501110"/>
                  </a:lnTo>
                  <a:lnTo>
                    <a:pt x="831818" y="505873"/>
                  </a:lnTo>
                  <a:lnTo>
                    <a:pt x="840391" y="520256"/>
                  </a:lnTo>
                  <a:lnTo>
                    <a:pt x="846677" y="516731"/>
                  </a:lnTo>
                  <a:lnTo>
                    <a:pt x="844678" y="523018"/>
                  </a:lnTo>
                  <a:lnTo>
                    <a:pt x="845630" y="526923"/>
                  </a:lnTo>
                  <a:lnTo>
                    <a:pt x="863537" y="551783"/>
                  </a:lnTo>
                  <a:lnTo>
                    <a:pt x="864489" y="556355"/>
                  </a:lnTo>
                  <a:lnTo>
                    <a:pt x="878015" y="554926"/>
                  </a:lnTo>
                  <a:lnTo>
                    <a:pt x="885254" y="521303"/>
                  </a:lnTo>
                  <a:lnTo>
                    <a:pt x="877062" y="498539"/>
                  </a:lnTo>
                  <a:lnTo>
                    <a:pt x="875348" y="485870"/>
                  </a:lnTo>
                  <a:lnTo>
                    <a:pt x="856202" y="441293"/>
                  </a:lnTo>
                  <a:lnTo>
                    <a:pt x="868490" y="408432"/>
                  </a:lnTo>
                  <a:lnTo>
                    <a:pt x="898208" y="386048"/>
                  </a:lnTo>
                  <a:lnTo>
                    <a:pt x="914686" y="367379"/>
                  </a:lnTo>
                  <a:lnTo>
                    <a:pt x="938785" y="351663"/>
                  </a:lnTo>
                  <a:lnTo>
                    <a:pt x="958596" y="344138"/>
                  </a:lnTo>
                  <a:lnTo>
                    <a:pt x="945547" y="332327"/>
                  </a:lnTo>
                  <a:lnTo>
                    <a:pt x="970122" y="327755"/>
                  </a:lnTo>
                  <a:lnTo>
                    <a:pt x="950691" y="320231"/>
                  </a:lnTo>
                  <a:lnTo>
                    <a:pt x="960977" y="310134"/>
                  </a:lnTo>
                  <a:lnTo>
                    <a:pt x="974789" y="324041"/>
                  </a:lnTo>
                  <a:lnTo>
                    <a:pt x="964597" y="295751"/>
                  </a:lnTo>
                  <a:lnTo>
                    <a:pt x="942785" y="270605"/>
                  </a:lnTo>
                  <a:lnTo>
                    <a:pt x="945071" y="256699"/>
                  </a:lnTo>
                  <a:lnTo>
                    <a:pt x="958882" y="273177"/>
                  </a:lnTo>
                  <a:lnTo>
                    <a:pt x="952977" y="246221"/>
                  </a:lnTo>
                  <a:lnTo>
                    <a:pt x="968503" y="238792"/>
                  </a:lnTo>
                  <a:lnTo>
                    <a:pt x="960216" y="263461"/>
                  </a:lnTo>
                  <a:lnTo>
                    <a:pt x="972122" y="275082"/>
                  </a:lnTo>
                  <a:lnTo>
                    <a:pt x="969264" y="286607"/>
                  </a:lnTo>
                  <a:lnTo>
                    <a:pt x="983171" y="276225"/>
                  </a:lnTo>
                  <a:lnTo>
                    <a:pt x="984314" y="264224"/>
                  </a:lnTo>
                  <a:lnTo>
                    <a:pt x="976789" y="233934"/>
                  </a:lnTo>
                  <a:lnTo>
                    <a:pt x="983742" y="234220"/>
                  </a:lnTo>
                  <a:lnTo>
                    <a:pt x="988029" y="252984"/>
                  </a:lnTo>
                  <a:lnTo>
                    <a:pt x="1003173" y="234315"/>
                  </a:lnTo>
                  <a:lnTo>
                    <a:pt x="1005840" y="219647"/>
                  </a:lnTo>
                  <a:lnTo>
                    <a:pt x="995553" y="215551"/>
                  </a:lnTo>
                  <a:lnTo>
                    <a:pt x="1026319" y="197644"/>
                  </a:lnTo>
                  <a:lnTo>
                    <a:pt x="1047750" y="197263"/>
                  </a:lnTo>
                  <a:lnTo>
                    <a:pt x="1061943" y="192786"/>
                  </a:lnTo>
                  <a:lnTo>
                    <a:pt x="1069563" y="154496"/>
                  </a:lnTo>
                  <a:lnTo>
                    <a:pt x="1101567" y="131255"/>
                  </a:lnTo>
                  <a:lnTo>
                    <a:pt x="1107853" y="117348"/>
                  </a:lnTo>
                  <a:lnTo>
                    <a:pt x="1113473" y="125540"/>
                  </a:lnTo>
                  <a:lnTo>
                    <a:pt x="1116330" y="116491"/>
                  </a:lnTo>
                  <a:lnTo>
                    <a:pt x="1122712" y="123063"/>
                  </a:lnTo>
                  <a:lnTo>
                    <a:pt x="1139857" y="115348"/>
                  </a:lnTo>
                  <a:lnTo>
                    <a:pt x="1139571" y="102680"/>
                  </a:lnTo>
                  <a:lnTo>
                    <a:pt x="1134904" y="101251"/>
                  </a:lnTo>
                  <a:lnTo>
                    <a:pt x="1134904" y="9296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6" name="Freeform: Shape 2896">
              <a:extLst>
                <a:ext uri="{FF2B5EF4-FFF2-40B4-BE49-F238E27FC236}">
                  <a16:creationId xmlns:a16="http://schemas.microsoft.com/office/drawing/2014/main" id="{D9180851-F99D-282D-56C4-2BB3F51AA85C}"/>
                </a:ext>
              </a:extLst>
            </p:cNvPr>
            <p:cNvSpPr/>
            <p:nvPr/>
          </p:nvSpPr>
          <p:spPr>
            <a:xfrm>
              <a:off x="5818822" y="3309683"/>
              <a:ext cx="48101" cy="25717"/>
            </a:xfrm>
            <a:custGeom>
              <a:avLst/>
              <a:gdLst>
                <a:gd name="connsiteX0" fmla="*/ 30385 w 48101"/>
                <a:gd name="connsiteY0" fmla="*/ 0 h 25717"/>
                <a:gd name="connsiteX1" fmla="*/ 48101 w 48101"/>
                <a:gd name="connsiteY1" fmla="*/ 11620 h 25717"/>
                <a:gd name="connsiteX2" fmla="*/ 18097 w 48101"/>
                <a:gd name="connsiteY2" fmla="*/ 25717 h 25717"/>
                <a:gd name="connsiteX3" fmla="*/ 0 w 48101"/>
                <a:gd name="connsiteY3" fmla="*/ 17907 h 25717"/>
                <a:gd name="connsiteX4" fmla="*/ 30385 w 48101"/>
                <a:gd name="connsiteY4" fmla="*/ 0 h 25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01" h="25717">
                  <a:moveTo>
                    <a:pt x="30385" y="0"/>
                  </a:moveTo>
                  <a:lnTo>
                    <a:pt x="48101" y="11620"/>
                  </a:lnTo>
                  <a:lnTo>
                    <a:pt x="18097" y="25717"/>
                  </a:lnTo>
                  <a:lnTo>
                    <a:pt x="0" y="17907"/>
                  </a:lnTo>
                  <a:lnTo>
                    <a:pt x="3038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7" name="Freeform: Shape 2897">
              <a:extLst>
                <a:ext uri="{FF2B5EF4-FFF2-40B4-BE49-F238E27FC236}">
                  <a16:creationId xmlns:a16="http://schemas.microsoft.com/office/drawing/2014/main" id="{DDAE3D25-7FD0-8C03-15C8-7D3509AB7CE1}"/>
                </a:ext>
              </a:extLst>
            </p:cNvPr>
            <p:cNvSpPr/>
            <p:nvPr/>
          </p:nvSpPr>
          <p:spPr>
            <a:xfrm>
              <a:off x="6249447" y="3342735"/>
              <a:ext cx="8572" cy="8191"/>
            </a:xfrm>
            <a:custGeom>
              <a:avLst/>
              <a:gdLst>
                <a:gd name="connsiteX0" fmla="*/ 3334 w 8572"/>
                <a:gd name="connsiteY0" fmla="*/ 381 h 8191"/>
                <a:gd name="connsiteX1" fmla="*/ 3334 w 8572"/>
                <a:gd name="connsiteY1" fmla="*/ 381 h 8191"/>
                <a:gd name="connsiteX2" fmla="*/ 8573 w 8572"/>
                <a:gd name="connsiteY2" fmla="*/ 5906 h 8191"/>
                <a:gd name="connsiteX3" fmla="*/ 667 w 8572"/>
                <a:gd name="connsiteY3" fmla="*/ 8192 h 8191"/>
                <a:gd name="connsiteX4" fmla="*/ 0 w 8572"/>
                <a:gd name="connsiteY4" fmla="*/ 0 h 8191"/>
                <a:gd name="connsiteX5" fmla="*/ 3334 w 8572"/>
                <a:gd name="connsiteY5" fmla="*/ 381 h 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8191">
                  <a:moveTo>
                    <a:pt x="3334" y="381"/>
                  </a:moveTo>
                  <a:lnTo>
                    <a:pt x="3334" y="381"/>
                  </a:lnTo>
                  <a:lnTo>
                    <a:pt x="8573" y="5906"/>
                  </a:lnTo>
                  <a:lnTo>
                    <a:pt x="667" y="8192"/>
                  </a:lnTo>
                  <a:lnTo>
                    <a:pt x="0" y="0"/>
                  </a:lnTo>
                  <a:lnTo>
                    <a:pt x="3334" y="38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8" name="Freeform: Shape 2898">
              <a:extLst>
                <a:ext uri="{FF2B5EF4-FFF2-40B4-BE49-F238E27FC236}">
                  <a16:creationId xmlns:a16="http://schemas.microsoft.com/office/drawing/2014/main" id="{B35868B5-90E7-8FC2-9061-D466D355D5CF}"/>
                </a:ext>
              </a:extLst>
            </p:cNvPr>
            <p:cNvSpPr/>
            <p:nvPr/>
          </p:nvSpPr>
          <p:spPr>
            <a:xfrm>
              <a:off x="6254496" y="3354355"/>
              <a:ext cx="12001" cy="11239"/>
            </a:xfrm>
            <a:custGeom>
              <a:avLst/>
              <a:gdLst>
                <a:gd name="connsiteX0" fmla="*/ 0 w 12001"/>
                <a:gd name="connsiteY0" fmla="*/ 0 h 11239"/>
                <a:gd name="connsiteX1" fmla="*/ 12002 w 12001"/>
                <a:gd name="connsiteY1" fmla="*/ 2096 h 11239"/>
                <a:gd name="connsiteX2" fmla="*/ 7048 w 12001"/>
                <a:gd name="connsiteY2" fmla="*/ 11240 h 11239"/>
                <a:gd name="connsiteX3" fmla="*/ 0 w 12001"/>
                <a:gd name="connsiteY3" fmla="*/ 0 h 11239"/>
              </a:gdLst>
              <a:ahLst/>
              <a:cxnLst>
                <a:cxn ang="0">
                  <a:pos x="connsiteX0" y="connsiteY0"/>
                </a:cxn>
                <a:cxn ang="0">
                  <a:pos x="connsiteX1" y="connsiteY1"/>
                </a:cxn>
                <a:cxn ang="0">
                  <a:pos x="connsiteX2" y="connsiteY2"/>
                </a:cxn>
                <a:cxn ang="0">
                  <a:pos x="connsiteX3" y="connsiteY3"/>
                </a:cxn>
              </a:cxnLst>
              <a:rect l="l" t="t" r="r" b="b"/>
              <a:pathLst>
                <a:path w="12001" h="11239">
                  <a:moveTo>
                    <a:pt x="0" y="0"/>
                  </a:moveTo>
                  <a:lnTo>
                    <a:pt x="12002" y="2096"/>
                  </a:lnTo>
                  <a:lnTo>
                    <a:pt x="7048" y="11240"/>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09" name="Freeform: Shape 2899">
              <a:extLst>
                <a:ext uri="{FF2B5EF4-FFF2-40B4-BE49-F238E27FC236}">
                  <a16:creationId xmlns:a16="http://schemas.microsoft.com/office/drawing/2014/main" id="{C729952F-0238-C2DA-A2AE-8692749D0D9C}"/>
                </a:ext>
              </a:extLst>
            </p:cNvPr>
            <p:cNvSpPr/>
            <p:nvPr/>
          </p:nvSpPr>
          <p:spPr>
            <a:xfrm>
              <a:off x="6239161" y="3355117"/>
              <a:ext cx="28384" cy="25050"/>
            </a:xfrm>
            <a:custGeom>
              <a:avLst/>
              <a:gdLst>
                <a:gd name="connsiteX0" fmla="*/ 0 w 28384"/>
                <a:gd name="connsiteY0" fmla="*/ 0 h 25050"/>
                <a:gd name="connsiteX1" fmla="*/ 0 w 28384"/>
                <a:gd name="connsiteY1" fmla="*/ 0 h 25050"/>
                <a:gd name="connsiteX2" fmla="*/ 8287 w 28384"/>
                <a:gd name="connsiteY2" fmla="*/ 857 h 25050"/>
                <a:gd name="connsiteX3" fmla="*/ 28384 w 28384"/>
                <a:gd name="connsiteY3" fmla="*/ 23813 h 25050"/>
                <a:gd name="connsiteX4" fmla="*/ 15240 w 28384"/>
                <a:gd name="connsiteY4" fmla="*/ 25051 h 25050"/>
                <a:gd name="connsiteX5" fmla="*/ 0 w 28384"/>
                <a:gd name="connsiteY5" fmla="*/ 0 h 2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 h="25050">
                  <a:moveTo>
                    <a:pt x="0" y="0"/>
                  </a:moveTo>
                  <a:lnTo>
                    <a:pt x="0" y="0"/>
                  </a:lnTo>
                  <a:lnTo>
                    <a:pt x="8287" y="857"/>
                  </a:lnTo>
                  <a:lnTo>
                    <a:pt x="28384" y="23813"/>
                  </a:lnTo>
                  <a:lnTo>
                    <a:pt x="15240" y="25051"/>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0" name="Freeform: Shape 2900">
              <a:extLst>
                <a:ext uri="{FF2B5EF4-FFF2-40B4-BE49-F238E27FC236}">
                  <a16:creationId xmlns:a16="http://schemas.microsoft.com/office/drawing/2014/main" id="{1401F6F1-D9AB-2609-72D5-490278D633DE}"/>
                </a:ext>
              </a:extLst>
            </p:cNvPr>
            <p:cNvSpPr/>
            <p:nvPr/>
          </p:nvSpPr>
          <p:spPr>
            <a:xfrm>
              <a:off x="6275832" y="3383597"/>
              <a:ext cx="14287" cy="18573"/>
            </a:xfrm>
            <a:custGeom>
              <a:avLst/>
              <a:gdLst>
                <a:gd name="connsiteX0" fmla="*/ 0 w 14287"/>
                <a:gd name="connsiteY0" fmla="*/ 3048 h 18573"/>
                <a:gd name="connsiteX1" fmla="*/ 5429 w 14287"/>
                <a:gd name="connsiteY1" fmla="*/ 0 h 18573"/>
                <a:gd name="connsiteX2" fmla="*/ 14288 w 14287"/>
                <a:gd name="connsiteY2" fmla="*/ 7334 h 18573"/>
                <a:gd name="connsiteX3" fmla="*/ 7715 w 14287"/>
                <a:gd name="connsiteY3" fmla="*/ 18574 h 18573"/>
                <a:gd name="connsiteX4" fmla="*/ 0 w 14287"/>
                <a:gd name="connsiteY4" fmla="*/ 3048 h 1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 h="18573">
                  <a:moveTo>
                    <a:pt x="0" y="3048"/>
                  </a:moveTo>
                  <a:lnTo>
                    <a:pt x="5429" y="0"/>
                  </a:lnTo>
                  <a:lnTo>
                    <a:pt x="14288" y="7334"/>
                  </a:lnTo>
                  <a:lnTo>
                    <a:pt x="7715" y="18574"/>
                  </a:lnTo>
                  <a:lnTo>
                    <a:pt x="0" y="304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1" name="Freeform: Shape 2901">
              <a:extLst>
                <a:ext uri="{FF2B5EF4-FFF2-40B4-BE49-F238E27FC236}">
                  <a16:creationId xmlns:a16="http://schemas.microsoft.com/office/drawing/2014/main" id="{F697D716-01DE-FA55-E90A-2CE76EE74398}"/>
                </a:ext>
              </a:extLst>
            </p:cNvPr>
            <p:cNvSpPr/>
            <p:nvPr/>
          </p:nvSpPr>
          <p:spPr>
            <a:xfrm>
              <a:off x="6274307" y="3371024"/>
              <a:ext cx="12573" cy="10763"/>
            </a:xfrm>
            <a:custGeom>
              <a:avLst/>
              <a:gdLst>
                <a:gd name="connsiteX0" fmla="*/ 9240 w 12573"/>
                <a:gd name="connsiteY0" fmla="*/ 0 h 10763"/>
                <a:gd name="connsiteX1" fmla="*/ 12573 w 12573"/>
                <a:gd name="connsiteY1" fmla="*/ 10763 h 10763"/>
                <a:gd name="connsiteX2" fmla="*/ 0 w 12573"/>
                <a:gd name="connsiteY2" fmla="*/ 5334 h 10763"/>
                <a:gd name="connsiteX3" fmla="*/ 9240 w 12573"/>
                <a:gd name="connsiteY3" fmla="*/ 0 h 10763"/>
              </a:gdLst>
              <a:ahLst/>
              <a:cxnLst>
                <a:cxn ang="0">
                  <a:pos x="connsiteX0" y="connsiteY0"/>
                </a:cxn>
                <a:cxn ang="0">
                  <a:pos x="connsiteX1" y="connsiteY1"/>
                </a:cxn>
                <a:cxn ang="0">
                  <a:pos x="connsiteX2" y="connsiteY2"/>
                </a:cxn>
                <a:cxn ang="0">
                  <a:pos x="connsiteX3" y="connsiteY3"/>
                </a:cxn>
              </a:cxnLst>
              <a:rect l="l" t="t" r="r" b="b"/>
              <a:pathLst>
                <a:path w="12573" h="10763">
                  <a:moveTo>
                    <a:pt x="9240" y="0"/>
                  </a:moveTo>
                  <a:lnTo>
                    <a:pt x="12573" y="10763"/>
                  </a:lnTo>
                  <a:lnTo>
                    <a:pt x="0" y="5334"/>
                  </a:lnTo>
                  <a:lnTo>
                    <a:pt x="924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2" name="Freeform: Shape 2902">
              <a:extLst>
                <a:ext uri="{FF2B5EF4-FFF2-40B4-BE49-F238E27FC236}">
                  <a16:creationId xmlns:a16="http://schemas.microsoft.com/office/drawing/2014/main" id="{4C4580EC-1DF4-0B5E-0258-A1A630A5251A}"/>
                </a:ext>
              </a:extLst>
            </p:cNvPr>
            <p:cNvSpPr/>
            <p:nvPr/>
          </p:nvSpPr>
          <p:spPr>
            <a:xfrm>
              <a:off x="5617368" y="3392074"/>
              <a:ext cx="24955" cy="18573"/>
            </a:xfrm>
            <a:custGeom>
              <a:avLst/>
              <a:gdLst>
                <a:gd name="connsiteX0" fmla="*/ 24955 w 24955"/>
                <a:gd name="connsiteY0" fmla="*/ 0 h 18573"/>
                <a:gd name="connsiteX1" fmla="*/ 24574 w 24955"/>
                <a:gd name="connsiteY1" fmla="*/ 11049 h 18573"/>
                <a:gd name="connsiteX2" fmla="*/ 6858 w 24955"/>
                <a:gd name="connsiteY2" fmla="*/ 18574 h 18573"/>
                <a:gd name="connsiteX3" fmla="*/ 0 w 24955"/>
                <a:gd name="connsiteY3" fmla="*/ 13525 h 18573"/>
                <a:gd name="connsiteX4" fmla="*/ 24955 w 24955"/>
                <a:gd name="connsiteY4" fmla="*/ 0 h 1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5" h="18573">
                  <a:moveTo>
                    <a:pt x="24955" y="0"/>
                  </a:moveTo>
                  <a:lnTo>
                    <a:pt x="24574" y="11049"/>
                  </a:lnTo>
                  <a:lnTo>
                    <a:pt x="6858" y="18574"/>
                  </a:lnTo>
                  <a:lnTo>
                    <a:pt x="0" y="13525"/>
                  </a:lnTo>
                  <a:lnTo>
                    <a:pt x="2495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3" name="Freeform: Shape 2903">
              <a:extLst>
                <a:ext uri="{FF2B5EF4-FFF2-40B4-BE49-F238E27FC236}">
                  <a16:creationId xmlns:a16="http://schemas.microsoft.com/office/drawing/2014/main" id="{B686982B-125A-88F9-1B9B-073DB6FD1660}"/>
                </a:ext>
              </a:extLst>
            </p:cNvPr>
            <p:cNvSpPr/>
            <p:nvPr/>
          </p:nvSpPr>
          <p:spPr>
            <a:xfrm>
              <a:off x="5589936" y="3410172"/>
              <a:ext cx="24574" cy="13525"/>
            </a:xfrm>
            <a:custGeom>
              <a:avLst/>
              <a:gdLst>
                <a:gd name="connsiteX0" fmla="*/ 18764 w 24574"/>
                <a:gd name="connsiteY0" fmla="*/ 0 h 13525"/>
                <a:gd name="connsiteX1" fmla="*/ 24575 w 24574"/>
                <a:gd name="connsiteY1" fmla="*/ 8954 h 13525"/>
                <a:gd name="connsiteX2" fmla="*/ 0 w 24574"/>
                <a:gd name="connsiteY2" fmla="*/ 13525 h 13525"/>
                <a:gd name="connsiteX3" fmla="*/ 18764 w 24574"/>
                <a:gd name="connsiteY3" fmla="*/ 0 h 13525"/>
              </a:gdLst>
              <a:ahLst/>
              <a:cxnLst>
                <a:cxn ang="0">
                  <a:pos x="connsiteX0" y="connsiteY0"/>
                </a:cxn>
                <a:cxn ang="0">
                  <a:pos x="connsiteX1" y="connsiteY1"/>
                </a:cxn>
                <a:cxn ang="0">
                  <a:pos x="connsiteX2" y="connsiteY2"/>
                </a:cxn>
                <a:cxn ang="0">
                  <a:pos x="connsiteX3" y="connsiteY3"/>
                </a:cxn>
              </a:cxnLst>
              <a:rect l="l" t="t" r="r" b="b"/>
              <a:pathLst>
                <a:path w="24574" h="13525">
                  <a:moveTo>
                    <a:pt x="18764" y="0"/>
                  </a:moveTo>
                  <a:lnTo>
                    <a:pt x="24575" y="8954"/>
                  </a:lnTo>
                  <a:lnTo>
                    <a:pt x="0" y="13525"/>
                  </a:lnTo>
                  <a:lnTo>
                    <a:pt x="1876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4" name="Freeform: Shape 2904">
              <a:extLst>
                <a:ext uri="{FF2B5EF4-FFF2-40B4-BE49-F238E27FC236}">
                  <a16:creationId xmlns:a16="http://schemas.microsoft.com/office/drawing/2014/main" id="{B8364A82-708C-C964-0A85-A5831ACD8565}"/>
                </a:ext>
              </a:extLst>
            </p:cNvPr>
            <p:cNvSpPr/>
            <p:nvPr/>
          </p:nvSpPr>
          <p:spPr>
            <a:xfrm>
              <a:off x="5557266" y="2876200"/>
              <a:ext cx="754094" cy="521589"/>
            </a:xfrm>
            <a:custGeom>
              <a:avLst/>
              <a:gdLst>
                <a:gd name="connsiteX0" fmla="*/ 754094 w 754094"/>
                <a:gd name="connsiteY0" fmla="*/ 506635 h 521589"/>
                <a:gd name="connsiteX1" fmla="*/ 749998 w 754094"/>
                <a:gd name="connsiteY1" fmla="*/ 497681 h 521589"/>
                <a:gd name="connsiteX2" fmla="*/ 752284 w 754094"/>
                <a:gd name="connsiteY2" fmla="*/ 483870 h 521589"/>
                <a:gd name="connsiteX3" fmla="*/ 718566 w 754094"/>
                <a:gd name="connsiteY3" fmla="*/ 467868 h 521589"/>
                <a:gd name="connsiteX4" fmla="*/ 689134 w 754094"/>
                <a:gd name="connsiteY4" fmla="*/ 412433 h 521589"/>
                <a:gd name="connsiteX5" fmla="*/ 641509 w 754094"/>
                <a:gd name="connsiteY5" fmla="*/ 377762 h 521589"/>
                <a:gd name="connsiteX6" fmla="*/ 609409 w 754094"/>
                <a:gd name="connsiteY6" fmla="*/ 391478 h 521589"/>
                <a:gd name="connsiteX7" fmla="*/ 572072 w 754094"/>
                <a:gd name="connsiteY7" fmla="*/ 369951 h 521589"/>
                <a:gd name="connsiteX8" fmla="*/ 576167 w 754094"/>
                <a:gd name="connsiteY8" fmla="*/ 357664 h 521589"/>
                <a:gd name="connsiteX9" fmla="*/ 534734 w 754094"/>
                <a:gd name="connsiteY9" fmla="*/ 357664 h 521589"/>
                <a:gd name="connsiteX10" fmla="*/ 534734 w 754094"/>
                <a:gd name="connsiteY10" fmla="*/ 65342 h 521589"/>
                <a:gd name="connsiteX11" fmla="*/ 534829 w 754094"/>
                <a:gd name="connsiteY11" fmla="*/ 65246 h 521589"/>
                <a:gd name="connsiteX12" fmla="*/ 509873 w 754094"/>
                <a:gd name="connsiteY12" fmla="*/ 60770 h 521589"/>
                <a:gd name="connsiteX13" fmla="*/ 497300 w 754094"/>
                <a:gd name="connsiteY13" fmla="*/ 53245 h 521589"/>
                <a:gd name="connsiteX14" fmla="*/ 456343 w 754094"/>
                <a:gd name="connsiteY14" fmla="*/ 56959 h 521589"/>
                <a:gd name="connsiteX15" fmla="*/ 439198 w 754094"/>
                <a:gd name="connsiteY15" fmla="*/ 48958 h 521589"/>
                <a:gd name="connsiteX16" fmla="*/ 412813 w 754094"/>
                <a:gd name="connsiteY16" fmla="*/ 48958 h 521589"/>
                <a:gd name="connsiteX17" fmla="*/ 394240 w 754094"/>
                <a:gd name="connsiteY17" fmla="*/ 41720 h 521589"/>
                <a:gd name="connsiteX18" fmla="*/ 366522 w 754094"/>
                <a:gd name="connsiteY18" fmla="*/ 35052 h 521589"/>
                <a:gd name="connsiteX19" fmla="*/ 348710 w 754094"/>
                <a:gd name="connsiteY19" fmla="*/ 39053 h 521589"/>
                <a:gd name="connsiteX20" fmla="*/ 338995 w 754094"/>
                <a:gd name="connsiteY20" fmla="*/ 26479 h 521589"/>
                <a:gd name="connsiteX21" fmla="*/ 332518 w 754094"/>
                <a:gd name="connsiteY21" fmla="*/ 41053 h 521589"/>
                <a:gd name="connsiteX22" fmla="*/ 304800 w 754094"/>
                <a:gd name="connsiteY22" fmla="*/ 33719 h 521589"/>
                <a:gd name="connsiteX23" fmla="*/ 309563 w 754094"/>
                <a:gd name="connsiteY23" fmla="*/ 14097 h 521589"/>
                <a:gd name="connsiteX24" fmla="*/ 263557 w 754094"/>
                <a:gd name="connsiteY24" fmla="*/ 27242 h 521589"/>
                <a:gd name="connsiteX25" fmla="*/ 255937 w 754094"/>
                <a:gd name="connsiteY25" fmla="*/ 9906 h 521589"/>
                <a:gd name="connsiteX26" fmla="*/ 244888 w 754094"/>
                <a:gd name="connsiteY26" fmla="*/ 26479 h 521589"/>
                <a:gd name="connsiteX27" fmla="*/ 239173 w 754094"/>
                <a:gd name="connsiteY27" fmla="*/ 6382 h 521589"/>
                <a:gd name="connsiteX28" fmla="*/ 228505 w 754094"/>
                <a:gd name="connsiteY28" fmla="*/ 0 h 521589"/>
                <a:gd name="connsiteX29" fmla="*/ 200787 w 754094"/>
                <a:gd name="connsiteY29" fmla="*/ 21812 h 521589"/>
                <a:gd name="connsiteX30" fmla="*/ 170212 w 754094"/>
                <a:gd name="connsiteY30" fmla="*/ 28861 h 521589"/>
                <a:gd name="connsiteX31" fmla="*/ 163163 w 754094"/>
                <a:gd name="connsiteY31" fmla="*/ 47625 h 521589"/>
                <a:gd name="connsiteX32" fmla="*/ 155543 w 754094"/>
                <a:gd name="connsiteY32" fmla="*/ 32671 h 521589"/>
                <a:gd name="connsiteX33" fmla="*/ 139732 w 754094"/>
                <a:gd name="connsiteY33" fmla="*/ 44387 h 521589"/>
                <a:gd name="connsiteX34" fmla="*/ 109347 w 754094"/>
                <a:gd name="connsiteY34" fmla="*/ 54292 h 521589"/>
                <a:gd name="connsiteX35" fmla="*/ 72962 w 754094"/>
                <a:gd name="connsiteY35" fmla="*/ 90297 h 521589"/>
                <a:gd name="connsiteX36" fmla="*/ 35338 w 754094"/>
                <a:gd name="connsiteY36" fmla="*/ 91916 h 521589"/>
                <a:gd name="connsiteX37" fmla="*/ 23146 w 754094"/>
                <a:gd name="connsiteY37" fmla="*/ 109061 h 521589"/>
                <a:gd name="connsiteX38" fmla="*/ 76962 w 754094"/>
                <a:gd name="connsiteY38" fmla="*/ 132779 h 521589"/>
                <a:gd name="connsiteX39" fmla="*/ 84582 w 754094"/>
                <a:gd name="connsiteY39" fmla="*/ 148876 h 521589"/>
                <a:gd name="connsiteX40" fmla="*/ 128778 w 754094"/>
                <a:gd name="connsiteY40" fmla="*/ 153162 h 521589"/>
                <a:gd name="connsiteX41" fmla="*/ 153924 w 754094"/>
                <a:gd name="connsiteY41" fmla="*/ 172021 h 521589"/>
                <a:gd name="connsiteX42" fmla="*/ 126778 w 754094"/>
                <a:gd name="connsiteY42" fmla="*/ 170402 h 521589"/>
                <a:gd name="connsiteX43" fmla="*/ 113347 w 754094"/>
                <a:gd name="connsiteY43" fmla="*/ 160115 h 521589"/>
                <a:gd name="connsiteX44" fmla="*/ 117634 w 754094"/>
                <a:gd name="connsiteY44" fmla="*/ 184690 h 521589"/>
                <a:gd name="connsiteX45" fmla="*/ 75629 w 754094"/>
                <a:gd name="connsiteY45" fmla="*/ 178975 h 521589"/>
                <a:gd name="connsiteX46" fmla="*/ 86868 w 754094"/>
                <a:gd name="connsiteY46" fmla="*/ 166592 h 521589"/>
                <a:gd name="connsiteX47" fmla="*/ 67437 w 754094"/>
                <a:gd name="connsiteY47" fmla="*/ 163544 h 521589"/>
                <a:gd name="connsiteX48" fmla="*/ 19431 w 754094"/>
                <a:gd name="connsiteY48" fmla="*/ 181166 h 521589"/>
                <a:gd name="connsiteX49" fmla="*/ 0 w 754094"/>
                <a:gd name="connsiteY49" fmla="*/ 198596 h 521589"/>
                <a:gd name="connsiteX50" fmla="*/ 95 w 754094"/>
                <a:gd name="connsiteY50" fmla="*/ 198596 h 521589"/>
                <a:gd name="connsiteX51" fmla="*/ 37052 w 754094"/>
                <a:gd name="connsiteY51" fmla="*/ 202121 h 521589"/>
                <a:gd name="connsiteX52" fmla="*/ 28765 w 754094"/>
                <a:gd name="connsiteY52" fmla="*/ 217170 h 521589"/>
                <a:gd name="connsiteX53" fmla="*/ 37338 w 754094"/>
                <a:gd name="connsiteY53" fmla="*/ 231077 h 521589"/>
                <a:gd name="connsiteX54" fmla="*/ 95440 w 754094"/>
                <a:gd name="connsiteY54" fmla="*/ 236506 h 521589"/>
                <a:gd name="connsiteX55" fmla="*/ 98393 w 754094"/>
                <a:gd name="connsiteY55" fmla="*/ 212979 h 521589"/>
                <a:gd name="connsiteX56" fmla="*/ 112300 w 754094"/>
                <a:gd name="connsiteY56" fmla="*/ 234029 h 521589"/>
                <a:gd name="connsiteX57" fmla="*/ 139065 w 754094"/>
                <a:gd name="connsiteY57" fmla="*/ 219266 h 521589"/>
                <a:gd name="connsiteX58" fmla="*/ 135731 w 754094"/>
                <a:gd name="connsiteY58" fmla="*/ 264890 h 521589"/>
                <a:gd name="connsiteX59" fmla="*/ 83439 w 754094"/>
                <a:gd name="connsiteY59" fmla="*/ 291084 h 521589"/>
                <a:gd name="connsiteX60" fmla="*/ 84868 w 754094"/>
                <a:gd name="connsiteY60" fmla="*/ 274606 h 521589"/>
                <a:gd name="connsiteX61" fmla="*/ 71056 w 754094"/>
                <a:gd name="connsiteY61" fmla="*/ 274606 h 521589"/>
                <a:gd name="connsiteX62" fmla="*/ 54007 w 754094"/>
                <a:gd name="connsiteY62" fmla="*/ 307848 h 521589"/>
                <a:gd name="connsiteX63" fmla="*/ 39624 w 754094"/>
                <a:gd name="connsiteY63" fmla="*/ 314611 h 521589"/>
                <a:gd name="connsiteX64" fmla="*/ 35719 w 754094"/>
                <a:gd name="connsiteY64" fmla="*/ 327279 h 521589"/>
                <a:gd name="connsiteX65" fmla="*/ 58769 w 754094"/>
                <a:gd name="connsiteY65" fmla="*/ 332137 h 521589"/>
                <a:gd name="connsiteX66" fmla="*/ 56483 w 754094"/>
                <a:gd name="connsiteY66" fmla="*/ 348234 h 521589"/>
                <a:gd name="connsiteX67" fmla="*/ 88202 w 754094"/>
                <a:gd name="connsiteY67" fmla="*/ 349282 h 521589"/>
                <a:gd name="connsiteX68" fmla="*/ 85915 w 754094"/>
                <a:gd name="connsiteY68" fmla="*/ 383858 h 521589"/>
                <a:gd name="connsiteX69" fmla="*/ 121253 w 754094"/>
                <a:gd name="connsiteY69" fmla="*/ 355759 h 521589"/>
                <a:gd name="connsiteX70" fmla="*/ 124682 w 754094"/>
                <a:gd name="connsiteY70" fmla="*/ 383477 h 521589"/>
                <a:gd name="connsiteX71" fmla="*/ 113919 w 754094"/>
                <a:gd name="connsiteY71" fmla="*/ 397097 h 521589"/>
                <a:gd name="connsiteX72" fmla="*/ 127445 w 754094"/>
                <a:gd name="connsiteY72" fmla="*/ 403098 h 521589"/>
                <a:gd name="connsiteX73" fmla="*/ 120587 w 754094"/>
                <a:gd name="connsiteY73" fmla="*/ 427958 h 521589"/>
                <a:gd name="connsiteX74" fmla="*/ 151924 w 754094"/>
                <a:gd name="connsiteY74" fmla="*/ 404050 h 521589"/>
                <a:gd name="connsiteX75" fmla="*/ 180689 w 754094"/>
                <a:gd name="connsiteY75" fmla="*/ 422434 h 521589"/>
                <a:gd name="connsiteX76" fmla="*/ 187262 w 754094"/>
                <a:gd name="connsiteY76" fmla="*/ 402241 h 521589"/>
                <a:gd name="connsiteX77" fmla="*/ 194500 w 754094"/>
                <a:gd name="connsiteY77" fmla="*/ 416909 h 521589"/>
                <a:gd name="connsiteX78" fmla="*/ 215646 w 754094"/>
                <a:gd name="connsiteY78" fmla="*/ 409575 h 521589"/>
                <a:gd name="connsiteX79" fmla="*/ 205740 w 754094"/>
                <a:gd name="connsiteY79" fmla="*/ 431102 h 521589"/>
                <a:gd name="connsiteX80" fmla="*/ 210026 w 754094"/>
                <a:gd name="connsiteY80" fmla="*/ 447199 h 521589"/>
                <a:gd name="connsiteX81" fmla="*/ 190786 w 754094"/>
                <a:gd name="connsiteY81" fmla="*/ 466820 h 521589"/>
                <a:gd name="connsiteX82" fmla="*/ 176022 w 754094"/>
                <a:gd name="connsiteY82" fmla="*/ 462534 h 521589"/>
                <a:gd name="connsiteX83" fmla="*/ 152019 w 754094"/>
                <a:gd name="connsiteY83" fmla="*/ 476536 h 521589"/>
                <a:gd name="connsiteX84" fmla="*/ 152400 w 754094"/>
                <a:gd name="connsiteY84" fmla="*/ 488918 h 521589"/>
                <a:gd name="connsiteX85" fmla="*/ 123063 w 754094"/>
                <a:gd name="connsiteY85" fmla="*/ 487775 h 521589"/>
                <a:gd name="connsiteX86" fmla="*/ 92773 w 754094"/>
                <a:gd name="connsiteY86" fmla="*/ 512826 h 521589"/>
                <a:gd name="connsiteX87" fmla="*/ 92488 w 754094"/>
                <a:gd name="connsiteY87" fmla="*/ 521589 h 521589"/>
                <a:gd name="connsiteX88" fmla="*/ 119539 w 754094"/>
                <a:gd name="connsiteY88" fmla="*/ 513302 h 521589"/>
                <a:gd name="connsiteX89" fmla="*/ 127445 w 754094"/>
                <a:gd name="connsiteY89" fmla="*/ 499110 h 521589"/>
                <a:gd name="connsiteX90" fmla="*/ 133731 w 754094"/>
                <a:gd name="connsiteY90" fmla="*/ 506444 h 521589"/>
                <a:gd name="connsiteX91" fmla="*/ 159448 w 754094"/>
                <a:gd name="connsiteY91" fmla="*/ 497491 h 521589"/>
                <a:gd name="connsiteX92" fmla="*/ 169069 w 754094"/>
                <a:gd name="connsiteY92" fmla="*/ 502349 h 521589"/>
                <a:gd name="connsiteX93" fmla="*/ 172974 w 754094"/>
                <a:gd name="connsiteY93" fmla="*/ 487299 h 521589"/>
                <a:gd name="connsiteX94" fmla="*/ 189547 w 754094"/>
                <a:gd name="connsiteY94" fmla="*/ 488537 h 521589"/>
                <a:gd name="connsiteX95" fmla="*/ 209360 w 754094"/>
                <a:gd name="connsiteY95" fmla="*/ 465106 h 521589"/>
                <a:gd name="connsiteX96" fmla="*/ 224790 w 754094"/>
                <a:gd name="connsiteY96" fmla="*/ 468059 h 521589"/>
                <a:gd name="connsiteX97" fmla="*/ 226886 w 754094"/>
                <a:gd name="connsiteY97" fmla="*/ 452247 h 521589"/>
                <a:gd name="connsiteX98" fmla="*/ 251650 w 754094"/>
                <a:gd name="connsiteY98" fmla="*/ 440817 h 521589"/>
                <a:gd name="connsiteX99" fmla="*/ 255746 w 754094"/>
                <a:gd name="connsiteY99" fmla="*/ 426530 h 521589"/>
                <a:gd name="connsiteX100" fmla="*/ 265843 w 754094"/>
                <a:gd name="connsiteY100" fmla="*/ 433007 h 521589"/>
                <a:gd name="connsiteX101" fmla="*/ 294513 w 754094"/>
                <a:gd name="connsiteY101" fmla="*/ 407099 h 521589"/>
                <a:gd name="connsiteX102" fmla="*/ 303181 w 754094"/>
                <a:gd name="connsiteY102" fmla="*/ 380619 h 521589"/>
                <a:gd name="connsiteX103" fmla="*/ 294513 w 754094"/>
                <a:gd name="connsiteY103" fmla="*/ 354902 h 521589"/>
                <a:gd name="connsiteX104" fmla="*/ 314039 w 754094"/>
                <a:gd name="connsiteY104" fmla="*/ 365855 h 521589"/>
                <a:gd name="connsiteX105" fmla="*/ 345567 w 754094"/>
                <a:gd name="connsiteY105" fmla="*/ 338138 h 521589"/>
                <a:gd name="connsiteX106" fmla="*/ 320802 w 754094"/>
                <a:gd name="connsiteY106" fmla="*/ 387096 h 521589"/>
                <a:gd name="connsiteX107" fmla="*/ 321850 w 754094"/>
                <a:gd name="connsiteY107" fmla="*/ 409289 h 521589"/>
                <a:gd name="connsiteX108" fmla="*/ 350139 w 754094"/>
                <a:gd name="connsiteY108" fmla="*/ 382715 h 521589"/>
                <a:gd name="connsiteX109" fmla="*/ 361569 w 754094"/>
                <a:gd name="connsiteY109" fmla="*/ 388049 h 521589"/>
                <a:gd name="connsiteX110" fmla="*/ 382429 w 754094"/>
                <a:gd name="connsiteY110" fmla="*/ 353092 h 521589"/>
                <a:gd name="connsiteX111" fmla="*/ 401860 w 754094"/>
                <a:gd name="connsiteY111" fmla="*/ 336899 h 521589"/>
                <a:gd name="connsiteX112" fmla="*/ 423005 w 754094"/>
                <a:gd name="connsiteY112" fmla="*/ 355759 h 521589"/>
                <a:gd name="connsiteX113" fmla="*/ 439960 w 754094"/>
                <a:gd name="connsiteY113" fmla="*/ 345662 h 521589"/>
                <a:gd name="connsiteX114" fmla="*/ 437197 w 754094"/>
                <a:gd name="connsiteY114" fmla="*/ 363284 h 521589"/>
                <a:gd name="connsiteX115" fmla="*/ 449771 w 754094"/>
                <a:gd name="connsiteY115" fmla="*/ 366998 h 521589"/>
                <a:gd name="connsiteX116" fmla="*/ 465201 w 754094"/>
                <a:gd name="connsiteY116" fmla="*/ 354140 h 521589"/>
                <a:gd name="connsiteX117" fmla="*/ 467296 w 754094"/>
                <a:gd name="connsiteY117" fmla="*/ 375571 h 521589"/>
                <a:gd name="connsiteX118" fmla="*/ 513207 w 754094"/>
                <a:gd name="connsiteY118" fmla="*/ 379857 h 521589"/>
                <a:gd name="connsiteX119" fmla="*/ 526637 w 754094"/>
                <a:gd name="connsiteY119" fmla="*/ 370046 h 521589"/>
                <a:gd name="connsiteX120" fmla="*/ 527685 w 754094"/>
                <a:gd name="connsiteY120" fmla="*/ 382048 h 521589"/>
                <a:gd name="connsiteX121" fmla="*/ 547211 w 754094"/>
                <a:gd name="connsiteY121" fmla="*/ 386620 h 521589"/>
                <a:gd name="connsiteX122" fmla="*/ 564642 w 754094"/>
                <a:gd name="connsiteY122" fmla="*/ 377000 h 521589"/>
                <a:gd name="connsiteX123" fmla="*/ 601980 w 754094"/>
                <a:gd name="connsiteY123" fmla="*/ 416909 h 521589"/>
                <a:gd name="connsiteX124" fmla="*/ 630364 w 754094"/>
                <a:gd name="connsiteY124" fmla="*/ 422910 h 521589"/>
                <a:gd name="connsiteX125" fmla="*/ 613505 w 754094"/>
                <a:gd name="connsiteY125" fmla="*/ 401193 h 521589"/>
                <a:gd name="connsiteX126" fmla="*/ 631889 w 754094"/>
                <a:gd name="connsiteY126" fmla="*/ 401193 h 521589"/>
                <a:gd name="connsiteX127" fmla="*/ 641509 w 754094"/>
                <a:gd name="connsiteY127" fmla="*/ 410528 h 521589"/>
                <a:gd name="connsiteX128" fmla="*/ 638270 w 754094"/>
                <a:gd name="connsiteY128" fmla="*/ 424339 h 521589"/>
                <a:gd name="connsiteX129" fmla="*/ 648367 w 754094"/>
                <a:gd name="connsiteY129" fmla="*/ 419291 h 521589"/>
                <a:gd name="connsiteX130" fmla="*/ 656654 w 754094"/>
                <a:gd name="connsiteY130" fmla="*/ 397097 h 521589"/>
                <a:gd name="connsiteX131" fmla="*/ 660749 w 754094"/>
                <a:gd name="connsiteY131" fmla="*/ 425101 h 521589"/>
                <a:gd name="connsiteX132" fmla="*/ 678275 w 754094"/>
                <a:gd name="connsiteY132" fmla="*/ 419195 h 521589"/>
                <a:gd name="connsiteX133" fmla="*/ 673798 w 754094"/>
                <a:gd name="connsiteY133" fmla="*/ 432625 h 521589"/>
                <a:gd name="connsiteX134" fmla="*/ 691134 w 754094"/>
                <a:gd name="connsiteY134" fmla="*/ 437579 h 521589"/>
                <a:gd name="connsiteX135" fmla="*/ 682561 w 754094"/>
                <a:gd name="connsiteY135" fmla="*/ 455962 h 521589"/>
                <a:gd name="connsiteX136" fmla="*/ 697706 w 754094"/>
                <a:gd name="connsiteY136" fmla="*/ 458629 h 521589"/>
                <a:gd name="connsiteX137" fmla="*/ 702373 w 754094"/>
                <a:gd name="connsiteY137" fmla="*/ 471107 h 521589"/>
                <a:gd name="connsiteX138" fmla="*/ 723043 w 754094"/>
                <a:gd name="connsiteY138" fmla="*/ 480060 h 521589"/>
                <a:gd name="connsiteX139" fmla="*/ 713423 w 754094"/>
                <a:gd name="connsiteY139" fmla="*/ 492442 h 521589"/>
                <a:gd name="connsiteX140" fmla="*/ 732758 w 754094"/>
                <a:gd name="connsiteY140" fmla="*/ 485775 h 521589"/>
                <a:gd name="connsiteX141" fmla="*/ 738854 w 754094"/>
                <a:gd name="connsiteY141" fmla="*/ 520637 h 521589"/>
                <a:gd name="connsiteX142" fmla="*/ 748951 w 754094"/>
                <a:gd name="connsiteY142" fmla="*/ 513398 h 521589"/>
                <a:gd name="connsiteX143" fmla="*/ 748760 w 754094"/>
                <a:gd name="connsiteY143" fmla="*/ 513779 h 521589"/>
                <a:gd name="connsiteX144" fmla="*/ 748951 w 754094"/>
                <a:gd name="connsiteY144" fmla="*/ 513588 h 521589"/>
                <a:gd name="connsiteX145" fmla="*/ 754094 w 754094"/>
                <a:gd name="connsiteY145" fmla="*/ 506635 h 52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754094" h="521589">
                  <a:moveTo>
                    <a:pt x="754094" y="506635"/>
                  </a:moveTo>
                  <a:lnTo>
                    <a:pt x="749998" y="497681"/>
                  </a:lnTo>
                  <a:lnTo>
                    <a:pt x="752284" y="483870"/>
                  </a:lnTo>
                  <a:lnTo>
                    <a:pt x="718566" y="467868"/>
                  </a:lnTo>
                  <a:lnTo>
                    <a:pt x="689134" y="412433"/>
                  </a:lnTo>
                  <a:lnTo>
                    <a:pt x="641509" y="377762"/>
                  </a:lnTo>
                  <a:lnTo>
                    <a:pt x="609409" y="391478"/>
                  </a:lnTo>
                  <a:lnTo>
                    <a:pt x="572072" y="369951"/>
                  </a:lnTo>
                  <a:lnTo>
                    <a:pt x="576167" y="357664"/>
                  </a:lnTo>
                  <a:lnTo>
                    <a:pt x="534734" y="357664"/>
                  </a:lnTo>
                  <a:lnTo>
                    <a:pt x="534734" y="65342"/>
                  </a:lnTo>
                  <a:lnTo>
                    <a:pt x="534829" y="65246"/>
                  </a:lnTo>
                  <a:lnTo>
                    <a:pt x="509873" y="60770"/>
                  </a:lnTo>
                  <a:lnTo>
                    <a:pt x="497300" y="53245"/>
                  </a:lnTo>
                  <a:lnTo>
                    <a:pt x="456343" y="56959"/>
                  </a:lnTo>
                  <a:lnTo>
                    <a:pt x="439198" y="48958"/>
                  </a:lnTo>
                  <a:lnTo>
                    <a:pt x="412813" y="48958"/>
                  </a:lnTo>
                  <a:lnTo>
                    <a:pt x="394240" y="41720"/>
                  </a:lnTo>
                  <a:lnTo>
                    <a:pt x="366522" y="35052"/>
                  </a:lnTo>
                  <a:lnTo>
                    <a:pt x="348710" y="39053"/>
                  </a:lnTo>
                  <a:lnTo>
                    <a:pt x="338995" y="26479"/>
                  </a:lnTo>
                  <a:lnTo>
                    <a:pt x="332518" y="41053"/>
                  </a:lnTo>
                  <a:lnTo>
                    <a:pt x="304800" y="33719"/>
                  </a:lnTo>
                  <a:lnTo>
                    <a:pt x="309563" y="14097"/>
                  </a:lnTo>
                  <a:lnTo>
                    <a:pt x="263557" y="27242"/>
                  </a:lnTo>
                  <a:lnTo>
                    <a:pt x="255937" y="9906"/>
                  </a:lnTo>
                  <a:lnTo>
                    <a:pt x="244888" y="26479"/>
                  </a:lnTo>
                  <a:lnTo>
                    <a:pt x="239173" y="6382"/>
                  </a:lnTo>
                  <a:lnTo>
                    <a:pt x="228505" y="0"/>
                  </a:lnTo>
                  <a:lnTo>
                    <a:pt x="200787" y="21812"/>
                  </a:lnTo>
                  <a:lnTo>
                    <a:pt x="170212" y="28861"/>
                  </a:lnTo>
                  <a:lnTo>
                    <a:pt x="163163" y="47625"/>
                  </a:lnTo>
                  <a:lnTo>
                    <a:pt x="155543" y="32671"/>
                  </a:lnTo>
                  <a:lnTo>
                    <a:pt x="139732" y="44387"/>
                  </a:lnTo>
                  <a:lnTo>
                    <a:pt x="109347" y="54292"/>
                  </a:lnTo>
                  <a:lnTo>
                    <a:pt x="72962" y="90297"/>
                  </a:lnTo>
                  <a:lnTo>
                    <a:pt x="35338" y="91916"/>
                  </a:lnTo>
                  <a:lnTo>
                    <a:pt x="23146" y="109061"/>
                  </a:lnTo>
                  <a:lnTo>
                    <a:pt x="76962" y="132779"/>
                  </a:lnTo>
                  <a:lnTo>
                    <a:pt x="84582" y="148876"/>
                  </a:lnTo>
                  <a:lnTo>
                    <a:pt x="128778" y="153162"/>
                  </a:lnTo>
                  <a:lnTo>
                    <a:pt x="153924" y="172021"/>
                  </a:lnTo>
                  <a:lnTo>
                    <a:pt x="126778" y="170402"/>
                  </a:lnTo>
                  <a:lnTo>
                    <a:pt x="113347" y="160115"/>
                  </a:lnTo>
                  <a:lnTo>
                    <a:pt x="117634" y="184690"/>
                  </a:lnTo>
                  <a:lnTo>
                    <a:pt x="75629" y="178975"/>
                  </a:lnTo>
                  <a:lnTo>
                    <a:pt x="86868" y="166592"/>
                  </a:lnTo>
                  <a:lnTo>
                    <a:pt x="67437" y="163544"/>
                  </a:lnTo>
                  <a:lnTo>
                    <a:pt x="19431" y="181166"/>
                  </a:lnTo>
                  <a:lnTo>
                    <a:pt x="0" y="198596"/>
                  </a:lnTo>
                  <a:lnTo>
                    <a:pt x="95" y="198596"/>
                  </a:lnTo>
                  <a:lnTo>
                    <a:pt x="37052" y="202121"/>
                  </a:lnTo>
                  <a:lnTo>
                    <a:pt x="28765" y="217170"/>
                  </a:lnTo>
                  <a:lnTo>
                    <a:pt x="37338" y="231077"/>
                  </a:lnTo>
                  <a:lnTo>
                    <a:pt x="95440" y="236506"/>
                  </a:lnTo>
                  <a:lnTo>
                    <a:pt x="98393" y="212979"/>
                  </a:lnTo>
                  <a:lnTo>
                    <a:pt x="112300" y="234029"/>
                  </a:lnTo>
                  <a:lnTo>
                    <a:pt x="139065" y="219266"/>
                  </a:lnTo>
                  <a:lnTo>
                    <a:pt x="135731" y="264890"/>
                  </a:lnTo>
                  <a:lnTo>
                    <a:pt x="83439" y="291084"/>
                  </a:lnTo>
                  <a:lnTo>
                    <a:pt x="84868" y="274606"/>
                  </a:lnTo>
                  <a:lnTo>
                    <a:pt x="71056" y="274606"/>
                  </a:lnTo>
                  <a:lnTo>
                    <a:pt x="54007" y="307848"/>
                  </a:lnTo>
                  <a:lnTo>
                    <a:pt x="39624" y="314611"/>
                  </a:lnTo>
                  <a:lnTo>
                    <a:pt x="35719" y="327279"/>
                  </a:lnTo>
                  <a:lnTo>
                    <a:pt x="58769" y="332137"/>
                  </a:lnTo>
                  <a:lnTo>
                    <a:pt x="56483" y="348234"/>
                  </a:lnTo>
                  <a:lnTo>
                    <a:pt x="88202" y="349282"/>
                  </a:lnTo>
                  <a:lnTo>
                    <a:pt x="85915" y="383858"/>
                  </a:lnTo>
                  <a:lnTo>
                    <a:pt x="121253" y="355759"/>
                  </a:lnTo>
                  <a:lnTo>
                    <a:pt x="124682" y="383477"/>
                  </a:lnTo>
                  <a:lnTo>
                    <a:pt x="113919" y="397097"/>
                  </a:lnTo>
                  <a:lnTo>
                    <a:pt x="127445" y="403098"/>
                  </a:lnTo>
                  <a:lnTo>
                    <a:pt x="120587" y="427958"/>
                  </a:lnTo>
                  <a:lnTo>
                    <a:pt x="151924" y="404050"/>
                  </a:lnTo>
                  <a:lnTo>
                    <a:pt x="180689" y="422434"/>
                  </a:lnTo>
                  <a:lnTo>
                    <a:pt x="187262" y="402241"/>
                  </a:lnTo>
                  <a:lnTo>
                    <a:pt x="194500" y="416909"/>
                  </a:lnTo>
                  <a:lnTo>
                    <a:pt x="215646" y="409575"/>
                  </a:lnTo>
                  <a:lnTo>
                    <a:pt x="205740" y="431102"/>
                  </a:lnTo>
                  <a:lnTo>
                    <a:pt x="210026" y="447199"/>
                  </a:lnTo>
                  <a:lnTo>
                    <a:pt x="190786" y="466820"/>
                  </a:lnTo>
                  <a:lnTo>
                    <a:pt x="176022" y="462534"/>
                  </a:lnTo>
                  <a:lnTo>
                    <a:pt x="152019" y="476536"/>
                  </a:lnTo>
                  <a:lnTo>
                    <a:pt x="152400" y="488918"/>
                  </a:lnTo>
                  <a:lnTo>
                    <a:pt x="123063" y="487775"/>
                  </a:lnTo>
                  <a:lnTo>
                    <a:pt x="92773" y="512826"/>
                  </a:lnTo>
                  <a:lnTo>
                    <a:pt x="92488" y="521589"/>
                  </a:lnTo>
                  <a:lnTo>
                    <a:pt x="119539" y="513302"/>
                  </a:lnTo>
                  <a:lnTo>
                    <a:pt x="127445" y="499110"/>
                  </a:lnTo>
                  <a:lnTo>
                    <a:pt x="133731" y="506444"/>
                  </a:lnTo>
                  <a:lnTo>
                    <a:pt x="159448" y="497491"/>
                  </a:lnTo>
                  <a:lnTo>
                    <a:pt x="169069" y="502349"/>
                  </a:lnTo>
                  <a:lnTo>
                    <a:pt x="172974" y="487299"/>
                  </a:lnTo>
                  <a:lnTo>
                    <a:pt x="189547" y="488537"/>
                  </a:lnTo>
                  <a:lnTo>
                    <a:pt x="209360" y="465106"/>
                  </a:lnTo>
                  <a:lnTo>
                    <a:pt x="224790" y="468059"/>
                  </a:lnTo>
                  <a:lnTo>
                    <a:pt x="226886" y="452247"/>
                  </a:lnTo>
                  <a:lnTo>
                    <a:pt x="251650" y="440817"/>
                  </a:lnTo>
                  <a:lnTo>
                    <a:pt x="255746" y="426530"/>
                  </a:lnTo>
                  <a:lnTo>
                    <a:pt x="265843" y="433007"/>
                  </a:lnTo>
                  <a:lnTo>
                    <a:pt x="294513" y="407099"/>
                  </a:lnTo>
                  <a:lnTo>
                    <a:pt x="303181" y="380619"/>
                  </a:lnTo>
                  <a:lnTo>
                    <a:pt x="294513" y="354902"/>
                  </a:lnTo>
                  <a:lnTo>
                    <a:pt x="314039" y="365855"/>
                  </a:lnTo>
                  <a:lnTo>
                    <a:pt x="345567" y="338138"/>
                  </a:lnTo>
                  <a:lnTo>
                    <a:pt x="320802" y="387096"/>
                  </a:lnTo>
                  <a:lnTo>
                    <a:pt x="321850" y="409289"/>
                  </a:lnTo>
                  <a:lnTo>
                    <a:pt x="350139" y="382715"/>
                  </a:lnTo>
                  <a:lnTo>
                    <a:pt x="361569" y="388049"/>
                  </a:lnTo>
                  <a:lnTo>
                    <a:pt x="382429" y="353092"/>
                  </a:lnTo>
                  <a:lnTo>
                    <a:pt x="401860" y="336899"/>
                  </a:lnTo>
                  <a:lnTo>
                    <a:pt x="423005" y="355759"/>
                  </a:lnTo>
                  <a:lnTo>
                    <a:pt x="439960" y="345662"/>
                  </a:lnTo>
                  <a:lnTo>
                    <a:pt x="437197" y="363284"/>
                  </a:lnTo>
                  <a:lnTo>
                    <a:pt x="449771" y="366998"/>
                  </a:lnTo>
                  <a:lnTo>
                    <a:pt x="465201" y="354140"/>
                  </a:lnTo>
                  <a:lnTo>
                    <a:pt x="467296" y="375571"/>
                  </a:lnTo>
                  <a:lnTo>
                    <a:pt x="513207" y="379857"/>
                  </a:lnTo>
                  <a:lnTo>
                    <a:pt x="526637" y="370046"/>
                  </a:lnTo>
                  <a:lnTo>
                    <a:pt x="527685" y="382048"/>
                  </a:lnTo>
                  <a:lnTo>
                    <a:pt x="547211" y="386620"/>
                  </a:lnTo>
                  <a:lnTo>
                    <a:pt x="564642" y="377000"/>
                  </a:lnTo>
                  <a:lnTo>
                    <a:pt x="601980" y="416909"/>
                  </a:lnTo>
                  <a:lnTo>
                    <a:pt x="630364" y="422910"/>
                  </a:lnTo>
                  <a:lnTo>
                    <a:pt x="613505" y="401193"/>
                  </a:lnTo>
                  <a:lnTo>
                    <a:pt x="631889" y="401193"/>
                  </a:lnTo>
                  <a:lnTo>
                    <a:pt x="641509" y="410528"/>
                  </a:lnTo>
                  <a:lnTo>
                    <a:pt x="638270" y="424339"/>
                  </a:lnTo>
                  <a:lnTo>
                    <a:pt x="648367" y="419291"/>
                  </a:lnTo>
                  <a:lnTo>
                    <a:pt x="656654" y="397097"/>
                  </a:lnTo>
                  <a:lnTo>
                    <a:pt x="660749" y="425101"/>
                  </a:lnTo>
                  <a:lnTo>
                    <a:pt x="678275" y="419195"/>
                  </a:lnTo>
                  <a:lnTo>
                    <a:pt x="673798" y="432625"/>
                  </a:lnTo>
                  <a:lnTo>
                    <a:pt x="691134" y="437579"/>
                  </a:lnTo>
                  <a:lnTo>
                    <a:pt x="682561" y="455962"/>
                  </a:lnTo>
                  <a:lnTo>
                    <a:pt x="697706" y="458629"/>
                  </a:lnTo>
                  <a:lnTo>
                    <a:pt x="702373" y="471107"/>
                  </a:lnTo>
                  <a:lnTo>
                    <a:pt x="723043" y="480060"/>
                  </a:lnTo>
                  <a:lnTo>
                    <a:pt x="713423" y="492442"/>
                  </a:lnTo>
                  <a:lnTo>
                    <a:pt x="732758" y="485775"/>
                  </a:lnTo>
                  <a:lnTo>
                    <a:pt x="738854" y="520637"/>
                  </a:lnTo>
                  <a:lnTo>
                    <a:pt x="748951" y="513398"/>
                  </a:lnTo>
                  <a:lnTo>
                    <a:pt x="748760" y="513779"/>
                  </a:lnTo>
                  <a:lnTo>
                    <a:pt x="748951" y="513588"/>
                  </a:lnTo>
                  <a:lnTo>
                    <a:pt x="754094" y="50663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5" name="Freeform: Shape 2905">
              <a:extLst>
                <a:ext uri="{FF2B5EF4-FFF2-40B4-BE49-F238E27FC236}">
                  <a16:creationId xmlns:a16="http://schemas.microsoft.com/office/drawing/2014/main" id="{691B4CCE-D10D-37F4-DE26-0F6BB1405AB4}"/>
                </a:ext>
              </a:extLst>
            </p:cNvPr>
            <p:cNvSpPr/>
            <p:nvPr/>
          </p:nvSpPr>
          <p:spPr>
            <a:xfrm>
              <a:off x="7553038" y="4239037"/>
              <a:ext cx="32956" cy="12191"/>
            </a:xfrm>
            <a:custGeom>
              <a:avLst/>
              <a:gdLst>
                <a:gd name="connsiteX0" fmla="*/ 0 w 32956"/>
                <a:gd name="connsiteY0" fmla="*/ 2667 h 12191"/>
                <a:gd name="connsiteX1" fmla="*/ 0 w 32956"/>
                <a:gd name="connsiteY1" fmla="*/ 2667 h 12191"/>
                <a:gd name="connsiteX2" fmla="*/ 3906 w 32956"/>
                <a:gd name="connsiteY2" fmla="*/ 0 h 12191"/>
                <a:gd name="connsiteX3" fmla="*/ 32957 w 32956"/>
                <a:gd name="connsiteY3" fmla="*/ 5715 h 12191"/>
                <a:gd name="connsiteX4" fmla="*/ 21146 w 32956"/>
                <a:gd name="connsiteY4" fmla="*/ 12192 h 12191"/>
                <a:gd name="connsiteX5" fmla="*/ 0 w 32956"/>
                <a:gd name="connsiteY5" fmla="*/ 2667 h 1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56" h="12191">
                  <a:moveTo>
                    <a:pt x="0" y="2667"/>
                  </a:moveTo>
                  <a:lnTo>
                    <a:pt x="0" y="2667"/>
                  </a:lnTo>
                  <a:lnTo>
                    <a:pt x="3906" y="0"/>
                  </a:lnTo>
                  <a:lnTo>
                    <a:pt x="32957" y="5715"/>
                  </a:lnTo>
                  <a:lnTo>
                    <a:pt x="21146" y="12192"/>
                  </a:lnTo>
                  <a:lnTo>
                    <a:pt x="0" y="26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6" name="Freeform: Shape 2906">
              <a:extLst>
                <a:ext uri="{FF2B5EF4-FFF2-40B4-BE49-F238E27FC236}">
                  <a16:creationId xmlns:a16="http://schemas.microsoft.com/office/drawing/2014/main" id="{5837CD79-20B7-236B-E8A0-3779572484E1}"/>
                </a:ext>
              </a:extLst>
            </p:cNvPr>
            <p:cNvSpPr/>
            <p:nvPr/>
          </p:nvSpPr>
          <p:spPr>
            <a:xfrm>
              <a:off x="7242428" y="4419060"/>
              <a:ext cx="115157" cy="47244"/>
            </a:xfrm>
            <a:custGeom>
              <a:avLst/>
              <a:gdLst>
                <a:gd name="connsiteX0" fmla="*/ 476 w 115157"/>
                <a:gd name="connsiteY0" fmla="*/ 2762 h 47244"/>
                <a:gd name="connsiteX1" fmla="*/ 0 w 115157"/>
                <a:gd name="connsiteY1" fmla="*/ 10478 h 47244"/>
                <a:gd name="connsiteX2" fmla="*/ 5144 w 115157"/>
                <a:gd name="connsiteY2" fmla="*/ 15430 h 47244"/>
                <a:gd name="connsiteX3" fmla="*/ 2096 w 115157"/>
                <a:gd name="connsiteY3" fmla="*/ 21908 h 47244"/>
                <a:gd name="connsiteX4" fmla="*/ 858 w 115157"/>
                <a:gd name="connsiteY4" fmla="*/ 31337 h 47244"/>
                <a:gd name="connsiteX5" fmla="*/ 15050 w 115157"/>
                <a:gd name="connsiteY5" fmla="*/ 25432 h 47244"/>
                <a:gd name="connsiteX6" fmla="*/ 34195 w 115157"/>
                <a:gd name="connsiteY6" fmla="*/ 39910 h 47244"/>
                <a:gd name="connsiteX7" fmla="*/ 37529 w 115157"/>
                <a:gd name="connsiteY7" fmla="*/ 34004 h 47244"/>
                <a:gd name="connsiteX8" fmla="*/ 39814 w 115157"/>
                <a:gd name="connsiteY8" fmla="*/ 46863 h 47244"/>
                <a:gd name="connsiteX9" fmla="*/ 49721 w 115157"/>
                <a:gd name="connsiteY9" fmla="*/ 46863 h 47244"/>
                <a:gd name="connsiteX10" fmla="*/ 49054 w 115157"/>
                <a:gd name="connsiteY10" fmla="*/ 27718 h 47244"/>
                <a:gd name="connsiteX11" fmla="*/ 66294 w 115157"/>
                <a:gd name="connsiteY11" fmla="*/ 14478 h 47244"/>
                <a:gd name="connsiteX12" fmla="*/ 67533 w 115157"/>
                <a:gd name="connsiteY12" fmla="*/ 13526 h 47244"/>
                <a:gd name="connsiteX13" fmla="*/ 95631 w 115157"/>
                <a:gd name="connsiteY13" fmla="*/ 21146 h 47244"/>
                <a:gd name="connsiteX14" fmla="*/ 100299 w 115157"/>
                <a:gd name="connsiteY14" fmla="*/ 47244 h 47244"/>
                <a:gd name="connsiteX15" fmla="*/ 102680 w 115157"/>
                <a:gd name="connsiteY15" fmla="*/ 38481 h 47244"/>
                <a:gd name="connsiteX16" fmla="*/ 107823 w 115157"/>
                <a:gd name="connsiteY16" fmla="*/ 41529 h 47244"/>
                <a:gd name="connsiteX17" fmla="*/ 111538 w 115157"/>
                <a:gd name="connsiteY17" fmla="*/ 38100 h 47244"/>
                <a:gd name="connsiteX18" fmla="*/ 109633 w 115157"/>
                <a:gd name="connsiteY18" fmla="*/ 34671 h 47244"/>
                <a:gd name="connsiteX19" fmla="*/ 115158 w 115157"/>
                <a:gd name="connsiteY19" fmla="*/ 32766 h 47244"/>
                <a:gd name="connsiteX20" fmla="*/ 108204 w 115157"/>
                <a:gd name="connsiteY20" fmla="*/ 22288 h 47244"/>
                <a:gd name="connsiteX21" fmla="*/ 109728 w 115157"/>
                <a:gd name="connsiteY21" fmla="*/ 19526 h 47244"/>
                <a:gd name="connsiteX22" fmla="*/ 89726 w 115157"/>
                <a:gd name="connsiteY22" fmla="*/ 4953 h 47244"/>
                <a:gd name="connsiteX23" fmla="*/ 67533 w 115157"/>
                <a:gd name="connsiteY23" fmla="*/ 0 h 47244"/>
                <a:gd name="connsiteX24" fmla="*/ 28575 w 115157"/>
                <a:gd name="connsiteY24" fmla="*/ 16478 h 47244"/>
                <a:gd name="connsiteX25" fmla="*/ 22956 w 115157"/>
                <a:gd name="connsiteY25" fmla="*/ 12192 h 47244"/>
                <a:gd name="connsiteX26" fmla="*/ 13716 w 115157"/>
                <a:gd name="connsiteY26" fmla="*/ 12192 h 47244"/>
                <a:gd name="connsiteX27" fmla="*/ 7430 w 115157"/>
                <a:gd name="connsiteY27" fmla="*/ 953 h 47244"/>
                <a:gd name="connsiteX28" fmla="*/ 6477 w 115157"/>
                <a:gd name="connsiteY28" fmla="*/ 3810 h 47244"/>
                <a:gd name="connsiteX29" fmla="*/ 476 w 115157"/>
                <a:gd name="connsiteY29" fmla="*/ 2762 h 4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57" h="47244">
                  <a:moveTo>
                    <a:pt x="476" y="2762"/>
                  </a:moveTo>
                  <a:lnTo>
                    <a:pt x="0" y="10478"/>
                  </a:lnTo>
                  <a:lnTo>
                    <a:pt x="5144" y="15430"/>
                  </a:lnTo>
                  <a:lnTo>
                    <a:pt x="2096" y="21908"/>
                  </a:lnTo>
                  <a:lnTo>
                    <a:pt x="858" y="31337"/>
                  </a:lnTo>
                  <a:lnTo>
                    <a:pt x="15050" y="25432"/>
                  </a:lnTo>
                  <a:lnTo>
                    <a:pt x="34195" y="39910"/>
                  </a:lnTo>
                  <a:lnTo>
                    <a:pt x="37529" y="34004"/>
                  </a:lnTo>
                  <a:lnTo>
                    <a:pt x="39814" y="46863"/>
                  </a:lnTo>
                  <a:lnTo>
                    <a:pt x="49721" y="46863"/>
                  </a:lnTo>
                  <a:lnTo>
                    <a:pt x="49054" y="27718"/>
                  </a:lnTo>
                  <a:lnTo>
                    <a:pt x="66294" y="14478"/>
                  </a:lnTo>
                  <a:lnTo>
                    <a:pt x="67533" y="13526"/>
                  </a:lnTo>
                  <a:lnTo>
                    <a:pt x="95631" y="21146"/>
                  </a:lnTo>
                  <a:lnTo>
                    <a:pt x="100299" y="47244"/>
                  </a:lnTo>
                  <a:lnTo>
                    <a:pt x="102680" y="38481"/>
                  </a:lnTo>
                  <a:lnTo>
                    <a:pt x="107823" y="41529"/>
                  </a:lnTo>
                  <a:lnTo>
                    <a:pt x="111538" y="38100"/>
                  </a:lnTo>
                  <a:lnTo>
                    <a:pt x="109633" y="34671"/>
                  </a:lnTo>
                  <a:lnTo>
                    <a:pt x="115158" y="32766"/>
                  </a:lnTo>
                  <a:lnTo>
                    <a:pt x="108204" y="22288"/>
                  </a:lnTo>
                  <a:lnTo>
                    <a:pt x="109728" y="19526"/>
                  </a:lnTo>
                  <a:lnTo>
                    <a:pt x="89726" y="4953"/>
                  </a:lnTo>
                  <a:lnTo>
                    <a:pt x="67533" y="0"/>
                  </a:lnTo>
                  <a:lnTo>
                    <a:pt x="28575" y="16478"/>
                  </a:lnTo>
                  <a:lnTo>
                    <a:pt x="22956" y="12192"/>
                  </a:lnTo>
                  <a:lnTo>
                    <a:pt x="13716" y="12192"/>
                  </a:lnTo>
                  <a:lnTo>
                    <a:pt x="7430" y="953"/>
                  </a:lnTo>
                  <a:lnTo>
                    <a:pt x="6477" y="3810"/>
                  </a:lnTo>
                  <a:lnTo>
                    <a:pt x="476" y="276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7" name="Freeform: Shape 2907">
              <a:extLst>
                <a:ext uri="{FF2B5EF4-FFF2-40B4-BE49-F238E27FC236}">
                  <a16:creationId xmlns:a16="http://schemas.microsoft.com/office/drawing/2014/main" id="{8604B222-A6B4-FE77-06E6-8FB0E184EA94}"/>
                </a:ext>
              </a:extLst>
            </p:cNvPr>
            <p:cNvSpPr/>
            <p:nvPr/>
          </p:nvSpPr>
          <p:spPr>
            <a:xfrm>
              <a:off x="7148512" y="4309332"/>
              <a:ext cx="90201" cy="87629"/>
            </a:xfrm>
            <a:custGeom>
              <a:avLst/>
              <a:gdLst>
                <a:gd name="connsiteX0" fmla="*/ 74676 w 90201"/>
                <a:gd name="connsiteY0" fmla="*/ 5429 h 87629"/>
                <a:gd name="connsiteX1" fmla="*/ 63436 w 90201"/>
                <a:gd name="connsiteY1" fmla="*/ 8001 h 87629"/>
                <a:gd name="connsiteX2" fmla="*/ 57150 w 90201"/>
                <a:gd name="connsiteY2" fmla="*/ 4000 h 87629"/>
                <a:gd name="connsiteX3" fmla="*/ 50102 w 90201"/>
                <a:gd name="connsiteY3" fmla="*/ 8572 h 87629"/>
                <a:gd name="connsiteX4" fmla="*/ 49816 w 90201"/>
                <a:gd name="connsiteY4" fmla="*/ 13906 h 87629"/>
                <a:gd name="connsiteX5" fmla="*/ 38576 w 90201"/>
                <a:gd name="connsiteY5" fmla="*/ 23813 h 87629"/>
                <a:gd name="connsiteX6" fmla="*/ 32290 w 90201"/>
                <a:gd name="connsiteY6" fmla="*/ 19812 h 87629"/>
                <a:gd name="connsiteX7" fmla="*/ 27908 w 90201"/>
                <a:gd name="connsiteY7" fmla="*/ 26194 h 87629"/>
                <a:gd name="connsiteX8" fmla="*/ 22384 w 90201"/>
                <a:gd name="connsiteY8" fmla="*/ 24098 h 87629"/>
                <a:gd name="connsiteX9" fmla="*/ 17145 w 90201"/>
                <a:gd name="connsiteY9" fmla="*/ 26765 h 87629"/>
                <a:gd name="connsiteX10" fmla="*/ 18955 w 90201"/>
                <a:gd name="connsiteY10" fmla="*/ 35814 h 87629"/>
                <a:gd name="connsiteX11" fmla="*/ 13430 w 90201"/>
                <a:gd name="connsiteY11" fmla="*/ 36386 h 87629"/>
                <a:gd name="connsiteX12" fmla="*/ 13430 w 90201"/>
                <a:gd name="connsiteY12" fmla="*/ 40672 h 87629"/>
                <a:gd name="connsiteX13" fmla="*/ 7620 w 90201"/>
                <a:gd name="connsiteY13" fmla="*/ 42005 h 87629"/>
                <a:gd name="connsiteX14" fmla="*/ 0 w 90201"/>
                <a:gd name="connsiteY14" fmla="*/ 43434 h 87629"/>
                <a:gd name="connsiteX15" fmla="*/ 17812 w 90201"/>
                <a:gd name="connsiteY15" fmla="*/ 57531 h 87629"/>
                <a:gd name="connsiteX16" fmla="*/ 39624 w 90201"/>
                <a:gd name="connsiteY16" fmla="*/ 80486 h 87629"/>
                <a:gd name="connsiteX17" fmla="*/ 41529 w 90201"/>
                <a:gd name="connsiteY17" fmla="*/ 76867 h 87629"/>
                <a:gd name="connsiteX18" fmla="*/ 55721 w 90201"/>
                <a:gd name="connsiteY18" fmla="*/ 83153 h 87629"/>
                <a:gd name="connsiteX19" fmla="*/ 60674 w 90201"/>
                <a:gd name="connsiteY19" fmla="*/ 78962 h 87629"/>
                <a:gd name="connsiteX20" fmla="*/ 68389 w 90201"/>
                <a:gd name="connsiteY20" fmla="*/ 82105 h 87629"/>
                <a:gd name="connsiteX21" fmla="*/ 68866 w 90201"/>
                <a:gd name="connsiteY21" fmla="*/ 86106 h 87629"/>
                <a:gd name="connsiteX22" fmla="*/ 80296 w 90201"/>
                <a:gd name="connsiteY22" fmla="*/ 87630 h 87629"/>
                <a:gd name="connsiteX23" fmla="*/ 81915 w 90201"/>
                <a:gd name="connsiteY23" fmla="*/ 32290 h 87629"/>
                <a:gd name="connsiteX24" fmla="*/ 89154 w 90201"/>
                <a:gd name="connsiteY24" fmla="*/ 14383 h 87629"/>
                <a:gd name="connsiteX25" fmla="*/ 84582 w 90201"/>
                <a:gd name="connsiteY25" fmla="*/ 4953 h 87629"/>
                <a:gd name="connsiteX26" fmla="*/ 90201 w 90201"/>
                <a:gd name="connsiteY26" fmla="*/ 857 h 87629"/>
                <a:gd name="connsiteX27" fmla="*/ 81725 w 90201"/>
                <a:gd name="connsiteY27" fmla="*/ 0 h 87629"/>
                <a:gd name="connsiteX28" fmla="*/ 74676 w 90201"/>
                <a:gd name="connsiteY28" fmla="*/ 5429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0201" h="87629">
                  <a:moveTo>
                    <a:pt x="74676" y="5429"/>
                  </a:moveTo>
                  <a:lnTo>
                    <a:pt x="63436" y="8001"/>
                  </a:lnTo>
                  <a:lnTo>
                    <a:pt x="57150" y="4000"/>
                  </a:lnTo>
                  <a:lnTo>
                    <a:pt x="50102" y="8572"/>
                  </a:lnTo>
                  <a:lnTo>
                    <a:pt x="49816" y="13906"/>
                  </a:lnTo>
                  <a:lnTo>
                    <a:pt x="38576" y="23813"/>
                  </a:lnTo>
                  <a:lnTo>
                    <a:pt x="32290" y="19812"/>
                  </a:lnTo>
                  <a:lnTo>
                    <a:pt x="27908" y="26194"/>
                  </a:lnTo>
                  <a:lnTo>
                    <a:pt x="22384" y="24098"/>
                  </a:lnTo>
                  <a:lnTo>
                    <a:pt x="17145" y="26765"/>
                  </a:lnTo>
                  <a:lnTo>
                    <a:pt x="18955" y="35814"/>
                  </a:lnTo>
                  <a:lnTo>
                    <a:pt x="13430" y="36386"/>
                  </a:lnTo>
                  <a:lnTo>
                    <a:pt x="13430" y="40672"/>
                  </a:lnTo>
                  <a:lnTo>
                    <a:pt x="7620" y="42005"/>
                  </a:lnTo>
                  <a:lnTo>
                    <a:pt x="0" y="43434"/>
                  </a:lnTo>
                  <a:lnTo>
                    <a:pt x="17812" y="57531"/>
                  </a:lnTo>
                  <a:lnTo>
                    <a:pt x="39624" y="80486"/>
                  </a:lnTo>
                  <a:lnTo>
                    <a:pt x="41529" y="76867"/>
                  </a:lnTo>
                  <a:lnTo>
                    <a:pt x="55721" y="83153"/>
                  </a:lnTo>
                  <a:lnTo>
                    <a:pt x="60674" y="78962"/>
                  </a:lnTo>
                  <a:lnTo>
                    <a:pt x="68389" y="82105"/>
                  </a:lnTo>
                  <a:lnTo>
                    <a:pt x="68866" y="86106"/>
                  </a:lnTo>
                  <a:lnTo>
                    <a:pt x="80296" y="87630"/>
                  </a:lnTo>
                  <a:lnTo>
                    <a:pt x="81915" y="32290"/>
                  </a:lnTo>
                  <a:lnTo>
                    <a:pt x="89154" y="14383"/>
                  </a:lnTo>
                  <a:lnTo>
                    <a:pt x="84582" y="4953"/>
                  </a:lnTo>
                  <a:lnTo>
                    <a:pt x="90201" y="857"/>
                  </a:lnTo>
                  <a:lnTo>
                    <a:pt x="81725" y="0"/>
                  </a:lnTo>
                  <a:lnTo>
                    <a:pt x="74676" y="542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8" name="Freeform: Shape 2908">
              <a:extLst>
                <a:ext uri="{FF2B5EF4-FFF2-40B4-BE49-F238E27FC236}">
                  <a16:creationId xmlns:a16="http://schemas.microsoft.com/office/drawing/2014/main" id="{189E7D7E-448D-0E2E-68FA-2A900B56607B}"/>
                </a:ext>
              </a:extLst>
            </p:cNvPr>
            <p:cNvSpPr/>
            <p:nvPr/>
          </p:nvSpPr>
          <p:spPr>
            <a:xfrm>
              <a:off x="6563963" y="3935190"/>
              <a:ext cx="603408" cy="381857"/>
            </a:xfrm>
            <a:custGeom>
              <a:avLst/>
              <a:gdLst>
                <a:gd name="connsiteX0" fmla="*/ 603409 w 603408"/>
                <a:gd name="connsiteY0" fmla="*/ 249650 h 381857"/>
                <a:gd name="connsiteX1" fmla="*/ 595789 w 603408"/>
                <a:gd name="connsiteY1" fmla="*/ 239839 h 381857"/>
                <a:gd name="connsiteX2" fmla="*/ 569404 w 603408"/>
                <a:gd name="connsiteY2" fmla="*/ 240887 h 381857"/>
                <a:gd name="connsiteX3" fmla="*/ 532066 w 603408"/>
                <a:gd name="connsiteY3" fmla="*/ 252127 h 381857"/>
                <a:gd name="connsiteX4" fmla="*/ 523399 w 603408"/>
                <a:gd name="connsiteY4" fmla="*/ 277558 h 381857"/>
                <a:gd name="connsiteX5" fmla="*/ 524160 w 603408"/>
                <a:gd name="connsiteY5" fmla="*/ 286988 h 381857"/>
                <a:gd name="connsiteX6" fmla="*/ 512064 w 603408"/>
                <a:gd name="connsiteY6" fmla="*/ 293370 h 381857"/>
                <a:gd name="connsiteX7" fmla="*/ 515207 w 603408"/>
                <a:gd name="connsiteY7" fmla="*/ 300799 h 381857"/>
                <a:gd name="connsiteX8" fmla="*/ 491109 w 603408"/>
                <a:gd name="connsiteY8" fmla="*/ 300514 h 381857"/>
                <a:gd name="connsiteX9" fmla="*/ 467963 w 603408"/>
                <a:gd name="connsiteY9" fmla="*/ 306229 h 381857"/>
                <a:gd name="connsiteX10" fmla="*/ 450152 w 603408"/>
                <a:gd name="connsiteY10" fmla="*/ 311277 h 381857"/>
                <a:gd name="connsiteX11" fmla="*/ 435959 w 603408"/>
                <a:gd name="connsiteY11" fmla="*/ 300133 h 381857"/>
                <a:gd name="connsiteX12" fmla="*/ 422434 w 603408"/>
                <a:gd name="connsiteY12" fmla="*/ 299752 h 381857"/>
                <a:gd name="connsiteX13" fmla="*/ 410909 w 603408"/>
                <a:gd name="connsiteY13" fmla="*/ 276511 h 381857"/>
                <a:gd name="connsiteX14" fmla="*/ 396716 w 603408"/>
                <a:gd name="connsiteY14" fmla="*/ 259461 h 381857"/>
                <a:gd name="connsiteX15" fmla="*/ 382524 w 603408"/>
                <a:gd name="connsiteY15" fmla="*/ 219170 h 381857"/>
                <a:gd name="connsiteX16" fmla="*/ 388429 w 603408"/>
                <a:gd name="connsiteY16" fmla="*/ 173260 h 381857"/>
                <a:gd name="connsiteX17" fmla="*/ 397383 w 603408"/>
                <a:gd name="connsiteY17" fmla="*/ 148304 h 381857"/>
                <a:gd name="connsiteX18" fmla="*/ 379000 w 603408"/>
                <a:gd name="connsiteY18" fmla="*/ 146875 h 381857"/>
                <a:gd name="connsiteX19" fmla="*/ 358330 w 603408"/>
                <a:gd name="connsiteY19" fmla="*/ 138589 h 381857"/>
                <a:gd name="connsiteX20" fmla="*/ 356807 w 603408"/>
                <a:gd name="connsiteY20" fmla="*/ 128206 h 381857"/>
                <a:gd name="connsiteX21" fmla="*/ 351091 w 603408"/>
                <a:gd name="connsiteY21" fmla="*/ 125444 h 381857"/>
                <a:gd name="connsiteX22" fmla="*/ 350044 w 603408"/>
                <a:gd name="connsiteY22" fmla="*/ 114014 h 381857"/>
                <a:gd name="connsiteX23" fmla="*/ 336709 w 603408"/>
                <a:gd name="connsiteY23" fmla="*/ 101346 h 381857"/>
                <a:gd name="connsiteX24" fmla="*/ 326327 w 603408"/>
                <a:gd name="connsiteY24" fmla="*/ 81629 h 381857"/>
                <a:gd name="connsiteX25" fmla="*/ 313468 w 603408"/>
                <a:gd name="connsiteY25" fmla="*/ 68485 h 381857"/>
                <a:gd name="connsiteX26" fmla="*/ 295370 w 603408"/>
                <a:gd name="connsiteY26" fmla="*/ 65818 h 381857"/>
                <a:gd name="connsiteX27" fmla="*/ 287179 w 603408"/>
                <a:gd name="connsiteY27" fmla="*/ 69628 h 381857"/>
                <a:gd name="connsiteX28" fmla="*/ 276796 w 603408"/>
                <a:gd name="connsiteY28" fmla="*/ 84391 h 381857"/>
                <a:gd name="connsiteX29" fmla="*/ 248412 w 603408"/>
                <a:gd name="connsiteY29" fmla="*/ 67913 h 381857"/>
                <a:gd name="connsiteX30" fmla="*/ 248412 w 603408"/>
                <a:gd name="connsiteY30" fmla="*/ 59722 h 381857"/>
                <a:gd name="connsiteX31" fmla="*/ 225266 w 603408"/>
                <a:gd name="connsiteY31" fmla="*/ 34385 h 381857"/>
                <a:gd name="connsiteX32" fmla="*/ 216979 w 603408"/>
                <a:gd name="connsiteY32" fmla="*/ 30861 h 381857"/>
                <a:gd name="connsiteX33" fmla="*/ 211836 w 603408"/>
                <a:gd name="connsiteY33" fmla="*/ 22670 h 381857"/>
                <a:gd name="connsiteX34" fmla="*/ 177736 w 603408"/>
                <a:gd name="connsiteY34" fmla="*/ 22670 h 381857"/>
                <a:gd name="connsiteX35" fmla="*/ 177736 w 603408"/>
                <a:gd name="connsiteY35" fmla="*/ 33242 h 381857"/>
                <a:gd name="connsiteX36" fmla="*/ 121539 w 603408"/>
                <a:gd name="connsiteY36" fmla="*/ 33242 h 381857"/>
                <a:gd name="connsiteX37" fmla="*/ 49244 w 603408"/>
                <a:gd name="connsiteY37" fmla="*/ 7525 h 381857"/>
                <a:gd name="connsiteX38" fmla="*/ 49244 w 603408"/>
                <a:gd name="connsiteY38" fmla="*/ 0 h 381857"/>
                <a:gd name="connsiteX39" fmla="*/ 0 w 603408"/>
                <a:gd name="connsiteY39" fmla="*/ 0 h 381857"/>
                <a:gd name="connsiteX40" fmla="*/ 11716 w 603408"/>
                <a:gd name="connsiteY40" fmla="*/ 22384 h 381857"/>
                <a:gd name="connsiteX41" fmla="*/ 10096 w 603408"/>
                <a:gd name="connsiteY41" fmla="*/ 32385 h 381857"/>
                <a:gd name="connsiteX42" fmla="*/ 16954 w 603408"/>
                <a:gd name="connsiteY42" fmla="*/ 36290 h 381857"/>
                <a:gd name="connsiteX43" fmla="*/ 16288 w 603408"/>
                <a:gd name="connsiteY43" fmla="*/ 43720 h 381857"/>
                <a:gd name="connsiteX44" fmla="*/ 22574 w 603408"/>
                <a:gd name="connsiteY44" fmla="*/ 45625 h 381857"/>
                <a:gd name="connsiteX45" fmla="*/ 22670 w 603408"/>
                <a:gd name="connsiteY45" fmla="*/ 54578 h 381857"/>
                <a:gd name="connsiteX46" fmla="*/ 28670 w 603408"/>
                <a:gd name="connsiteY46" fmla="*/ 56864 h 381857"/>
                <a:gd name="connsiteX47" fmla="*/ 29527 w 603408"/>
                <a:gd name="connsiteY47" fmla="*/ 68389 h 381857"/>
                <a:gd name="connsiteX48" fmla="*/ 44386 w 603408"/>
                <a:gd name="connsiteY48" fmla="*/ 76486 h 381857"/>
                <a:gd name="connsiteX49" fmla="*/ 61817 w 603408"/>
                <a:gd name="connsiteY49" fmla="*/ 94679 h 381857"/>
                <a:gd name="connsiteX50" fmla="*/ 43053 w 603408"/>
                <a:gd name="connsiteY50" fmla="*/ 111157 h 381857"/>
                <a:gd name="connsiteX51" fmla="*/ 63151 w 603408"/>
                <a:gd name="connsiteY51" fmla="*/ 126968 h 381857"/>
                <a:gd name="connsiteX52" fmla="*/ 94869 w 603408"/>
                <a:gd name="connsiteY52" fmla="*/ 142018 h 381857"/>
                <a:gd name="connsiteX53" fmla="*/ 101441 w 603408"/>
                <a:gd name="connsiteY53" fmla="*/ 153638 h 381857"/>
                <a:gd name="connsiteX54" fmla="*/ 100869 w 603408"/>
                <a:gd name="connsiteY54" fmla="*/ 174307 h 381857"/>
                <a:gd name="connsiteX55" fmla="*/ 136112 w 603408"/>
                <a:gd name="connsiteY55" fmla="*/ 198787 h 381857"/>
                <a:gd name="connsiteX56" fmla="*/ 143446 w 603408"/>
                <a:gd name="connsiteY56" fmla="*/ 213550 h 381857"/>
                <a:gd name="connsiteX57" fmla="*/ 155924 w 603408"/>
                <a:gd name="connsiteY57" fmla="*/ 205549 h 381857"/>
                <a:gd name="connsiteX58" fmla="*/ 128873 w 603408"/>
                <a:gd name="connsiteY58" fmla="*/ 181642 h 381857"/>
                <a:gd name="connsiteX59" fmla="*/ 128873 w 603408"/>
                <a:gd name="connsiteY59" fmla="*/ 170783 h 381857"/>
                <a:gd name="connsiteX60" fmla="*/ 116681 w 603408"/>
                <a:gd name="connsiteY60" fmla="*/ 152209 h 381857"/>
                <a:gd name="connsiteX61" fmla="*/ 115252 w 603408"/>
                <a:gd name="connsiteY61" fmla="*/ 134303 h 381857"/>
                <a:gd name="connsiteX62" fmla="*/ 108775 w 603408"/>
                <a:gd name="connsiteY62" fmla="*/ 125921 h 381857"/>
                <a:gd name="connsiteX63" fmla="*/ 105727 w 603408"/>
                <a:gd name="connsiteY63" fmla="*/ 133636 h 381857"/>
                <a:gd name="connsiteX64" fmla="*/ 89630 w 603408"/>
                <a:gd name="connsiteY64" fmla="*/ 111538 h 381857"/>
                <a:gd name="connsiteX65" fmla="*/ 85630 w 603408"/>
                <a:gd name="connsiteY65" fmla="*/ 99631 h 381857"/>
                <a:gd name="connsiteX66" fmla="*/ 55912 w 603408"/>
                <a:gd name="connsiteY66" fmla="*/ 67723 h 381857"/>
                <a:gd name="connsiteX67" fmla="*/ 42672 w 603408"/>
                <a:gd name="connsiteY67" fmla="*/ 19812 h 381857"/>
                <a:gd name="connsiteX68" fmla="*/ 81343 w 603408"/>
                <a:gd name="connsiteY68" fmla="*/ 35814 h 381857"/>
                <a:gd name="connsiteX69" fmla="*/ 81343 w 603408"/>
                <a:gd name="connsiteY69" fmla="*/ 47815 h 381857"/>
                <a:gd name="connsiteX70" fmla="*/ 99536 w 603408"/>
                <a:gd name="connsiteY70" fmla="*/ 85249 h 381857"/>
                <a:gd name="connsiteX71" fmla="*/ 120586 w 603408"/>
                <a:gd name="connsiteY71" fmla="*/ 106966 h 381857"/>
                <a:gd name="connsiteX72" fmla="*/ 132207 w 603408"/>
                <a:gd name="connsiteY72" fmla="*/ 108395 h 381857"/>
                <a:gd name="connsiteX73" fmla="*/ 132207 w 603408"/>
                <a:gd name="connsiteY73" fmla="*/ 120301 h 381857"/>
                <a:gd name="connsiteX74" fmla="*/ 152019 w 603408"/>
                <a:gd name="connsiteY74" fmla="*/ 131540 h 381857"/>
                <a:gd name="connsiteX75" fmla="*/ 160591 w 603408"/>
                <a:gd name="connsiteY75" fmla="*/ 141637 h 381857"/>
                <a:gd name="connsiteX76" fmla="*/ 154019 w 603408"/>
                <a:gd name="connsiteY76" fmla="*/ 146971 h 381857"/>
                <a:gd name="connsiteX77" fmla="*/ 154305 w 603408"/>
                <a:gd name="connsiteY77" fmla="*/ 155353 h 381857"/>
                <a:gd name="connsiteX78" fmla="*/ 182404 w 603408"/>
                <a:gd name="connsiteY78" fmla="*/ 169354 h 381857"/>
                <a:gd name="connsiteX79" fmla="*/ 182404 w 603408"/>
                <a:gd name="connsiteY79" fmla="*/ 176403 h 381857"/>
                <a:gd name="connsiteX80" fmla="*/ 194786 w 603408"/>
                <a:gd name="connsiteY80" fmla="*/ 175450 h 381857"/>
                <a:gd name="connsiteX81" fmla="*/ 188976 w 603408"/>
                <a:gd name="connsiteY81" fmla="*/ 181642 h 381857"/>
                <a:gd name="connsiteX82" fmla="*/ 223838 w 603408"/>
                <a:gd name="connsiteY82" fmla="*/ 213265 h 381857"/>
                <a:gd name="connsiteX83" fmla="*/ 237839 w 603408"/>
                <a:gd name="connsiteY83" fmla="*/ 243364 h 381857"/>
                <a:gd name="connsiteX84" fmla="*/ 230600 w 603408"/>
                <a:gd name="connsiteY84" fmla="*/ 257365 h 381857"/>
                <a:gd name="connsiteX85" fmla="*/ 236506 w 603408"/>
                <a:gd name="connsiteY85" fmla="*/ 261938 h 381857"/>
                <a:gd name="connsiteX86" fmla="*/ 227933 w 603408"/>
                <a:gd name="connsiteY86" fmla="*/ 265747 h 381857"/>
                <a:gd name="connsiteX87" fmla="*/ 241459 w 603408"/>
                <a:gd name="connsiteY87" fmla="*/ 286988 h 381857"/>
                <a:gd name="connsiteX88" fmla="*/ 261938 w 603408"/>
                <a:gd name="connsiteY88" fmla="*/ 296418 h 381857"/>
                <a:gd name="connsiteX89" fmla="*/ 271558 w 603408"/>
                <a:gd name="connsiteY89" fmla="*/ 307562 h 381857"/>
                <a:gd name="connsiteX90" fmla="*/ 301943 w 603408"/>
                <a:gd name="connsiteY90" fmla="*/ 314611 h 381857"/>
                <a:gd name="connsiteX91" fmla="*/ 319754 w 603408"/>
                <a:gd name="connsiteY91" fmla="*/ 329184 h 381857"/>
                <a:gd name="connsiteX92" fmla="*/ 346520 w 603408"/>
                <a:gd name="connsiteY92" fmla="*/ 340614 h 381857"/>
                <a:gd name="connsiteX93" fmla="*/ 364998 w 603408"/>
                <a:gd name="connsiteY93" fmla="*/ 343662 h 381857"/>
                <a:gd name="connsiteX94" fmla="*/ 384429 w 603408"/>
                <a:gd name="connsiteY94" fmla="*/ 355473 h 381857"/>
                <a:gd name="connsiteX95" fmla="*/ 410242 w 603408"/>
                <a:gd name="connsiteY95" fmla="*/ 361855 h 381857"/>
                <a:gd name="connsiteX96" fmla="*/ 429673 w 603408"/>
                <a:gd name="connsiteY96" fmla="*/ 353092 h 381857"/>
                <a:gd name="connsiteX97" fmla="*/ 441293 w 603408"/>
                <a:gd name="connsiteY97" fmla="*/ 352330 h 381857"/>
                <a:gd name="connsiteX98" fmla="*/ 442246 w 603408"/>
                <a:gd name="connsiteY98" fmla="*/ 346043 h 381857"/>
                <a:gd name="connsiteX99" fmla="*/ 461391 w 603408"/>
                <a:gd name="connsiteY99" fmla="*/ 353092 h 381857"/>
                <a:gd name="connsiteX100" fmla="*/ 495109 w 603408"/>
                <a:gd name="connsiteY100" fmla="*/ 381857 h 381857"/>
                <a:gd name="connsiteX101" fmla="*/ 498443 w 603408"/>
                <a:gd name="connsiteY101" fmla="*/ 373761 h 381857"/>
                <a:gd name="connsiteX102" fmla="*/ 494252 w 603408"/>
                <a:gd name="connsiteY102" fmla="*/ 369570 h 381857"/>
                <a:gd name="connsiteX103" fmla="*/ 504063 w 603408"/>
                <a:gd name="connsiteY103" fmla="*/ 352996 h 381857"/>
                <a:gd name="connsiteX104" fmla="*/ 530447 w 603408"/>
                <a:gd name="connsiteY104" fmla="*/ 352996 h 381857"/>
                <a:gd name="connsiteX105" fmla="*/ 530447 w 603408"/>
                <a:gd name="connsiteY105" fmla="*/ 346138 h 381857"/>
                <a:gd name="connsiteX106" fmla="*/ 525780 w 603408"/>
                <a:gd name="connsiteY106" fmla="*/ 343757 h 381857"/>
                <a:gd name="connsiteX107" fmla="*/ 523399 w 603408"/>
                <a:gd name="connsiteY107" fmla="*/ 338423 h 381857"/>
                <a:gd name="connsiteX108" fmla="*/ 509492 w 603408"/>
                <a:gd name="connsiteY108" fmla="*/ 329470 h 381857"/>
                <a:gd name="connsiteX109" fmla="*/ 519303 w 603408"/>
                <a:gd name="connsiteY109" fmla="*/ 329279 h 381857"/>
                <a:gd name="connsiteX110" fmla="*/ 519303 w 603408"/>
                <a:gd name="connsiteY110" fmla="*/ 318135 h 381857"/>
                <a:gd name="connsiteX111" fmla="*/ 555974 w 603408"/>
                <a:gd name="connsiteY111" fmla="*/ 318135 h 381857"/>
                <a:gd name="connsiteX112" fmla="*/ 557498 w 603408"/>
                <a:gd name="connsiteY112" fmla="*/ 314420 h 381857"/>
                <a:gd name="connsiteX113" fmla="*/ 561594 w 603408"/>
                <a:gd name="connsiteY113" fmla="*/ 316802 h 381857"/>
                <a:gd name="connsiteX114" fmla="*/ 567785 w 603408"/>
                <a:gd name="connsiteY114" fmla="*/ 304705 h 381857"/>
                <a:gd name="connsiteX115" fmla="*/ 572548 w 603408"/>
                <a:gd name="connsiteY115" fmla="*/ 304705 h 381857"/>
                <a:gd name="connsiteX116" fmla="*/ 575882 w 603408"/>
                <a:gd name="connsiteY116" fmla="*/ 296799 h 381857"/>
                <a:gd name="connsiteX117" fmla="*/ 584645 w 603408"/>
                <a:gd name="connsiteY117" fmla="*/ 309277 h 381857"/>
                <a:gd name="connsiteX118" fmla="*/ 593312 w 603408"/>
                <a:gd name="connsiteY118" fmla="*/ 280892 h 381857"/>
                <a:gd name="connsiteX119" fmla="*/ 583597 w 603408"/>
                <a:gd name="connsiteY119" fmla="*/ 280606 h 381857"/>
                <a:gd name="connsiteX120" fmla="*/ 603409 w 603408"/>
                <a:gd name="connsiteY120" fmla="*/ 249650 h 38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603408" h="381857">
                  <a:moveTo>
                    <a:pt x="603409" y="249650"/>
                  </a:moveTo>
                  <a:lnTo>
                    <a:pt x="595789" y="239839"/>
                  </a:lnTo>
                  <a:lnTo>
                    <a:pt x="569404" y="240887"/>
                  </a:lnTo>
                  <a:lnTo>
                    <a:pt x="532066" y="252127"/>
                  </a:lnTo>
                  <a:lnTo>
                    <a:pt x="523399" y="277558"/>
                  </a:lnTo>
                  <a:lnTo>
                    <a:pt x="524160" y="286988"/>
                  </a:lnTo>
                  <a:lnTo>
                    <a:pt x="512064" y="293370"/>
                  </a:lnTo>
                  <a:lnTo>
                    <a:pt x="515207" y="300799"/>
                  </a:lnTo>
                  <a:lnTo>
                    <a:pt x="491109" y="300514"/>
                  </a:lnTo>
                  <a:lnTo>
                    <a:pt x="467963" y="306229"/>
                  </a:lnTo>
                  <a:lnTo>
                    <a:pt x="450152" y="311277"/>
                  </a:lnTo>
                  <a:lnTo>
                    <a:pt x="435959" y="300133"/>
                  </a:lnTo>
                  <a:lnTo>
                    <a:pt x="422434" y="299752"/>
                  </a:lnTo>
                  <a:lnTo>
                    <a:pt x="410909" y="276511"/>
                  </a:lnTo>
                  <a:lnTo>
                    <a:pt x="396716" y="259461"/>
                  </a:lnTo>
                  <a:lnTo>
                    <a:pt x="382524" y="219170"/>
                  </a:lnTo>
                  <a:lnTo>
                    <a:pt x="388429" y="173260"/>
                  </a:lnTo>
                  <a:lnTo>
                    <a:pt x="397383" y="148304"/>
                  </a:lnTo>
                  <a:lnTo>
                    <a:pt x="379000" y="146875"/>
                  </a:lnTo>
                  <a:lnTo>
                    <a:pt x="358330" y="138589"/>
                  </a:lnTo>
                  <a:lnTo>
                    <a:pt x="356807" y="128206"/>
                  </a:lnTo>
                  <a:lnTo>
                    <a:pt x="351091" y="125444"/>
                  </a:lnTo>
                  <a:lnTo>
                    <a:pt x="350044" y="114014"/>
                  </a:lnTo>
                  <a:lnTo>
                    <a:pt x="336709" y="101346"/>
                  </a:lnTo>
                  <a:lnTo>
                    <a:pt x="326327" y="81629"/>
                  </a:lnTo>
                  <a:lnTo>
                    <a:pt x="313468" y="68485"/>
                  </a:lnTo>
                  <a:lnTo>
                    <a:pt x="295370" y="65818"/>
                  </a:lnTo>
                  <a:lnTo>
                    <a:pt x="287179" y="69628"/>
                  </a:lnTo>
                  <a:lnTo>
                    <a:pt x="276796" y="84391"/>
                  </a:lnTo>
                  <a:lnTo>
                    <a:pt x="248412" y="67913"/>
                  </a:lnTo>
                  <a:lnTo>
                    <a:pt x="248412" y="59722"/>
                  </a:lnTo>
                  <a:lnTo>
                    <a:pt x="225266" y="34385"/>
                  </a:lnTo>
                  <a:lnTo>
                    <a:pt x="216979" y="30861"/>
                  </a:lnTo>
                  <a:lnTo>
                    <a:pt x="211836" y="22670"/>
                  </a:lnTo>
                  <a:lnTo>
                    <a:pt x="177736" y="22670"/>
                  </a:lnTo>
                  <a:lnTo>
                    <a:pt x="177736" y="33242"/>
                  </a:lnTo>
                  <a:lnTo>
                    <a:pt x="121539" y="33242"/>
                  </a:lnTo>
                  <a:lnTo>
                    <a:pt x="49244" y="7525"/>
                  </a:lnTo>
                  <a:lnTo>
                    <a:pt x="49244" y="0"/>
                  </a:lnTo>
                  <a:lnTo>
                    <a:pt x="0" y="0"/>
                  </a:lnTo>
                  <a:lnTo>
                    <a:pt x="11716" y="22384"/>
                  </a:lnTo>
                  <a:lnTo>
                    <a:pt x="10096" y="32385"/>
                  </a:lnTo>
                  <a:lnTo>
                    <a:pt x="16954" y="36290"/>
                  </a:lnTo>
                  <a:lnTo>
                    <a:pt x="16288" y="43720"/>
                  </a:lnTo>
                  <a:lnTo>
                    <a:pt x="22574" y="45625"/>
                  </a:lnTo>
                  <a:lnTo>
                    <a:pt x="22670" y="54578"/>
                  </a:lnTo>
                  <a:lnTo>
                    <a:pt x="28670" y="56864"/>
                  </a:lnTo>
                  <a:lnTo>
                    <a:pt x="29527" y="68389"/>
                  </a:lnTo>
                  <a:lnTo>
                    <a:pt x="44386" y="76486"/>
                  </a:lnTo>
                  <a:lnTo>
                    <a:pt x="61817" y="94679"/>
                  </a:lnTo>
                  <a:lnTo>
                    <a:pt x="43053" y="111157"/>
                  </a:lnTo>
                  <a:lnTo>
                    <a:pt x="63151" y="126968"/>
                  </a:lnTo>
                  <a:lnTo>
                    <a:pt x="94869" y="142018"/>
                  </a:lnTo>
                  <a:lnTo>
                    <a:pt x="101441" y="153638"/>
                  </a:lnTo>
                  <a:lnTo>
                    <a:pt x="100869" y="174307"/>
                  </a:lnTo>
                  <a:lnTo>
                    <a:pt x="136112" y="198787"/>
                  </a:lnTo>
                  <a:lnTo>
                    <a:pt x="143446" y="213550"/>
                  </a:lnTo>
                  <a:lnTo>
                    <a:pt x="155924" y="205549"/>
                  </a:lnTo>
                  <a:lnTo>
                    <a:pt x="128873" y="181642"/>
                  </a:lnTo>
                  <a:lnTo>
                    <a:pt x="128873" y="170783"/>
                  </a:lnTo>
                  <a:lnTo>
                    <a:pt x="116681" y="152209"/>
                  </a:lnTo>
                  <a:lnTo>
                    <a:pt x="115252" y="134303"/>
                  </a:lnTo>
                  <a:lnTo>
                    <a:pt x="108775" y="125921"/>
                  </a:lnTo>
                  <a:lnTo>
                    <a:pt x="105727" y="133636"/>
                  </a:lnTo>
                  <a:lnTo>
                    <a:pt x="89630" y="111538"/>
                  </a:lnTo>
                  <a:lnTo>
                    <a:pt x="85630" y="99631"/>
                  </a:lnTo>
                  <a:lnTo>
                    <a:pt x="55912" y="67723"/>
                  </a:lnTo>
                  <a:lnTo>
                    <a:pt x="42672" y="19812"/>
                  </a:lnTo>
                  <a:lnTo>
                    <a:pt x="81343" y="35814"/>
                  </a:lnTo>
                  <a:lnTo>
                    <a:pt x="81343" y="47815"/>
                  </a:lnTo>
                  <a:lnTo>
                    <a:pt x="99536" y="85249"/>
                  </a:lnTo>
                  <a:lnTo>
                    <a:pt x="120586" y="106966"/>
                  </a:lnTo>
                  <a:lnTo>
                    <a:pt x="132207" y="108395"/>
                  </a:lnTo>
                  <a:lnTo>
                    <a:pt x="132207" y="120301"/>
                  </a:lnTo>
                  <a:lnTo>
                    <a:pt x="152019" y="131540"/>
                  </a:lnTo>
                  <a:lnTo>
                    <a:pt x="160591" y="141637"/>
                  </a:lnTo>
                  <a:lnTo>
                    <a:pt x="154019" y="146971"/>
                  </a:lnTo>
                  <a:lnTo>
                    <a:pt x="154305" y="155353"/>
                  </a:lnTo>
                  <a:lnTo>
                    <a:pt x="182404" y="169354"/>
                  </a:lnTo>
                  <a:lnTo>
                    <a:pt x="182404" y="176403"/>
                  </a:lnTo>
                  <a:lnTo>
                    <a:pt x="194786" y="175450"/>
                  </a:lnTo>
                  <a:lnTo>
                    <a:pt x="188976" y="181642"/>
                  </a:lnTo>
                  <a:lnTo>
                    <a:pt x="223838" y="213265"/>
                  </a:lnTo>
                  <a:lnTo>
                    <a:pt x="237839" y="243364"/>
                  </a:lnTo>
                  <a:lnTo>
                    <a:pt x="230600" y="257365"/>
                  </a:lnTo>
                  <a:lnTo>
                    <a:pt x="236506" y="261938"/>
                  </a:lnTo>
                  <a:lnTo>
                    <a:pt x="227933" y="265747"/>
                  </a:lnTo>
                  <a:lnTo>
                    <a:pt x="241459" y="286988"/>
                  </a:lnTo>
                  <a:lnTo>
                    <a:pt x="261938" y="296418"/>
                  </a:lnTo>
                  <a:lnTo>
                    <a:pt x="271558" y="307562"/>
                  </a:lnTo>
                  <a:lnTo>
                    <a:pt x="301943" y="314611"/>
                  </a:lnTo>
                  <a:lnTo>
                    <a:pt x="319754" y="329184"/>
                  </a:lnTo>
                  <a:lnTo>
                    <a:pt x="346520" y="340614"/>
                  </a:lnTo>
                  <a:lnTo>
                    <a:pt x="364998" y="343662"/>
                  </a:lnTo>
                  <a:lnTo>
                    <a:pt x="384429" y="355473"/>
                  </a:lnTo>
                  <a:lnTo>
                    <a:pt x="410242" y="361855"/>
                  </a:lnTo>
                  <a:lnTo>
                    <a:pt x="429673" y="353092"/>
                  </a:lnTo>
                  <a:lnTo>
                    <a:pt x="441293" y="352330"/>
                  </a:lnTo>
                  <a:lnTo>
                    <a:pt x="442246" y="346043"/>
                  </a:lnTo>
                  <a:lnTo>
                    <a:pt x="461391" y="353092"/>
                  </a:lnTo>
                  <a:lnTo>
                    <a:pt x="495109" y="381857"/>
                  </a:lnTo>
                  <a:lnTo>
                    <a:pt x="498443" y="373761"/>
                  </a:lnTo>
                  <a:lnTo>
                    <a:pt x="494252" y="369570"/>
                  </a:lnTo>
                  <a:lnTo>
                    <a:pt x="504063" y="352996"/>
                  </a:lnTo>
                  <a:lnTo>
                    <a:pt x="530447" y="352996"/>
                  </a:lnTo>
                  <a:lnTo>
                    <a:pt x="530447" y="346138"/>
                  </a:lnTo>
                  <a:lnTo>
                    <a:pt x="525780" y="343757"/>
                  </a:lnTo>
                  <a:lnTo>
                    <a:pt x="523399" y="338423"/>
                  </a:lnTo>
                  <a:lnTo>
                    <a:pt x="509492" y="329470"/>
                  </a:lnTo>
                  <a:lnTo>
                    <a:pt x="519303" y="329279"/>
                  </a:lnTo>
                  <a:lnTo>
                    <a:pt x="519303" y="318135"/>
                  </a:lnTo>
                  <a:lnTo>
                    <a:pt x="555974" y="318135"/>
                  </a:lnTo>
                  <a:lnTo>
                    <a:pt x="557498" y="314420"/>
                  </a:lnTo>
                  <a:lnTo>
                    <a:pt x="561594" y="316802"/>
                  </a:lnTo>
                  <a:lnTo>
                    <a:pt x="567785" y="304705"/>
                  </a:lnTo>
                  <a:lnTo>
                    <a:pt x="572548" y="304705"/>
                  </a:lnTo>
                  <a:lnTo>
                    <a:pt x="575882" y="296799"/>
                  </a:lnTo>
                  <a:lnTo>
                    <a:pt x="584645" y="309277"/>
                  </a:lnTo>
                  <a:lnTo>
                    <a:pt x="593312" y="280892"/>
                  </a:lnTo>
                  <a:lnTo>
                    <a:pt x="583597" y="280606"/>
                  </a:lnTo>
                  <a:lnTo>
                    <a:pt x="603409" y="24965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19" name="Freeform: Shape 2909">
              <a:extLst>
                <a:ext uri="{FF2B5EF4-FFF2-40B4-BE49-F238E27FC236}">
                  <a16:creationId xmlns:a16="http://schemas.microsoft.com/office/drawing/2014/main" id="{09122470-0F8D-71C0-B5EB-AE0418F12353}"/>
                </a:ext>
              </a:extLst>
            </p:cNvPr>
            <p:cNvSpPr/>
            <p:nvPr/>
          </p:nvSpPr>
          <p:spPr>
            <a:xfrm>
              <a:off x="7115365" y="4287519"/>
              <a:ext cx="123348" cy="63817"/>
            </a:xfrm>
            <a:custGeom>
              <a:avLst/>
              <a:gdLst>
                <a:gd name="connsiteX0" fmla="*/ 104204 w 123348"/>
                <a:gd name="connsiteY0" fmla="*/ 8858 h 63817"/>
                <a:gd name="connsiteX1" fmla="*/ 76390 w 123348"/>
                <a:gd name="connsiteY1" fmla="*/ 4858 h 63817"/>
                <a:gd name="connsiteX2" fmla="*/ 66484 w 123348"/>
                <a:gd name="connsiteY2" fmla="*/ 0 h 63817"/>
                <a:gd name="connsiteX3" fmla="*/ 59531 w 123348"/>
                <a:gd name="connsiteY3" fmla="*/ 7144 h 63817"/>
                <a:gd name="connsiteX4" fmla="*/ 22574 w 123348"/>
                <a:gd name="connsiteY4" fmla="*/ 8192 h 63817"/>
                <a:gd name="connsiteX5" fmla="*/ 4000 w 123348"/>
                <a:gd name="connsiteY5" fmla="*/ 21431 h 63817"/>
                <a:gd name="connsiteX6" fmla="*/ 2762 w 123348"/>
                <a:gd name="connsiteY6" fmla="*/ 25908 h 63817"/>
                <a:gd name="connsiteX7" fmla="*/ 4572 w 123348"/>
                <a:gd name="connsiteY7" fmla="*/ 31242 h 63817"/>
                <a:gd name="connsiteX8" fmla="*/ 0 w 123348"/>
                <a:gd name="connsiteY8" fmla="*/ 33052 h 63817"/>
                <a:gd name="connsiteX9" fmla="*/ 0 w 123348"/>
                <a:gd name="connsiteY9" fmla="*/ 33052 h 63817"/>
                <a:gd name="connsiteX10" fmla="*/ 0 w 123348"/>
                <a:gd name="connsiteY10" fmla="*/ 33052 h 63817"/>
                <a:gd name="connsiteX11" fmla="*/ 12859 w 123348"/>
                <a:gd name="connsiteY11" fmla="*/ 40577 h 63817"/>
                <a:gd name="connsiteX12" fmla="*/ 17621 w 123348"/>
                <a:gd name="connsiteY12" fmla="*/ 45911 h 63817"/>
                <a:gd name="connsiteX13" fmla="*/ 23336 w 123348"/>
                <a:gd name="connsiteY13" fmla="*/ 42672 h 63817"/>
                <a:gd name="connsiteX14" fmla="*/ 32766 w 123348"/>
                <a:gd name="connsiteY14" fmla="*/ 46196 h 63817"/>
                <a:gd name="connsiteX15" fmla="*/ 30194 w 123348"/>
                <a:gd name="connsiteY15" fmla="*/ 54483 h 63817"/>
                <a:gd name="connsiteX16" fmla="*/ 30194 w 123348"/>
                <a:gd name="connsiteY16" fmla="*/ 54483 h 63817"/>
                <a:gd name="connsiteX17" fmla="*/ 30194 w 123348"/>
                <a:gd name="connsiteY17" fmla="*/ 54388 h 63817"/>
                <a:gd name="connsiteX18" fmla="*/ 40767 w 123348"/>
                <a:gd name="connsiteY18" fmla="*/ 63818 h 63817"/>
                <a:gd name="connsiteX19" fmla="*/ 46577 w 123348"/>
                <a:gd name="connsiteY19" fmla="*/ 62484 h 63817"/>
                <a:gd name="connsiteX20" fmla="*/ 46577 w 123348"/>
                <a:gd name="connsiteY20" fmla="*/ 58198 h 63817"/>
                <a:gd name="connsiteX21" fmla="*/ 52101 w 123348"/>
                <a:gd name="connsiteY21" fmla="*/ 57626 h 63817"/>
                <a:gd name="connsiteX22" fmla="*/ 50292 w 123348"/>
                <a:gd name="connsiteY22" fmla="*/ 48578 h 63817"/>
                <a:gd name="connsiteX23" fmla="*/ 55530 w 123348"/>
                <a:gd name="connsiteY23" fmla="*/ 45911 h 63817"/>
                <a:gd name="connsiteX24" fmla="*/ 61055 w 123348"/>
                <a:gd name="connsiteY24" fmla="*/ 48006 h 63817"/>
                <a:gd name="connsiteX25" fmla="*/ 65437 w 123348"/>
                <a:gd name="connsiteY25" fmla="*/ 41624 h 63817"/>
                <a:gd name="connsiteX26" fmla="*/ 71723 w 123348"/>
                <a:gd name="connsiteY26" fmla="*/ 45625 h 63817"/>
                <a:gd name="connsiteX27" fmla="*/ 82962 w 123348"/>
                <a:gd name="connsiteY27" fmla="*/ 35719 h 63817"/>
                <a:gd name="connsiteX28" fmla="*/ 83248 w 123348"/>
                <a:gd name="connsiteY28" fmla="*/ 30385 h 63817"/>
                <a:gd name="connsiteX29" fmla="*/ 90297 w 123348"/>
                <a:gd name="connsiteY29" fmla="*/ 25813 h 63817"/>
                <a:gd name="connsiteX30" fmla="*/ 96583 w 123348"/>
                <a:gd name="connsiteY30" fmla="*/ 29813 h 63817"/>
                <a:gd name="connsiteX31" fmla="*/ 107823 w 123348"/>
                <a:gd name="connsiteY31" fmla="*/ 27242 h 63817"/>
                <a:gd name="connsiteX32" fmla="*/ 114871 w 123348"/>
                <a:gd name="connsiteY32" fmla="*/ 21812 h 63817"/>
                <a:gd name="connsiteX33" fmla="*/ 123348 w 123348"/>
                <a:gd name="connsiteY33" fmla="*/ 22670 h 63817"/>
                <a:gd name="connsiteX34" fmla="*/ 104204 w 123348"/>
                <a:gd name="connsiteY34" fmla="*/ 8858 h 6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3348" h="63817">
                  <a:moveTo>
                    <a:pt x="104204" y="8858"/>
                  </a:moveTo>
                  <a:lnTo>
                    <a:pt x="76390" y="4858"/>
                  </a:lnTo>
                  <a:lnTo>
                    <a:pt x="66484" y="0"/>
                  </a:lnTo>
                  <a:lnTo>
                    <a:pt x="59531" y="7144"/>
                  </a:lnTo>
                  <a:lnTo>
                    <a:pt x="22574" y="8192"/>
                  </a:lnTo>
                  <a:lnTo>
                    <a:pt x="4000" y="21431"/>
                  </a:lnTo>
                  <a:lnTo>
                    <a:pt x="2762" y="25908"/>
                  </a:lnTo>
                  <a:lnTo>
                    <a:pt x="4572" y="31242"/>
                  </a:lnTo>
                  <a:lnTo>
                    <a:pt x="0" y="33052"/>
                  </a:lnTo>
                  <a:lnTo>
                    <a:pt x="0" y="33052"/>
                  </a:lnTo>
                  <a:lnTo>
                    <a:pt x="0" y="33052"/>
                  </a:lnTo>
                  <a:lnTo>
                    <a:pt x="12859" y="40577"/>
                  </a:lnTo>
                  <a:lnTo>
                    <a:pt x="17621" y="45911"/>
                  </a:lnTo>
                  <a:lnTo>
                    <a:pt x="23336" y="42672"/>
                  </a:lnTo>
                  <a:lnTo>
                    <a:pt x="32766" y="46196"/>
                  </a:lnTo>
                  <a:lnTo>
                    <a:pt x="30194" y="54483"/>
                  </a:lnTo>
                  <a:lnTo>
                    <a:pt x="30194" y="54483"/>
                  </a:lnTo>
                  <a:lnTo>
                    <a:pt x="30194" y="54388"/>
                  </a:lnTo>
                  <a:lnTo>
                    <a:pt x="40767" y="63818"/>
                  </a:lnTo>
                  <a:lnTo>
                    <a:pt x="46577" y="62484"/>
                  </a:lnTo>
                  <a:lnTo>
                    <a:pt x="46577" y="58198"/>
                  </a:lnTo>
                  <a:lnTo>
                    <a:pt x="52101" y="57626"/>
                  </a:lnTo>
                  <a:lnTo>
                    <a:pt x="50292" y="48578"/>
                  </a:lnTo>
                  <a:lnTo>
                    <a:pt x="55530" y="45911"/>
                  </a:lnTo>
                  <a:lnTo>
                    <a:pt x="61055" y="48006"/>
                  </a:lnTo>
                  <a:lnTo>
                    <a:pt x="65437" y="41624"/>
                  </a:lnTo>
                  <a:lnTo>
                    <a:pt x="71723" y="45625"/>
                  </a:lnTo>
                  <a:lnTo>
                    <a:pt x="82962" y="35719"/>
                  </a:lnTo>
                  <a:lnTo>
                    <a:pt x="83248" y="30385"/>
                  </a:lnTo>
                  <a:lnTo>
                    <a:pt x="90297" y="25813"/>
                  </a:lnTo>
                  <a:lnTo>
                    <a:pt x="96583" y="29813"/>
                  </a:lnTo>
                  <a:lnTo>
                    <a:pt x="107823" y="27242"/>
                  </a:lnTo>
                  <a:lnTo>
                    <a:pt x="114871" y="21812"/>
                  </a:lnTo>
                  <a:lnTo>
                    <a:pt x="123348" y="22670"/>
                  </a:lnTo>
                  <a:lnTo>
                    <a:pt x="104204" y="885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0" name="Freeform: Shape 2910">
              <a:extLst>
                <a:ext uri="{FF2B5EF4-FFF2-40B4-BE49-F238E27FC236}">
                  <a16:creationId xmlns:a16="http://schemas.microsoft.com/office/drawing/2014/main" id="{73CA2BCB-C47F-379D-6DDF-19CFB896BB8A}"/>
                </a:ext>
              </a:extLst>
            </p:cNvPr>
            <p:cNvSpPr/>
            <p:nvPr/>
          </p:nvSpPr>
          <p:spPr>
            <a:xfrm>
              <a:off x="7410069" y="4209986"/>
              <a:ext cx="57911" cy="38576"/>
            </a:xfrm>
            <a:custGeom>
              <a:avLst/>
              <a:gdLst>
                <a:gd name="connsiteX0" fmla="*/ 50768 w 57911"/>
                <a:gd name="connsiteY0" fmla="*/ 27051 h 38576"/>
                <a:gd name="connsiteX1" fmla="*/ 57912 w 57911"/>
                <a:gd name="connsiteY1" fmla="*/ 22193 h 38576"/>
                <a:gd name="connsiteX2" fmla="*/ 54102 w 57911"/>
                <a:gd name="connsiteY2" fmla="*/ 18288 h 38576"/>
                <a:gd name="connsiteX3" fmla="*/ 54102 w 57911"/>
                <a:gd name="connsiteY3" fmla="*/ 5048 h 38576"/>
                <a:gd name="connsiteX4" fmla="*/ 33338 w 57911"/>
                <a:gd name="connsiteY4" fmla="*/ 0 h 38576"/>
                <a:gd name="connsiteX5" fmla="*/ 20478 w 57911"/>
                <a:gd name="connsiteY5" fmla="*/ 4096 h 38576"/>
                <a:gd name="connsiteX6" fmla="*/ 42196 w 57911"/>
                <a:gd name="connsiteY6" fmla="*/ 28670 h 38576"/>
                <a:gd name="connsiteX7" fmla="*/ 17812 w 57911"/>
                <a:gd name="connsiteY7" fmla="*/ 27718 h 38576"/>
                <a:gd name="connsiteX8" fmla="*/ 4286 w 57911"/>
                <a:gd name="connsiteY8" fmla="*/ 26003 h 38576"/>
                <a:gd name="connsiteX9" fmla="*/ 0 w 57911"/>
                <a:gd name="connsiteY9" fmla="*/ 30766 h 38576"/>
                <a:gd name="connsiteX10" fmla="*/ 21812 w 57911"/>
                <a:gd name="connsiteY10" fmla="*/ 34099 h 38576"/>
                <a:gd name="connsiteX11" fmla="*/ 47815 w 57911"/>
                <a:gd name="connsiteY11" fmla="*/ 34766 h 38576"/>
                <a:gd name="connsiteX12" fmla="*/ 53435 w 57911"/>
                <a:gd name="connsiteY12" fmla="*/ 38576 h 38576"/>
                <a:gd name="connsiteX13" fmla="*/ 53435 w 57911"/>
                <a:gd name="connsiteY13" fmla="*/ 31432 h 38576"/>
                <a:gd name="connsiteX14" fmla="*/ 50768 w 57911"/>
                <a:gd name="connsiteY14" fmla="*/ 27051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911" h="38576">
                  <a:moveTo>
                    <a:pt x="50768" y="27051"/>
                  </a:moveTo>
                  <a:lnTo>
                    <a:pt x="57912" y="22193"/>
                  </a:lnTo>
                  <a:lnTo>
                    <a:pt x="54102" y="18288"/>
                  </a:lnTo>
                  <a:lnTo>
                    <a:pt x="54102" y="5048"/>
                  </a:lnTo>
                  <a:lnTo>
                    <a:pt x="33338" y="0"/>
                  </a:lnTo>
                  <a:lnTo>
                    <a:pt x="20478" y="4096"/>
                  </a:lnTo>
                  <a:lnTo>
                    <a:pt x="42196" y="28670"/>
                  </a:lnTo>
                  <a:lnTo>
                    <a:pt x="17812" y="27718"/>
                  </a:lnTo>
                  <a:lnTo>
                    <a:pt x="4286" y="26003"/>
                  </a:lnTo>
                  <a:lnTo>
                    <a:pt x="0" y="30766"/>
                  </a:lnTo>
                  <a:lnTo>
                    <a:pt x="21812" y="34099"/>
                  </a:lnTo>
                  <a:lnTo>
                    <a:pt x="47815" y="34766"/>
                  </a:lnTo>
                  <a:lnTo>
                    <a:pt x="53435" y="38576"/>
                  </a:lnTo>
                  <a:lnTo>
                    <a:pt x="53435" y="31432"/>
                  </a:lnTo>
                  <a:lnTo>
                    <a:pt x="50768" y="2705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1" name="Freeform: Shape 2911">
              <a:extLst>
                <a:ext uri="{FF2B5EF4-FFF2-40B4-BE49-F238E27FC236}">
                  <a16:creationId xmlns:a16="http://schemas.microsoft.com/office/drawing/2014/main" id="{9E244710-8C28-4997-6AF3-E5F113CC6874}"/>
                </a:ext>
              </a:extLst>
            </p:cNvPr>
            <p:cNvSpPr/>
            <p:nvPr/>
          </p:nvSpPr>
          <p:spPr>
            <a:xfrm>
              <a:off x="7058215" y="4253325"/>
              <a:ext cx="79724" cy="83534"/>
            </a:xfrm>
            <a:custGeom>
              <a:avLst/>
              <a:gdLst>
                <a:gd name="connsiteX0" fmla="*/ 61150 w 79724"/>
                <a:gd name="connsiteY0" fmla="*/ 55626 h 83534"/>
                <a:gd name="connsiteX1" fmla="*/ 79724 w 79724"/>
                <a:gd name="connsiteY1" fmla="*/ 42386 h 83534"/>
                <a:gd name="connsiteX2" fmla="*/ 74866 w 79724"/>
                <a:gd name="connsiteY2" fmla="*/ 38767 h 83534"/>
                <a:gd name="connsiteX3" fmla="*/ 74866 w 79724"/>
                <a:gd name="connsiteY3" fmla="*/ 38767 h 83534"/>
                <a:gd name="connsiteX4" fmla="*/ 61722 w 79724"/>
                <a:gd name="connsiteY4" fmla="*/ 38767 h 83534"/>
                <a:gd name="connsiteX5" fmla="*/ 61722 w 79724"/>
                <a:gd name="connsiteY5" fmla="*/ 0 h 83534"/>
                <a:gd name="connsiteX6" fmla="*/ 25051 w 79724"/>
                <a:gd name="connsiteY6" fmla="*/ 0 h 83534"/>
                <a:gd name="connsiteX7" fmla="*/ 25051 w 79724"/>
                <a:gd name="connsiteY7" fmla="*/ 11144 h 83534"/>
                <a:gd name="connsiteX8" fmla="*/ 15240 w 79724"/>
                <a:gd name="connsiteY8" fmla="*/ 11335 h 83534"/>
                <a:gd name="connsiteX9" fmla="*/ 29146 w 79724"/>
                <a:gd name="connsiteY9" fmla="*/ 20288 h 83534"/>
                <a:gd name="connsiteX10" fmla="*/ 31528 w 79724"/>
                <a:gd name="connsiteY10" fmla="*/ 25622 h 83534"/>
                <a:gd name="connsiteX11" fmla="*/ 36195 w 79724"/>
                <a:gd name="connsiteY11" fmla="*/ 28004 h 83534"/>
                <a:gd name="connsiteX12" fmla="*/ 36195 w 79724"/>
                <a:gd name="connsiteY12" fmla="*/ 34862 h 83534"/>
                <a:gd name="connsiteX13" fmla="*/ 9810 w 79724"/>
                <a:gd name="connsiteY13" fmla="*/ 34862 h 83534"/>
                <a:gd name="connsiteX14" fmla="*/ 0 w 79724"/>
                <a:gd name="connsiteY14" fmla="*/ 51435 h 83534"/>
                <a:gd name="connsiteX15" fmla="*/ 4191 w 79724"/>
                <a:gd name="connsiteY15" fmla="*/ 55626 h 83534"/>
                <a:gd name="connsiteX16" fmla="*/ 857 w 79724"/>
                <a:gd name="connsiteY16" fmla="*/ 63722 h 83534"/>
                <a:gd name="connsiteX17" fmla="*/ 17050 w 79724"/>
                <a:gd name="connsiteY17" fmla="*/ 77534 h 83534"/>
                <a:gd name="connsiteX18" fmla="*/ 39052 w 79724"/>
                <a:gd name="connsiteY18" fmla="*/ 83534 h 83534"/>
                <a:gd name="connsiteX19" fmla="*/ 39052 w 79724"/>
                <a:gd name="connsiteY19" fmla="*/ 83534 h 83534"/>
                <a:gd name="connsiteX20" fmla="*/ 46672 w 79724"/>
                <a:gd name="connsiteY20" fmla="*/ 75152 h 83534"/>
                <a:gd name="connsiteX21" fmla="*/ 53149 w 79724"/>
                <a:gd name="connsiteY21" fmla="*/ 75152 h 83534"/>
                <a:gd name="connsiteX22" fmla="*/ 52673 w 79724"/>
                <a:gd name="connsiteY22" fmla="*/ 69056 h 83534"/>
                <a:gd name="connsiteX23" fmla="*/ 57150 w 79724"/>
                <a:gd name="connsiteY23" fmla="*/ 67246 h 83534"/>
                <a:gd name="connsiteX24" fmla="*/ 61722 w 79724"/>
                <a:gd name="connsiteY24" fmla="*/ 65437 h 83534"/>
                <a:gd name="connsiteX25" fmla="*/ 59912 w 79724"/>
                <a:gd name="connsiteY25" fmla="*/ 60103 h 83534"/>
                <a:gd name="connsiteX26" fmla="*/ 61150 w 79724"/>
                <a:gd name="connsiteY26" fmla="*/ 55626 h 8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724" h="83534">
                  <a:moveTo>
                    <a:pt x="61150" y="55626"/>
                  </a:moveTo>
                  <a:lnTo>
                    <a:pt x="79724" y="42386"/>
                  </a:lnTo>
                  <a:lnTo>
                    <a:pt x="74866" y="38767"/>
                  </a:lnTo>
                  <a:lnTo>
                    <a:pt x="74866" y="38767"/>
                  </a:lnTo>
                  <a:lnTo>
                    <a:pt x="61722" y="38767"/>
                  </a:lnTo>
                  <a:lnTo>
                    <a:pt x="61722" y="0"/>
                  </a:lnTo>
                  <a:lnTo>
                    <a:pt x="25051" y="0"/>
                  </a:lnTo>
                  <a:lnTo>
                    <a:pt x="25051" y="11144"/>
                  </a:lnTo>
                  <a:lnTo>
                    <a:pt x="15240" y="11335"/>
                  </a:lnTo>
                  <a:lnTo>
                    <a:pt x="29146" y="20288"/>
                  </a:lnTo>
                  <a:lnTo>
                    <a:pt x="31528" y="25622"/>
                  </a:lnTo>
                  <a:lnTo>
                    <a:pt x="36195" y="28004"/>
                  </a:lnTo>
                  <a:lnTo>
                    <a:pt x="36195" y="34862"/>
                  </a:lnTo>
                  <a:lnTo>
                    <a:pt x="9810" y="34862"/>
                  </a:lnTo>
                  <a:lnTo>
                    <a:pt x="0" y="51435"/>
                  </a:lnTo>
                  <a:lnTo>
                    <a:pt x="4191" y="55626"/>
                  </a:lnTo>
                  <a:lnTo>
                    <a:pt x="857" y="63722"/>
                  </a:lnTo>
                  <a:lnTo>
                    <a:pt x="17050" y="77534"/>
                  </a:lnTo>
                  <a:lnTo>
                    <a:pt x="39052" y="83534"/>
                  </a:lnTo>
                  <a:lnTo>
                    <a:pt x="39052" y="83534"/>
                  </a:lnTo>
                  <a:lnTo>
                    <a:pt x="46672" y="75152"/>
                  </a:lnTo>
                  <a:lnTo>
                    <a:pt x="53149" y="75152"/>
                  </a:lnTo>
                  <a:lnTo>
                    <a:pt x="52673" y="69056"/>
                  </a:lnTo>
                  <a:lnTo>
                    <a:pt x="57150" y="67246"/>
                  </a:lnTo>
                  <a:lnTo>
                    <a:pt x="61722" y="65437"/>
                  </a:lnTo>
                  <a:lnTo>
                    <a:pt x="59912" y="60103"/>
                  </a:lnTo>
                  <a:lnTo>
                    <a:pt x="61150" y="5562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2" name="Freeform: Shape 2912">
              <a:extLst>
                <a:ext uri="{FF2B5EF4-FFF2-40B4-BE49-F238E27FC236}">
                  <a16:creationId xmlns:a16="http://schemas.microsoft.com/office/drawing/2014/main" id="{003B4C42-80C9-BA0F-BB82-28A50AB6FC03}"/>
                </a:ext>
              </a:extLst>
            </p:cNvPr>
            <p:cNvSpPr/>
            <p:nvPr/>
          </p:nvSpPr>
          <p:spPr>
            <a:xfrm>
              <a:off x="7939658" y="2392426"/>
              <a:ext cx="46958" cy="26670"/>
            </a:xfrm>
            <a:custGeom>
              <a:avLst/>
              <a:gdLst>
                <a:gd name="connsiteX0" fmla="*/ 46958 w 46958"/>
                <a:gd name="connsiteY0" fmla="*/ 26670 h 26670"/>
                <a:gd name="connsiteX1" fmla="*/ 17240 w 46958"/>
                <a:gd name="connsiteY1" fmla="*/ 16002 h 26670"/>
                <a:gd name="connsiteX2" fmla="*/ 0 w 46958"/>
                <a:gd name="connsiteY2" fmla="*/ 1810 h 26670"/>
                <a:gd name="connsiteX3" fmla="*/ 31718 w 46958"/>
                <a:gd name="connsiteY3" fmla="*/ 0 h 26670"/>
                <a:gd name="connsiteX4" fmla="*/ 46958 w 46958"/>
                <a:gd name="connsiteY4" fmla="*/ 26670 h 26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26670">
                  <a:moveTo>
                    <a:pt x="46958" y="26670"/>
                  </a:moveTo>
                  <a:lnTo>
                    <a:pt x="17240" y="16002"/>
                  </a:lnTo>
                  <a:lnTo>
                    <a:pt x="0" y="1810"/>
                  </a:lnTo>
                  <a:lnTo>
                    <a:pt x="31718" y="0"/>
                  </a:lnTo>
                  <a:lnTo>
                    <a:pt x="46958" y="2667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3" name="Freeform: Shape 2913">
              <a:extLst>
                <a:ext uri="{FF2B5EF4-FFF2-40B4-BE49-F238E27FC236}">
                  <a16:creationId xmlns:a16="http://schemas.microsoft.com/office/drawing/2014/main" id="{EC435EBF-4776-79C9-29F6-503B512B05D3}"/>
                </a:ext>
              </a:extLst>
            </p:cNvPr>
            <p:cNvSpPr/>
            <p:nvPr/>
          </p:nvSpPr>
          <p:spPr>
            <a:xfrm>
              <a:off x="7831359" y="2400712"/>
              <a:ext cx="35718" cy="19621"/>
            </a:xfrm>
            <a:custGeom>
              <a:avLst/>
              <a:gdLst>
                <a:gd name="connsiteX0" fmla="*/ 30099 w 35718"/>
                <a:gd name="connsiteY0" fmla="*/ 19621 h 19621"/>
                <a:gd name="connsiteX1" fmla="*/ 30099 w 35718"/>
                <a:gd name="connsiteY1" fmla="*/ 19621 h 19621"/>
                <a:gd name="connsiteX2" fmla="*/ 0 w 35718"/>
                <a:gd name="connsiteY2" fmla="*/ 11621 h 19621"/>
                <a:gd name="connsiteX3" fmla="*/ 3620 w 35718"/>
                <a:gd name="connsiteY3" fmla="*/ 0 h 19621"/>
                <a:gd name="connsiteX4" fmla="*/ 35719 w 35718"/>
                <a:gd name="connsiteY4" fmla="*/ 15145 h 19621"/>
                <a:gd name="connsiteX5" fmla="*/ 30099 w 35718"/>
                <a:gd name="connsiteY5" fmla="*/ 19621 h 1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 h="19621">
                  <a:moveTo>
                    <a:pt x="30099" y="19621"/>
                  </a:moveTo>
                  <a:lnTo>
                    <a:pt x="30099" y="19621"/>
                  </a:lnTo>
                  <a:lnTo>
                    <a:pt x="0" y="11621"/>
                  </a:lnTo>
                  <a:lnTo>
                    <a:pt x="3620" y="0"/>
                  </a:lnTo>
                  <a:lnTo>
                    <a:pt x="35719" y="15145"/>
                  </a:lnTo>
                  <a:lnTo>
                    <a:pt x="30099" y="1962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4" name="Freeform: Shape 2914">
              <a:extLst>
                <a:ext uri="{FF2B5EF4-FFF2-40B4-BE49-F238E27FC236}">
                  <a16:creationId xmlns:a16="http://schemas.microsoft.com/office/drawing/2014/main" id="{03B72404-66E8-2957-06D1-21916806960A}"/>
                </a:ext>
              </a:extLst>
            </p:cNvPr>
            <p:cNvSpPr/>
            <p:nvPr/>
          </p:nvSpPr>
          <p:spPr>
            <a:xfrm>
              <a:off x="7447978" y="2627979"/>
              <a:ext cx="32003" cy="16573"/>
            </a:xfrm>
            <a:custGeom>
              <a:avLst/>
              <a:gdLst>
                <a:gd name="connsiteX0" fmla="*/ 7811 w 32003"/>
                <a:gd name="connsiteY0" fmla="*/ 0 h 16573"/>
                <a:gd name="connsiteX1" fmla="*/ 32004 w 32003"/>
                <a:gd name="connsiteY1" fmla="*/ 3048 h 16573"/>
                <a:gd name="connsiteX2" fmla="*/ 12668 w 32003"/>
                <a:gd name="connsiteY2" fmla="*/ 16574 h 16573"/>
                <a:gd name="connsiteX3" fmla="*/ 0 w 32003"/>
                <a:gd name="connsiteY3" fmla="*/ 10001 h 16573"/>
                <a:gd name="connsiteX4" fmla="*/ 7811 w 32003"/>
                <a:gd name="connsiteY4" fmla="*/ 0 h 16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03" h="16573">
                  <a:moveTo>
                    <a:pt x="7811" y="0"/>
                  </a:moveTo>
                  <a:lnTo>
                    <a:pt x="32004" y="3048"/>
                  </a:lnTo>
                  <a:lnTo>
                    <a:pt x="12668" y="16574"/>
                  </a:lnTo>
                  <a:lnTo>
                    <a:pt x="0" y="10001"/>
                  </a:lnTo>
                  <a:lnTo>
                    <a:pt x="7811"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5" name="Freeform: Shape 2915">
              <a:extLst>
                <a:ext uri="{FF2B5EF4-FFF2-40B4-BE49-F238E27FC236}">
                  <a16:creationId xmlns:a16="http://schemas.microsoft.com/office/drawing/2014/main" id="{9A362A1B-2CFB-E8B8-CF83-2FA6E45B47AC}"/>
                </a:ext>
              </a:extLst>
            </p:cNvPr>
            <p:cNvSpPr/>
            <p:nvPr/>
          </p:nvSpPr>
          <p:spPr>
            <a:xfrm>
              <a:off x="7438453" y="2341752"/>
              <a:ext cx="1206531" cy="910970"/>
            </a:xfrm>
            <a:custGeom>
              <a:avLst/>
              <a:gdLst>
                <a:gd name="connsiteX0" fmla="*/ 710279 w 1206531"/>
                <a:gd name="connsiteY0" fmla="*/ 726853 h 910970"/>
                <a:gd name="connsiteX1" fmla="*/ 697325 w 1206531"/>
                <a:gd name="connsiteY1" fmla="*/ 723138 h 910970"/>
                <a:gd name="connsiteX2" fmla="*/ 710565 w 1206531"/>
                <a:gd name="connsiteY2" fmla="*/ 708565 h 910970"/>
                <a:gd name="connsiteX3" fmla="*/ 697325 w 1206531"/>
                <a:gd name="connsiteY3" fmla="*/ 704850 h 910970"/>
                <a:gd name="connsiteX4" fmla="*/ 684848 w 1206531"/>
                <a:gd name="connsiteY4" fmla="*/ 718852 h 910970"/>
                <a:gd name="connsiteX5" fmla="*/ 687038 w 1206531"/>
                <a:gd name="connsiteY5" fmla="*/ 734473 h 910970"/>
                <a:gd name="connsiteX6" fmla="*/ 667608 w 1206531"/>
                <a:gd name="connsiteY6" fmla="*/ 727424 h 910970"/>
                <a:gd name="connsiteX7" fmla="*/ 632650 w 1206531"/>
                <a:gd name="connsiteY7" fmla="*/ 747808 h 910970"/>
                <a:gd name="connsiteX8" fmla="*/ 648272 w 1206531"/>
                <a:gd name="connsiteY8" fmla="*/ 765905 h 910970"/>
                <a:gd name="connsiteX9" fmla="*/ 628174 w 1206531"/>
                <a:gd name="connsiteY9" fmla="*/ 764286 h 910970"/>
                <a:gd name="connsiteX10" fmla="*/ 643509 w 1206531"/>
                <a:gd name="connsiteY10" fmla="*/ 780098 h 910970"/>
                <a:gd name="connsiteX11" fmla="*/ 644557 w 1206531"/>
                <a:gd name="connsiteY11" fmla="*/ 793528 h 910970"/>
                <a:gd name="connsiteX12" fmla="*/ 625411 w 1206531"/>
                <a:gd name="connsiteY12" fmla="*/ 788099 h 910970"/>
                <a:gd name="connsiteX13" fmla="*/ 630364 w 1206531"/>
                <a:gd name="connsiteY13" fmla="*/ 803148 h 910970"/>
                <a:gd name="connsiteX14" fmla="*/ 617125 w 1206531"/>
                <a:gd name="connsiteY14" fmla="*/ 800957 h 910970"/>
                <a:gd name="connsiteX15" fmla="*/ 592360 w 1206531"/>
                <a:gd name="connsiteY15" fmla="*/ 824103 h 910970"/>
                <a:gd name="connsiteX16" fmla="*/ 610172 w 1206531"/>
                <a:gd name="connsiteY16" fmla="*/ 857441 h 910970"/>
                <a:gd name="connsiteX17" fmla="*/ 593407 w 1206531"/>
                <a:gd name="connsiteY17" fmla="*/ 910019 h 910970"/>
                <a:gd name="connsiteX18" fmla="*/ 553402 w 1206531"/>
                <a:gd name="connsiteY18" fmla="*/ 910971 h 910970"/>
                <a:gd name="connsiteX19" fmla="*/ 551402 w 1206531"/>
                <a:gd name="connsiteY19" fmla="*/ 874109 h 910970"/>
                <a:gd name="connsiteX20" fmla="*/ 535210 w 1206531"/>
                <a:gd name="connsiteY20" fmla="*/ 883253 h 910970"/>
                <a:gd name="connsiteX21" fmla="*/ 539877 w 1206531"/>
                <a:gd name="connsiteY21" fmla="*/ 869823 h 910970"/>
                <a:gd name="connsiteX22" fmla="*/ 519017 w 1206531"/>
                <a:gd name="connsiteY22" fmla="*/ 886968 h 910970"/>
                <a:gd name="connsiteX23" fmla="*/ 491680 w 1206531"/>
                <a:gd name="connsiteY23" fmla="*/ 886397 h 910970"/>
                <a:gd name="connsiteX24" fmla="*/ 505396 w 1206531"/>
                <a:gd name="connsiteY24" fmla="*/ 871728 h 910970"/>
                <a:gd name="connsiteX25" fmla="*/ 482155 w 1206531"/>
                <a:gd name="connsiteY25" fmla="*/ 870966 h 910970"/>
                <a:gd name="connsiteX26" fmla="*/ 486346 w 1206531"/>
                <a:gd name="connsiteY26" fmla="*/ 852583 h 910970"/>
                <a:gd name="connsiteX27" fmla="*/ 473393 w 1206531"/>
                <a:gd name="connsiteY27" fmla="*/ 863346 h 910970"/>
                <a:gd name="connsiteX28" fmla="*/ 476155 w 1206531"/>
                <a:gd name="connsiteY28" fmla="*/ 841820 h 910970"/>
                <a:gd name="connsiteX29" fmla="*/ 463296 w 1206531"/>
                <a:gd name="connsiteY29" fmla="*/ 848297 h 910970"/>
                <a:gd name="connsiteX30" fmla="*/ 447389 w 1206531"/>
                <a:gd name="connsiteY30" fmla="*/ 803720 h 910970"/>
                <a:gd name="connsiteX31" fmla="*/ 433578 w 1206531"/>
                <a:gd name="connsiteY31" fmla="*/ 803720 h 910970"/>
                <a:gd name="connsiteX32" fmla="*/ 446723 w 1206531"/>
                <a:gd name="connsiteY32" fmla="*/ 794576 h 910970"/>
                <a:gd name="connsiteX33" fmla="*/ 456629 w 1206531"/>
                <a:gd name="connsiteY33" fmla="*/ 755904 h 910970"/>
                <a:gd name="connsiteX34" fmla="*/ 445389 w 1206531"/>
                <a:gd name="connsiteY34" fmla="*/ 759047 h 910970"/>
                <a:gd name="connsiteX35" fmla="*/ 437198 w 1206531"/>
                <a:gd name="connsiteY35" fmla="*/ 744569 h 910970"/>
                <a:gd name="connsiteX36" fmla="*/ 417004 w 1206531"/>
                <a:gd name="connsiteY36" fmla="*/ 777335 h 910970"/>
                <a:gd name="connsiteX37" fmla="*/ 409956 w 1206531"/>
                <a:gd name="connsiteY37" fmla="*/ 751237 h 910970"/>
                <a:gd name="connsiteX38" fmla="*/ 423291 w 1206531"/>
                <a:gd name="connsiteY38" fmla="*/ 728948 h 910970"/>
                <a:gd name="connsiteX39" fmla="*/ 403098 w 1206531"/>
                <a:gd name="connsiteY39" fmla="*/ 735140 h 910970"/>
                <a:gd name="connsiteX40" fmla="*/ 387953 w 1206531"/>
                <a:gd name="connsiteY40" fmla="*/ 719900 h 910970"/>
                <a:gd name="connsiteX41" fmla="*/ 431482 w 1206531"/>
                <a:gd name="connsiteY41" fmla="*/ 699040 h 910970"/>
                <a:gd name="connsiteX42" fmla="*/ 450247 w 1206531"/>
                <a:gd name="connsiteY42" fmla="*/ 693611 h 910970"/>
                <a:gd name="connsiteX43" fmla="*/ 426625 w 1206531"/>
                <a:gd name="connsiteY43" fmla="*/ 692658 h 910970"/>
                <a:gd name="connsiteX44" fmla="*/ 384715 w 1206531"/>
                <a:gd name="connsiteY44" fmla="*/ 705517 h 910970"/>
                <a:gd name="connsiteX45" fmla="*/ 378047 w 1206531"/>
                <a:gd name="connsiteY45" fmla="*/ 684943 h 910970"/>
                <a:gd name="connsiteX46" fmla="*/ 420338 w 1206531"/>
                <a:gd name="connsiteY46" fmla="*/ 683705 h 910970"/>
                <a:gd name="connsiteX47" fmla="*/ 408908 w 1206531"/>
                <a:gd name="connsiteY47" fmla="*/ 668560 h 910970"/>
                <a:gd name="connsiteX48" fmla="*/ 452723 w 1206531"/>
                <a:gd name="connsiteY48" fmla="*/ 672084 h 910970"/>
                <a:gd name="connsiteX49" fmla="*/ 437483 w 1206531"/>
                <a:gd name="connsiteY49" fmla="*/ 658082 h 910970"/>
                <a:gd name="connsiteX50" fmla="*/ 387572 w 1206531"/>
                <a:gd name="connsiteY50" fmla="*/ 662369 h 910970"/>
                <a:gd name="connsiteX51" fmla="*/ 440436 w 1206531"/>
                <a:gd name="connsiteY51" fmla="*/ 638747 h 910970"/>
                <a:gd name="connsiteX52" fmla="*/ 395859 w 1206531"/>
                <a:gd name="connsiteY52" fmla="*/ 637223 h 910970"/>
                <a:gd name="connsiteX53" fmla="*/ 413575 w 1206531"/>
                <a:gd name="connsiteY53" fmla="*/ 621506 h 910970"/>
                <a:gd name="connsiteX54" fmla="*/ 443484 w 1206531"/>
                <a:gd name="connsiteY54" fmla="*/ 627983 h 910970"/>
                <a:gd name="connsiteX55" fmla="*/ 452342 w 1206531"/>
                <a:gd name="connsiteY55" fmla="*/ 589788 h 910970"/>
                <a:gd name="connsiteX56" fmla="*/ 410718 w 1206531"/>
                <a:gd name="connsiteY56" fmla="*/ 588740 h 910970"/>
                <a:gd name="connsiteX57" fmla="*/ 364903 w 1206531"/>
                <a:gd name="connsiteY57" fmla="*/ 564261 h 910970"/>
                <a:gd name="connsiteX58" fmla="*/ 374428 w 1206531"/>
                <a:gd name="connsiteY58" fmla="*/ 556927 h 910970"/>
                <a:gd name="connsiteX59" fmla="*/ 408146 w 1206531"/>
                <a:gd name="connsiteY59" fmla="*/ 562261 h 910970"/>
                <a:gd name="connsiteX60" fmla="*/ 442722 w 1206531"/>
                <a:gd name="connsiteY60" fmla="*/ 579311 h 910970"/>
                <a:gd name="connsiteX61" fmla="*/ 447104 w 1206531"/>
                <a:gd name="connsiteY61" fmla="*/ 569500 h 910970"/>
                <a:gd name="connsiteX62" fmla="*/ 428244 w 1206531"/>
                <a:gd name="connsiteY62" fmla="*/ 560261 h 910970"/>
                <a:gd name="connsiteX63" fmla="*/ 437483 w 1206531"/>
                <a:gd name="connsiteY63" fmla="*/ 551688 h 910970"/>
                <a:gd name="connsiteX64" fmla="*/ 412052 w 1206531"/>
                <a:gd name="connsiteY64" fmla="*/ 545687 h 910970"/>
                <a:gd name="connsiteX65" fmla="*/ 429959 w 1206531"/>
                <a:gd name="connsiteY65" fmla="*/ 531114 h 910970"/>
                <a:gd name="connsiteX66" fmla="*/ 397573 w 1206531"/>
                <a:gd name="connsiteY66" fmla="*/ 533781 h 910970"/>
                <a:gd name="connsiteX67" fmla="*/ 388811 w 1206531"/>
                <a:gd name="connsiteY67" fmla="*/ 501301 h 910970"/>
                <a:gd name="connsiteX68" fmla="*/ 386429 w 1206531"/>
                <a:gd name="connsiteY68" fmla="*/ 520922 h 910970"/>
                <a:gd name="connsiteX69" fmla="*/ 379095 w 1206531"/>
                <a:gd name="connsiteY69" fmla="*/ 532448 h 910970"/>
                <a:gd name="connsiteX70" fmla="*/ 351282 w 1206531"/>
                <a:gd name="connsiteY70" fmla="*/ 535115 h 910970"/>
                <a:gd name="connsiteX71" fmla="*/ 339757 w 1206531"/>
                <a:gd name="connsiteY71" fmla="*/ 523208 h 910970"/>
                <a:gd name="connsiteX72" fmla="*/ 352616 w 1206531"/>
                <a:gd name="connsiteY72" fmla="*/ 519875 h 910970"/>
                <a:gd name="connsiteX73" fmla="*/ 360712 w 1206531"/>
                <a:gd name="connsiteY73" fmla="*/ 509873 h 910970"/>
                <a:gd name="connsiteX74" fmla="*/ 347567 w 1206531"/>
                <a:gd name="connsiteY74" fmla="*/ 501301 h 910970"/>
                <a:gd name="connsiteX75" fmla="*/ 362998 w 1206531"/>
                <a:gd name="connsiteY75" fmla="*/ 489871 h 910970"/>
                <a:gd name="connsiteX76" fmla="*/ 343376 w 1206531"/>
                <a:gd name="connsiteY76" fmla="*/ 479584 h 910970"/>
                <a:gd name="connsiteX77" fmla="*/ 355949 w 1206531"/>
                <a:gd name="connsiteY77" fmla="*/ 456343 h 910970"/>
                <a:gd name="connsiteX78" fmla="*/ 336137 w 1206531"/>
                <a:gd name="connsiteY78" fmla="*/ 445103 h 910970"/>
                <a:gd name="connsiteX79" fmla="*/ 333851 w 1206531"/>
                <a:gd name="connsiteY79" fmla="*/ 409385 h 910970"/>
                <a:gd name="connsiteX80" fmla="*/ 284321 w 1206531"/>
                <a:gd name="connsiteY80" fmla="*/ 377666 h 910970"/>
                <a:gd name="connsiteX81" fmla="*/ 290226 w 1206531"/>
                <a:gd name="connsiteY81" fmla="*/ 363093 h 910970"/>
                <a:gd name="connsiteX82" fmla="*/ 241745 w 1206531"/>
                <a:gd name="connsiteY82" fmla="*/ 345948 h 910970"/>
                <a:gd name="connsiteX83" fmla="*/ 172308 w 1206531"/>
                <a:gd name="connsiteY83" fmla="*/ 337947 h 910970"/>
                <a:gd name="connsiteX84" fmla="*/ 149923 w 1206531"/>
                <a:gd name="connsiteY84" fmla="*/ 351187 h 910970"/>
                <a:gd name="connsiteX85" fmla="*/ 145923 w 1206531"/>
                <a:gd name="connsiteY85" fmla="*/ 341281 h 910970"/>
                <a:gd name="connsiteX86" fmla="*/ 130397 w 1206531"/>
                <a:gd name="connsiteY86" fmla="*/ 348520 h 910970"/>
                <a:gd name="connsiteX87" fmla="*/ 119158 w 1206531"/>
                <a:gd name="connsiteY87" fmla="*/ 341281 h 910970"/>
                <a:gd name="connsiteX88" fmla="*/ 90107 w 1206531"/>
                <a:gd name="connsiteY88" fmla="*/ 348520 h 910970"/>
                <a:gd name="connsiteX89" fmla="*/ 68009 w 1206531"/>
                <a:gd name="connsiteY89" fmla="*/ 335280 h 910970"/>
                <a:gd name="connsiteX90" fmla="*/ 98107 w 1206531"/>
                <a:gd name="connsiteY90" fmla="*/ 324041 h 910970"/>
                <a:gd name="connsiteX91" fmla="*/ 60389 w 1206531"/>
                <a:gd name="connsiteY91" fmla="*/ 321469 h 910970"/>
                <a:gd name="connsiteX92" fmla="*/ 33338 w 1206531"/>
                <a:gd name="connsiteY92" fmla="*/ 310134 h 910970"/>
                <a:gd name="connsiteX93" fmla="*/ 57435 w 1206531"/>
                <a:gd name="connsiteY93" fmla="*/ 302895 h 910970"/>
                <a:gd name="connsiteX94" fmla="*/ 131731 w 1206531"/>
                <a:gd name="connsiteY94" fmla="*/ 308134 h 910970"/>
                <a:gd name="connsiteX95" fmla="*/ 138303 w 1206531"/>
                <a:gd name="connsiteY95" fmla="*/ 292322 h 910970"/>
                <a:gd name="connsiteX96" fmla="*/ 126492 w 1206531"/>
                <a:gd name="connsiteY96" fmla="*/ 283750 h 910970"/>
                <a:gd name="connsiteX97" fmla="*/ 76581 w 1206531"/>
                <a:gd name="connsiteY97" fmla="*/ 294323 h 910970"/>
                <a:gd name="connsiteX98" fmla="*/ 55436 w 1206531"/>
                <a:gd name="connsiteY98" fmla="*/ 290322 h 910970"/>
                <a:gd name="connsiteX99" fmla="*/ 70675 w 1206531"/>
                <a:gd name="connsiteY99" fmla="*/ 282416 h 910970"/>
                <a:gd name="connsiteX100" fmla="*/ 0 w 1206531"/>
                <a:gd name="connsiteY100" fmla="*/ 266510 h 910970"/>
                <a:gd name="connsiteX101" fmla="*/ 8191 w 1206531"/>
                <a:gd name="connsiteY101" fmla="*/ 252603 h 910970"/>
                <a:gd name="connsiteX102" fmla="*/ 84487 w 1206531"/>
                <a:gd name="connsiteY102" fmla="*/ 239363 h 910970"/>
                <a:gd name="connsiteX103" fmla="*/ 77724 w 1206531"/>
                <a:gd name="connsiteY103" fmla="*/ 226219 h 910970"/>
                <a:gd name="connsiteX104" fmla="*/ 143637 w 1206531"/>
                <a:gd name="connsiteY104" fmla="*/ 227457 h 910970"/>
                <a:gd name="connsiteX105" fmla="*/ 183547 w 1206531"/>
                <a:gd name="connsiteY105" fmla="*/ 184975 h 910970"/>
                <a:gd name="connsiteX106" fmla="*/ 153829 w 1206531"/>
                <a:gd name="connsiteY106" fmla="*/ 187547 h 910970"/>
                <a:gd name="connsiteX107" fmla="*/ 118872 w 1206531"/>
                <a:gd name="connsiteY107" fmla="*/ 191071 h 910970"/>
                <a:gd name="connsiteX108" fmla="*/ 110300 w 1206531"/>
                <a:gd name="connsiteY108" fmla="*/ 175165 h 910970"/>
                <a:gd name="connsiteX109" fmla="*/ 184309 w 1206531"/>
                <a:gd name="connsiteY109" fmla="*/ 132302 h 910970"/>
                <a:gd name="connsiteX110" fmla="*/ 199834 w 1206531"/>
                <a:gd name="connsiteY110" fmla="*/ 153543 h 910970"/>
                <a:gd name="connsiteX111" fmla="*/ 192881 w 1206531"/>
                <a:gd name="connsiteY111" fmla="*/ 130969 h 910970"/>
                <a:gd name="connsiteX112" fmla="*/ 202406 w 1206531"/>
                <a:gd name="connsiteY112" fmla="*/ 127159 h 910970"/>
                <a:gd name="connsiteX113" fmla="*/ 237744 w 1206531"/>
                <a:gd name="connsiteY113" fmla="*/ 133350 h 910970"/>
                <a:gd name="connsiteX114" fmla="*/ 255841 w 1206531"/>
                <a:gd name="connsiteY114" fmla="*/ 89821 h 910970"/>
                <a:gd name="connsiteX115" fmla="*/ 277844 w 1206531"/>
                <a:gd name="connsiteY115" fmla="*/ 125063 h 910970"/>
                <a:gd name="connsiteX116" fmla="*/ 329375 w 1206531"/>
                <a:gd name="connsiteY116" fmla="*/ 124301 h 910970"/>
                <a:gd name="connsiteX117" fmla="*/ 280988 w 1206531"/>
                <a:gd name="connsiteY117" fmla="*/ 105632 h 910970"/>
                <a:gd name="connsiteX118" fmla="*/ 277368 w 1206531"/>
                <a:gd name="connsiteY118" fmla="*/ 86106 h 910970"/>
                <a:gd name="connsiteX119" fmla="*/ 368522 w 1206531"/>
                <a:gd name="connsiteY119" fmla="*/ 66675 h 910970"/>
                <a:gd name="connsiteX120" fmla="*/ 384715 w 1206531"/>
                <a:gd name="connsiteY120" fmla="*/ 112014 h 910970"/>
                <a:gd name="connsiteX121" fmla="*/ 399193 w 1206531"/>
                <a:gd name="connsiteY121" fmla="*/ 84487 h 910970"/>
                <a:gd name="connsiteX122" fmla="*/ 428149 w 1206531"/>
                <a:gd name="connsiteY122" fmla="*/ 91345 h 910970"/>
                <a:gd name="connsiteX123" fmla="*/ 436245 w 1206531"/>
                <a:gd name="connsiteY123" fmla="*/ 103346 h 910970"/>
                <a:gd name="connsiteX124" fmla="*/ 438626 w 1206531"/>
                <a:gd name="connsiteY124" fmla="*/ 90297 h 910970"/>
                <a:gd name="connsiteX125" fmla="*/ 467868 w 1206531"/>
                <a:gd name="connsiteY125" fmla="*/ 90678 h 910970"/>
                <a:gd name="connsiteX126" fmla="*/ 434530 w 1206531"/>
                <a:gd name="connsiteY126" fmla="*/ 60484 h 910970"/>
                <a:gd name="connsiteX127" fmla="*/ 476441 w 1206531"/>
                <a:gd name="connsiteY127" fmla="*/ 62198 h 910970"/>
                <a:gd name="connsiteX128" fmla="*/ 504254 w 1206531"/>
                <a:gd name="connsiteY128" fmla="*/ 77343 h 910970"/>
                <a:gd name="connsiteX129" fmla="*/ 527971 w 1206531"/>
                <a:gd name="connsiteY129" fmla="*/ 80867 h 910970"/>
                <a:gd name="connsiteX130" fmla="*/ 563023 w 1206531"/>
                <a:gd name="connsiteY130" fmla="*/ 99536 h 910970"/>
                <a:gd name="connsiteX131" fmla="*/ 548259 w 1206531"/>
                <a:gd name="connsiteY131" fmla="*/ 56960 h 910970"/>
                <a:gd name="connsiteX132" fmla="*/ 613029 w 1206531"/>
                <a:gd name="connsiteY132" fmla="*/ 58007 h 910970"/>
                <a:gd name="connsiteX133" fmla="*/ 620935 w 1206531"/>
                <a:gd name="connsiteY133" fmla="*/ 72200 h 910970"/>
                <a:gd name="connsiteX134" fmla="*/ 623602 w 1206531"/>
                <a:gd name="connsiteY134" fmla="*/ 58865 h 910970"/>
                <a:gd name="connsiteX135" fmla="*/ 657797 w 1206531"/>
                <a:gd name="connsiteY135" fmla="*/ 66675 h 910970"/>
                <a:gd name="connsiteX136" fmla="*/ 648462 w 1206531"/>
                <a:gd name="connsiteY136" fmla="*/ 49149 h 910970"/>
                <a:gd name="connsiteX137" fmla="*/ 612553 w 1206531"/>
                <a:gd name="connsiteY137" fmla="*/ 40862 h 910970"/>
                <a:gd name="connsiteX138" fmla="*/ 534924 w 1206531"/>
                <a:gd name="connsiteY138" fmla="*/ 40862 h 910970"/>
                <a:gd name="connsiteX139" fmla="*/ 522351 w 1206531"/>
                <a:gd name="connsiteY139" fmla="*/ 32004 h 910970"/>
                <a:gd name="connsiteX140" fmla="*/ 537877 w 1206531"/>
                <a:gd name="connsiteY140" fmla="*/ 15240 h 910970"/>
                <a:gd name="connsiteX141" fmla="*/ 597694 w 1206531"/>
                <a:gd name="connsiteY141" fmla="*/ 27527 h 910970"/>
                <a:gd name="connsiteX142" fmla="*/ 601313 w 1206531"/>
                <a:gd name="connsiteY142" fmla="*/ 18669 h 910970"/>
                <a:gd name="connsiteX143" fmla="*/ 665702 w 1206531"/>
                <a:gd name="connsiteY143" fmla="*/ 35528 h 910970"/>
                <a:gd name="connsiteX144" fmla="*/ 677323 w 1206531"/>
                <a:gd name="connsiteY144" fmla="*/ 62198 h 910970"/>
                <a:gd name="connsiteX145" fmla="*/ 677704 w 1206531"/>
                <a:gd name="connsiteY145" fmla="*/ 34004 h 910970"/>
                <a:gd name="connsiteX146" fmla="*/ 696277 w 1206531"/>
                <a:gd name="connsiteY146" fmla="*/ 38195 h 910970"/>
                <a:gd name="connsiteX147" fmla="*/ 677609 w 1206531"/>
                <a:gd name="connsiteY147" fmla="*/ 9811 h 910970"/>
                <a:gd name="connsiteX148" fmla="*/ 698373 w 1206531"/>
                <a:gd name="connsiteY148" fmla="*/ 13335 h 910970"/>
                <a:gd name="connsiteX149" fmla="*/ 709708 w 1206531"/>
                <a:gd name="connsiteY149" fmla="*/ 1334 h 910970"/>
                <a:gd name="connsiteX150" fmla="*/ 725424 w 1206531"/>
                <a:gd name="connsiteY150" fmla="*/ 13335 h 910970"/>
                <a:gd name="connsiteX151" fmla="*/ 726757 w 1206531"/>
                <a:gd name="connsiteY151" fmla="*/ 2762 h 910970"/>
                <a:gd name="connsiteX152" fmla="*/ 808673 w 1206531"/>
                <a:gd name="connsiteY152" fmla="*/ 0 h 910970"/>
                <a:gd name="connsiteX153" fmla="*/ 804100 w 1206531"/>
                <a:gd name="connsiteY153" fmla="*/ 29147 h 910970"/>
                <a:gd name="connsiteX154" fmla="*/ 822484 w 1206531"/>
                <a:gd name="connsiteY154" fmla="*/ 667 h 910970"/>
                <a:gd name="connsiteX155" fmla="*/ 867727 w 1206531"/>
                <a:gd name="connsiteY155" fmla="*/ 4477 h 910970"/>
                <a:gd name="connsiteX156" fmla="*/ 879348 w 1206531"/>
                <a:gd name="connsiteY156" fmla="*/ 21527 h 910970"/>
                <a:gd name="connsiteX157" fmla="*/ 891730 w 1206531"/>
                <a:gd name="connsiteY157" fmla="*/ 5906 h 910970"/>
                <a:gd name="connsiteX158" fmla="*/ 931164 w 1206531"/>
                <a:gd name="connsiteY158" fmla="*/ 5906 h 910970"/>
                <a:gd name="connsiteX159" fmla="*/ 914019 w 1206531"/>
                <a:gd name="connsiteY159" fmla="*/ 24860 h 910970"/>
                <a:gd name="connsiteX160" fmla="*/ 948595 w 1206531"/>
                <a:gd name="connsiteY160" fmla="*/ 28861 h 910970"/>
                <a:gd name="connsiteX161" fmla="*/ 934117 w 1206531"/>
                <a:gd name="connsiteY161" fmla="*/ 45339 h 910970"/>
                <a:gd name="connsiteX162" fmla="*/ 971741 w 1206531"/>
                <a:gd name="connsiteY162" fmla="*/ 37338 h 910970"/>
                <a:gd name="connsiteX163" fmla="*/ 973360 w 1206531"/>
                <a:gd name="connsiteY163" fmla="*/ 51435 h 910970"/>
                <a:gd name="connsiteX164" fmla="*/ 984028 w 1206531"/>
                <a:gd name="connsiteY164" fmla="*/ 40862 h 910970"/>
                <a:gd name="connsiteX165" fmla="*/ 1024890 w 1206531"/>
                <a:gd name="connsiteY165" fmla="*/ 54197 h 910970"/>
                <a:gd name="connsiteX166" fmla="*/ 948118 w 1206531"/>
                <a:gd name="connsiteY166" fmla="*/ 81915 h 910970"/>
                <a:gd name="connsiteX167" fmla="*/ 882777 w 1206531"/>
                <a:gd name="connsiteY167" fmla="*/ 69437 h 910970"/>
                <a:gd name="connsiteX168" fmla="*/ 858488 w 1206531"/>
                <a:gd name="connsiteY168" fmla="*/ 89821 h 910970"/>
                <a:gd name="connsiteX169" fmla="*/ 939260 w 1206531"/>
                <a:gd name="connsiteY169" fmla="*/ 95821 h 910970"/>
                <a:gd name="connsiteX170" fmla="*/ 900493 w 1206531"/>
                <a:gd name="connsiteY170" fmla="*/ 112967 h 910970"/>
                <a:gd name="connsiteX171" fmla="*/ 910400 w 1206531"/>
                <a:gd name="connsiteY171" fmla="*/ 120872 h 910970"/>
                <a:gd name="connsiteX172" fmla="*/ 967454 w 1206531"/>
                <a:gd name="connsiteY172" fmla="*/ 102203 h 910970"/>
                <a:gd name="connsiteX173" fmla="*/ 973455 w 1206531"/>
                <a:gd name="connsiteY173" fmla="*/ 87154 h 910970"/>
                <a:gd name="connsiteX174" fmla="*/ 1005459 w 1206531"/>
                <a:gd name="connsiteY174" fmla="*/ 81725 h 910970"/>
                <a:gd name="connsiteX175" fmla="*/ 1007459 w 1206531"/>
                <a:gd name="connsiteY175" fmla="*/ 113824 h 910970"/>
                <a:gd name="connsiteX176" fmla="*/ 973741 w 1206531"/>
                <a:gd name="connsiteY176" fmla="*/ 145828 h 910970"/>
                <a:gd name="connsiteX177" fmla="*/ 962501 w 1206531"/>
                <a:gd name="connsiteY177" fmla="*/ 164497 h 910970"/>
                <a:gd name="connsiteX178" fmla="*/ 1016318 w 1206531"/>
                <a:gd name="connsiteY178" fmla="*/ 123539 h 910970"/>
                <a:gd name="connsiteX179" fmla="*/ 1052322 w 1206531"/>
                <a:gd name="connsiteY179" fmla="*/ 103156 h 910970"/>
                <a:gd name="connsiteX180" fmla="*/ 1046036 w 1206531"/>
                <a:gd name="connsiteY180" fmla="*/ 117348 h 910970"/>
                <a:gd name="connsiteX181" fmla="*/ 1061561 w 1206531"/>
                <a:gd name="connsiteY181" fmla="*/ 109347 h 910970"/>
                <a:gd name="connsiteX182" fmla="*/ 1085659 w 1206531"/>
                <a:gd name="connsiteY182" fmla="*/ 116491 h 910970"/>
                <a:gd name="connsiteX183" fmla="*/ 1100518 w 1206531"/>
                <a:gd name="connsiteY183" fmla="*/ 93345 h 910970"/>
                <a:gd name="connsiteX184" fmla="*/ 1154716 w 1206531"/>
                <a:gd name="connsiteY184" fmla="*/ 90678 h 910970"/>
                <a:gd name="connsiteX185" fmla="*/ 1206532 w 1206531"/>
                <a:gd name="connsiteY185" fmla="*/ 107537 h 910970"/>
                <a:gd name="connsiteX186" fmla="*/ 1156335 w 1206531"/>
                <a:gd name="connsiteY186" fmla="*/ 144018 h 910970"/>
                <a:gd name="connsiteX187" fmla="*/ 1091946 w 1206531"/>
                <a:gd name="connsiteY187" fmla="*/ 149352 h 910970"/>
                <a:gd name="connsiteX188" fmla="*/ 1079754 w 1206531"/>
                <a:gd name="connsiteY188" fmla="*/ 163640 h 910970"/>
                <a:gd name="connsiteX189" fmla="*/ 1127950 w 1206531"/>
                <a:gd name="connsiteY189" fmla="*/ 166307 h 910970"/>
                <a:gd name="connsiteX190" fmla="*/ 1108139 w 1206531"/>
                <a:gd name="connsiteY190" fmla="*/ 180499 h 910970"/>
                <a:gd name="connsiteX191" fmla="*/ 1056989 w 1206531"/>
                <a:gd name="connsiteY191" fmla="*/ 177832 h 910970"/>
                <a:gd name="connsiteX192" fmla="*/ 1040130 w 1206531"/>
                <a:gd name="connsiteY192" fmla="*/ 187547 h 910970"/>
                <a:gd name="connsiteX193" fmla="*/ 1044417 w 1206531"/>
                <a:gd name="connsiteY193" fmla="*/ 202311 h 910970"/>
                <a:gd name="connsiteX194" fmla="*/ 1065181 w 1206531"/>
                <a:gd name="connsiteY194" fmla="*/ 187547 h 910970"/>
                <a:gd name="connsiteX195" fmla="*/ 1101567 w 1206531"/>
                <a:gd name="connsiteY195" fmla="*/ 191071 h 910970"/>
                <a:gd name="connsiteX196" fmla="*/ 1086326 w 1206531"/>
                <a:gd name="connsiteY196" fmla="*/ 202978 h 910970"/>
                <a:gd name="connsiteX197" fmla="*/ 1058323 w 1206531"/>
                <a:gd name="connsiteY197" fmla="*/ 206312 h 910970"/>
                <a:gd name="connsiteX198" fmla="*/ 1069181 w 1206531"/>
                <a:gd name="connsiteY198" fmla="*/ 224790 h 910970"/>
                <a:gd name="connsiteX199" fmla="*/ 1027557 w 1206531"/>
                <a:gd name="connsiteY199" fmla="*/ 240030 h 910970"/>
                <a:gd name="connsiteX200" fmla="*/ 1010698 w 1206531"/>
                <a:gd name="connsiteY200" fmla="*/ 284988 h 910970"/>
                <a:gd name="connsiteX201" fmla="*/ 1033843 w 1206531"/>
                <a:gd name="connsiteY201" fmla="*/ 271844 h 910970"/>
                <a:gd name="connsiteX202" fmla="*/ 1065562 w 1206531"/>
                <a:gd name="connsiteY202" fmla="*/ 281654 h 910970"/>
                <a:gd name="connsiteX203" fmla="*/ 1088327 w 1206531"/>
                <a:gd name="connsiteY203" fmla="*/ 314135 h 910970"/>
                <a:gd name="connsiteX204" fmla="*/ 1081754 w 1206531"/>
                <a:gd name="connsiteY204" fmla="*/ 322707 h 910970"/>
                <a:gd name="connsiteX205" fmla="*/ 1031557 w 1206531"/>
                <a:gd name="connsiteY205" fmla="*/ 312801 h 910970"/>
                <a:gd name="connsiteX206" fmla="*/ 1002125 w 1206531"/>
                <a:gd name="connsiteY206" fmla="*/ 318707 h 910970"/>
                <a:gd name="connsiteX207" fmla="*/ 1017651 w 1206531"/>
                <a:gd name="connsiteY207" fmla="*/ 342614 h 910970"/>
                <a:gd name="connsiteX208" fmla="*/ 1057656 w 1206531"/>
                <a:gd name="connsiteY208" fmla="*/ 346520 h 910970"/>
                <a:gd name="connsiteX209" fmla="*/ 1064228 w 1206531"/>
                <a:gd name="connsiteY209" fmla="*/ 375666 h 910970"/>
                <a:gd name="connsiteX210" fmla="*/ 1053275 w 1206531"/>
                <a:gd name="connsiteY210" fmla="*/ 385572 h 910970"/>
                <a:gd name="connsiteX211" fmla="*/ 1048702 w 1206531"/>
                <a:gd name="connsiteY211" fmla="*/ 378333 h 910970"/>
                <a:gd name="connsiteX212" fmla="*/ 1006411 w 1206531"/>
                <a:gd name="connsiteY212" fmla="*/ 365093 h 910970"/>
                <a:gd name="connsiteX213" fmla="*/ 1002792 w 1206531"/>
                <a:gd name="connsiteY213" fmla="*/ 384905 h 910970"/>
                <a:gd name="connsiteX214" fmla="*/ 1016318 w 1206531"/>
                <a:gd name="connsiteY214" fmla="*/ 393573 h 910970"/>
                <a:gd name="connsiteX215" fmla="*/ 1038510 w 1206531"/>
                <a:gd name="connsiteY215" fmla="*/ 388906 h 910970"/>
                <a:gd name="connsiteX216" fmla="*/ 1029272 w 1206531"/>
                <a:gd name="connsiteY216" fmla="*/ 405479 h 910970"/>
                <a:gd name="connsiteX217" fmla="*/ 1054989 w 1206531"/>
                <a:gd name="connsiteY217" fmla="*/ 408051 h 910970"/>
                <a:gd name="connsiteX218" fmla="*/ 1071182 w 1206531"/>
                <a:gd name="connsiteY218" fmla="*/ 412052 h 910970"/>
                <a:gd name="connsiteX219" fmla="*/ 1057275 w 1206531"/>
                <a:gd name="connsiteY219" fmla="*/ 421958 h 910970"/>
                <a:gd name="connsiteX220" fmla="*/ 1009079 w 1206531"/>
                <a:gd name="connsiteY220" fmla="*/ 408051 h 910970"/>
                <a:gd name="connsiteX221" fmla="*/ 1001839 w 1206531"/>
                <a:gd name="connsiteY221" fmla="*/ 428625 h 910970"/>
                <a:gd name="connsiteX222" fmla="*/ 1014984 w 1206531"/>
                <a:gd name="connsiteY222" fmla="*/ 445103 h 910970"/>
                <a:gd name="connsiteX223" fmla="*/ 1041082 w 1206531"/>
                <a:gd name="connsiteY223" fmla="*/ 453104 h 910970"/>
                <a:gd name="connsiteX224" fmla="*/ 1003459 w 1206531"/>
                <a:gd name="connsiteY224" fmla="*/ 461010 h 910970"/>
                <a:gd name="connsiteX225" fmla="*/ 982027 w 1206531"/>
                <a:gd name="connsiteY225" fmla="*/ 453771 h 910970"/>
                <a:gd name="connsiteX226" fmla="*/ 971074 w 1206531"/>
                <a:gd name="connsiteY226" fmla="*/ 443198 h 910970"/>
                <a:gd name="connsiteX227" fmla="*/ 1007745 w 1206531"/>
                <a:gd name="connsiteY227" fmla="*/ 445770 h 910970"/>
                <a:gd name="connsiteX228" fmla="*/ 974407 w 1206531"/>
                <a:gd name="connsiteY228" fmla="*/ 428911 h 910970"/>
                <a:gd name="connsiteX229" fmla="*/ 964597 w 1206531"/>
                <a:gd name="connsiteY229" fmla="*/ 448532 h 910970"/>
                <a:gd name="connsiteX230" fmla="*/ 938403 w 1206531"/>
                <a:gd name="connsiteY230" fmla="*/ 433197 h 910970"/>
                <a:gd name="connsiteX231" fmla="*/ 953262 w 1206531"/>
                <a:gd name="connsiteY231" fmla="*/ 453676 h 910970"/>
                <a:gd name="connsiteX232" fmla="*/ 938308 w 1206531"/>
                <a:gd name="connsiteY232" fmla="*/ 458819 h 910970"/>
                <a:gd name="connsiteX233" fmla="*/ 911923 w 1206531"/>
                <a:gd name="connsiteY233" fmla="*/ 455771 h 910970"/>
                <a:gd name="connsiteX234" fmla="*/ 927925 w 1206531"/>
                <a:gd name="connsiteY234" fmla="*/ 468154 h 910970"/>
                <a:gd name="connsiteX235" fmla="*/ 941070 w 1206531"/>
                <a:gd name="connsiteY235" fmla="*/ 494729 h 910970"/>
                <a:gd name="connsiteX236" fmla="*/ 941356 w 1206531"/>
                <a:gd name="connsiteY236" fmla="*/ 505968 h 910970"/>
                <a:gd name="connsiteX237" fmla="*/ 960215 w 1206531"/>
                <a:gd name="connsiteY237" fmla="*/ 494157 h 910970"/>
                <a:gd name="connsiteX238" fmla="*/ 1000697 w 1206531"/>
                <a:gd name="connsiteY238" fmla="*/ 510540 h 910970"/>
                <a:gd name="connsiteX239" fmla="*/ 991934 w 1206531"/>
                <a:gd name="connsiteY239" fmla="*/ 521208 h 910970"/>
                <a:gd name="connsiteX240" fmla="*/ 1013365 w 1206531"/>
                <a:gd name="connsiteY240" fmla="*/ 521208 h 910970"/>
                <a:gd name="connsiteX241" fmla="*/ 1019937 w 1206531"/>
                <a:gd name="connsiteY241" fmla="*/ 571500 h 910970"/>
                <a:gd name="connsiteX242" fmla="*/ 1007459 w 1206531"/>
                <a:gd name="connsiteY242" fmla="*/ 573596 h 910970"/>
                <a:gd name="connsiteX243" fmla="*/ 1001839 w 1206531"/>
                <a:gd name="connsiteY243" fmla="*/ 556260 h 910970"/>
                <a:gd name="connsiteX244" fmla="*/ 995553 w 1206531"/>
                <a:gd name="connsiteY244" fmla="*/ 572548 h 910970"/>
                <a:gd name="connsiteX245" fmla="*/ 971455 w 1206531"/>
                <a:gd name="connsiteY245" fmla="*/ 564261 h 910970"/>
                <a:gd name="connsiteX246" fmla="*/ 959263 w 1206531"/>
                <a:gd name="connsiteY246" fmla="*/ 536448 h 910970"/>
                <a:gd name="connsiteX247" fmla="*/ 939451 w 1206531"/>
                <a:gd name="connsiteY247" fmla="*/ 529209 h 910970"/>
                <a:gd name="connsiteX248" fmla="*/ 915924 w 1206531"/>
                <a:gd name="connsiteY248" fmla="*/ 528542 h 910970"/>
                <a:gd name="connsiteX249" fmla="*/ 906018 w 1206531"/>
                <a:gd name="connsiteY249" fmla="*/ 521875 h 910970"/>
                <a:gd name="connsiteX250" fmla="*/ 883253 w 1206531"/>
                <a:gd name="connsiteY250" fmla="*/ 528542 h 910970"/>
                <a:gd name="connsiteX251" fmla="*/ 940403 w 1206531"/>
                <a:gd name="connsiteY251" fmla="*/ 543782 h 910970"/>
                <a:gd name="connsiteX252" fmla="*/ 902398 w 1206531"/>
                <a:gd name="connsiteY252" fmla="*/ 553022 h 910970"/>
                <a:gd name="connsiteX253" fmla="*/ 894207 w 1206531"/>
                <a:gd name="connsiteY253" fmla="*/ 545021 h 910970"/>
                <a:gd name="connsiteX254" fmla="*/ 875157 w 1206531"/>
                <a:gd name="connsiteY254" fmla="*/ 566833 h 910970"/>
                <a:gd name="connsiteX255" fmla="*/ 908018 w 1206531"/>
                <a:gd name="connsiteY255" fmla="*/ 572167 h 910970"/>
                <a:gd name="connsiteX256" fmla="*/ 880967 w 1206531"/>
                <a:gd name="connsiteY256" fmla="*/ 587121 h 910970"/>
                <a:gd name="connsiteX257" fmla="*/ 903732 w 1206531"/>
                <a:gd name="connsiteY257" fmla="*/ 591979 h 910970"/>
                <a:gd name="connsiteX258" fmla="*/ 947357 w 1206531"/>
                <a:gd name="connsiteY258" fmla="*/ 573500 h 910970"/>
                <a:gd name="connsiteX259" fmla="*/ 1009364 w 1206531"/>
                <a:gd name="connsiteY259" fmla="*/ 584073 h 910970"/>
                <a:gd name="connsiteX260" fmla="*/ 978408 w 1206531"/>
                <a:gd name="connsiteY260" fmla="*/ 604838 h 910970"/>
                <a:gd name="connsiteX261" fmla="*/ 964882 w 1206531"/>
                <a:gd name="connsiteY261" fmla="*/ 603218 h 910970"/>
                <a:gd name="connsiteX262" fmla="*/ 969740 w 1206531"/>
                <a:gd name="connsiteY262" fmla="*/ 609124 h 910970"/>
                <a:gd name="connsiteX263" fmla="*/ 957263 w 1206531"/>
                <a:gd name="connsiteY263" fmla="*/ 608648 h 910970"/>
                <a:gd name="connsiteX264" fmla="*/ 939451 w 1206531"/>
                <a:gd name="connsiteY264" fmla="*/ 626936 h 910970"/>
                <a:gd name="connsiteX265" fmla="*/ 865061 w 1206531"/>
                <a:gd name="connsiteY265" fmla="*/ 648367 h 910970"/>
                <a:gd name="connsiteX266" fmla="*/ 857250 w 1206531"/>
                <a:gd name="connsiteY266" fmla="*/ 639318 h 910970"/>
                <a:gd name="connsiteX267" fmla="*/ 852202 w 1206531"/>
                <a:gd name="connsiteY267" fmla="*/ 651034 h 910970"/>
                <a:gd name="connsiteX268" fmla="*/ 843343 w 1206531"/>
                <a:gd name="connsiteY268" fmla="*/ 639890 h 910970"/>
                <a:gd name="connsiteX269" fmla="*/ 841915 w 1206531"/>
                <a:gd name="connsiteY269" fmla="*/ 652082 h 910970"/>
                <a:gd name="connsiteX270" fmla="*/ 819245 w 1206531"/>
                <a:gd name="connsiteY270" fmla="*/ 651605 h 910970"/>
                <a:gd name="connsiteX271" fmla="*/ 808768 w 1206531"/>
                <a:gd name="connsiteY271" fmla="*/ 632460 h 910970"/>
                <a:gd name="connsiteX272" fmla="*/ 810673 w 1206531"/>
                <a:gd name="connsiteY272" fmla="*/ 659702 h 910970"/>
                <a:gd name="connsiteX273" fmla="*/ 789527 w 1206531"/>
                <a:gd name="connsiteY273" fmla="*/ 665036 h 910970"/>
                <a:gd name="connsiteX274" fmla="*/ 761143 w 1206531"/>
                <a:gd name="connsiteY274" fmla="*/ 707517 h 910970"/>
                <a:gd name="connsiteX275" fmla="*/ 710279 w 1206531"/>
                <a:gd name="connsiteY275" fmla="*/ 726853 h 91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06531" h="910970">
                  <a:moveTo>
                    <a:pt x="710279" y="726853"/>
                  </a:moveTo>
                  <a:lnTo>
                    <a:pt x="697325" y="723138"/>
                  </a:lnTo>
                  <a:lnTo>
                    <a:pt x="710565" y="708565"/>
                  </a:lnTo>
                  <a:lnTo>
                    <a:pt x="697325" y="704850"/>
                  </a:lnTo>
                  <a:lnTo>
                    <a:pt x="684848" y="718852"/>
                  </a:lnTo>
                  <a:lnTo>
                    <a:pt x="687038" y="734473"/>
                  </a:lnTo>
                  <a:lnTo>
                    <a:pt x="667608" y="727424"/>
                  </a:lnTo>
                  <a:lnTo>
                    <a:pt x="632650" y="747808"/>
                  </a:lnTo>
                  <a:lnTo>
                    <a:pt x="648272" y="765905"/>
                  </a:lnTo>
                  <a:lnTo>
                    <a:pt x="628174" y="764286"/>
                  </a:lnTo>
                  <a:lnTo>
                    <a:pt x="643509" y="780098"/>
                  </a:lnTo>
                  <a:lnTo>
                    <a:pt x="644557" y="793528"/>
                  </a:lnTo>
                  <a:lnTo>
                    <a:pt x="625411" y="788099"/>
                  </a:lnTo>
                  <a:lnTo>
                    <a:pt x="630364" y="803148"/>
                  </a:lnTo>
                  <a:lnTo>
                    <a:pt x="617125" y="800957"/>
                  </a:lnTo>
                  <a:lnTo>
                    <a:pt x="592360" y="824103"/>
                  </a:lnTo>
                  <a:lnTo>
                    <a:pt x="610172" y="857441"/>
                  </a:lnTo>
                  <a:lnTo>
                    <a:pt x="593407" y="910019"/>
                  </a:lnTo>
                  <a:lnTo>
                    <a:pt x="553402" y="910971"/>
                  </a:lnTo>
                  <a:lnTo>
                    <a:pt x="551402" y="874109"/>
                  </a:lnTo>
                  <a:lnTo>
                    <a:pt x="535210" y="883253"/>
                  </a:lnTo>
                  <a:lnTo>
                    <a:pt x="539877" y="869823"/>
                  </a:lnTo>
                  <a:lnTo>
                    <a:pt x="519017" y="886968"/>
                  </a:lnTo>
                  <a:lnTo>
                    <a:pt x="491680" y="886397"/>
                  </a:lnTo>
                  <a:lnTo>
                    <a:pt x="505396" y="871728"/>
                  </a:lnTo>
                  <a:lnTo>
                    <a:pt x="482155" y="870966"/>
                  </a:lnTo>
                  <a:lnTo>
                    <a:pt x="486346" y="852583"/>
                  </a:lnTo>
                  <a:lnTo>
                    <a:pt x="473393" y="863346"/>
                  </a:lnTo>
                  <a:lnTo>
                    <a:pt x="476155" y="841820"/>
                  </a:lnTo>
                  <a:lnTo>
                    <a:pt x="463296" y="848297"/>
                  </a:lnTo>
                  <a:lnTo>
                    <a:pt x="447389" y="803720"/>
                  </a:lnTo>
                  <a:lnTo>
                    <a:pt x="433578" y="803720"/>
                  </a:lnTo>
                  <a:lnTo>
                    <a:pt x="446723" y="794576"/>
                  </a:lnTo>
                  <a:lnTo>
                    <a:pt x="456629" y="755904"/>
                  </a:lnTo>
                  <a:lnTo>
                    <a:pt x="445389" y="759047"/>
                  </a:lnTo>
                  <a:lnTo>
                    <a:pt x="437198" y="744569"/>
                  </a:lnTo>
                  <a:lnTo>
                    <a:pt x="417004" y="777335"/>
                  </a:lnTo>
                  <a:lnTo>
                    <a:pt x="409956" y="751237"/>
                  </a:lnTo>
                  <a:lnTo>
                    <a:pt x="423291" y="728948"/>
                  </a:lnTo>
                  <a:lnTo>
                    <a:pt x="403098" y="735140"/>
                  </a:lnTo>
                  <a:lnTo>
                    <a:pt x="387953" y="719900"/>
                  </a:lnTo>
                  <a:lnTo>
                    <a:pt x="431482" y="699040"/>
                  </a:lnTo>
                  <a:lnTo>
                    <a:pt x="450247" y="693611"/>
                  </a:lnTo>
                  <a:lnTo>
                    <a:pt x="426625" y="692658"/>
                  </a:lnTo>
                  <a:lnTo>
                    <a:pt x="384715" y="705517"/>
                  </a:lnTo>
                  <a:lnTo>
                    <a:pt x="378047" y="684943"/>
                  </a:lnTo>
                  <a:lnTo>
                    <a:pt x="420338" y="683705"/>
                  </a:lnTo>
                  <a:lnTo>
                    <a:pt x="408908" y="668560"/>
                  </a:lnTo>
                  <a:lnTo>
                    <a:pt x="452723" y="672084"/>
                  </a:lnTo>
                  <a:lnTo>
                    <a:pt x="437483" y="658082"/>
                  </a:lnTo>
                  <a:lnTo>
                    <a:pt x="387572" y="662369"/>
                  </a:lnTo>
                  <a:lnTo>
                    <a:pt x="440436" y="638747"/>
                  </a:lnTo>
                  <a:lnTo>
                    <a:pt x="395859" y="637223"/>
                  </a:lnTo>
                  <a:lnTo>
                    <a:pt x="413575" y="621506"/>
                  </a:lnTo>
                  <a:lnTo>
                    <a:pt x="443484" y="627983"/>
                  </a:lnTo>
                  <a:lnTo>
                    <a:pt x="452342" y="589788"/>
                  </a:lnTo>
                  <a:lnTo>
                    <a:pt x="410718" y="588740"/>
                  </a:lnTo>
                  <a:lnTo>
                    <a:pt x="364903" y="564261"/>
                  </a:lnTo>
                  <a:lnTo>
                    <a:pt x="374428" y="556927"/>
                  </a:lnTo>
                  <a:lnTo>
                    <a:pt x="408146" y="562261"/>
                  </a:lnTo>
                  <a:lnTo>
                    <a:pt x="442722" y="579311"/>
                  </a:lnTo>
                  <a:lnTo>
                    <a:pt x="447104" y="569500"/>
                  </a:lnTo>
                  <a:lnTo>
                    <a:pt x="428244" y="560261"/>
                  </a:lnTo>
                  <a:lnTo>
                    <a:pt x="437483" y="551688"/>
                  </a:lnTo>
                  <a:lnTo>
                    <a:pt x="412052" y="545687"/>
                  </a:lnTo>
                  <a:lnTo>
                    <a:pt x="429959" y="531114"/>
                  </a:lnTo>
                  <a:lnTo>
                    <a:pt x="397573" y="533781"/>
                  </a:lnTo>
                  <a:lnTo>
                    <a:pt x="388811" y="501301"/>
                  </a:lnTo>
                  <a:lnTo>
                    <a:pt x="386429" y="520922"/>
                  </a:lnTo>
                  <a:lnTo>
                    <a:pt x="379095" y="532448"/>
                  </a:lnTo>
                  <a:lnTo>
                    <a:pt x="351282" y="535115"/>
                  </a:lnTo>
                  <a:lnTo>
                    <a:pt x="339757" y="523208"/>
                  </a:lnTo>
                  <a:lnTo>
                    <a:pt x="352616" y="519875"/>
                  </a:lnTo>
                  <a:lnTo>
                    <a:pt x="360712" y="509873"/>
                  </a:lnTo>
                  <a:lnTo>
                    <a:pt x="347567" y="501301"/>
                  </a:lnTo>
                  <a:lnTo>
                    <a:pt x="362998" y="489871"/>
                  </a:lnTo>
                  <a:lnTo>
                    <a:pt x="343376" y="479584"/>
                  </a:lnTo>
                  <a:lnTo>
                    <a:pt x="355949" y="456343"/>
                  </a:lnTo>
                  <a:lnTo>
                    <a:pt x="336137" y="445103"/>
                  </a:lnTo>
                  <a:lnTo>
                    <a:pt x="333851" y="409385"/>
                  </a:lnTo>
                  <a:lnTo>
                    <a:pt x="284321" y="377666"/>
                  </a:lnTo>
                  <a:lnTo>
                    <a:pt x="290226" y="363093"/>
                  </a:lnTo>
                  <a:lnTo>
                    <a:pt x="241745" y="345948"/>
                  </a:lnTo>
                  <a:lnTo>
                    <a:pt x="172308" y="337947"/>
                  </a:lnTo>
                  <a:lnTo>
                    <a:pt x="149923" y="351187"/>
                  </a:lnTo>
                  <a:lnTo>
                    <a:pt x="145923" y="341281"/>
                  </a:lnTo>
                  <a:lnTo>
                    <a:pt x="130397" y="348520"/>
                  </a:lnTo>
                  <a:lnTo>
                    <a:pt x="119158" y="341281"/>
                  </a:lnTo>
                  <a:lnTo>
                    <a:pt x="90107" y="348520"/>
                  </a:lnTo>
                  <a:lnTo>
                    <a:pt x="68009" y="335280"/>
                  </a:lnTo>
                  <a:lnTo>
                    <a:pt x="98107" y="324041"/>
                  </a:lnTo>
                  <a:lnTo>
                    <a:pt x="60389" y="321469"/>
                  </a:lnTo>
                  <a:lnTo>
                    <a:pt x="33338" y="310134"/>
                  </a:lnTo>
                  <a:lnTo>
                    <a:pt x="57435" y="302895"/>
                  </a:lnTo>
                  <a:lnTo>
                    <a:pt x="131731" y="308134"/>
                  </a:lnTo>
                  <a:lnTo>
                    <a:pt x="138303" y="292322"/>
                  </a:lnTo>
                  <a:lnTo>
                    <a:pt x="126492" y="283750"/>
                  </a:lnTo>
                  <a:lnTo>
                    <a:pt x="76581" y="294323"/>
                  </a:lnTo>
                  <a:lnTo>
                    <a:pt x="55436" y="290322"/>
                  </a:lnTo>
                  <a:lnTo>
                    <a:pt x="70675" y="282416"/>
                  </a:lnTo>
                  <a:lnTo>
                    <a:pt x="0" y="266510"/>
                  </a:lnTo>
                  <a:lnTo>
                    <a:pt x="8191" y="252603"/>
                  </a:lnTo>
                  <a:lnTo>
                    <a:pt x="84487" y="239363"/>
                  </a:lnTo>
                  <a:lnTo>
                    <a:pt x="77724" y="226219"/>
                  </a:lnTo>
                  <a:lnTo>
                    <a:pt x="143637" y="227457"/>
                  </a:lnTo>
                  <a:lnTo>
                    <a:pt x="183547" y="184975"/>
                  </a:lnTo>
                  <a:lnTo>
                    <a:pt x="153829" y="187547"/>
                  </a:lnTo>
                  <a:lnTo>
                    <a:pt x="118872" y="191071"/>
                  </a:lnTo>
                  <a:lnTo>
                    <a:pt x="110300" y="175165"/>
                  </a:lnTo>
                  <a:lnTo>
                    <a:pt x="184309" y="132302"/>
                  </a:lnTo>
                  <a:lnTo>
                    <a:pt x="199834" y="153543"/>
                  </a:lnTo>
                  <a:lnTo>
                    <a:pt x="192881" y="130969"/>
                  </a:lnTo>
                  <a:lnTo>
                    <a:pt x="202406" y="127159"/>
                  </a:lnTo>
                  <a:lnTo>
                    <a:pt x="237744" y="133350"/>
                  </a:lnTo>
                  <a:lnTo>
                    <a:pt x="255841" y="89821"/>
                  </a:lnTo>
                  <a:lnTo>
                    <a:pt x="277844" y="125063"/>
                  </a:lnTo>
                  <a:lnTo>
                    <a:pt x="329375" y="124301"/>
                  </a:lnTo>
                  <a:lnTo>
                    <a:pt x="280988" y="105632"/>
                  </a:lnTo>
                  <a:lnTo>
                    <a:pt x="277368" y="86106"/>
                  </a:lnTo>
                  <a:lnTo>
                    <a:pt x="368522" y="66675"/>
                  </a:lnTo>
                  <a:lnTo>
                    <a:pt x="384715" y="112014"/>
                  </a:lnTo>
                  <a:lnTo>
                    <a:pt x="399193" y="84487"/>
                  </a:lnTo>
                  <a:lnTo>
                    <a:pt x="428149" y="91345"/>
                  </a:lnTo>
                  <a:lnTo>
                    <a:pt x="436245" y="103346"/>
                  </a:lnTo>
                  <a:lnTo>
                    <a:pt x="438626" y="90297"/>
                  </a:lnTo>
                  <a:lnTo>
                    <a:pt x="467868" y="90678"/>
                  </a:lnTo>
                  <a:lnTo>
                    <a:pt x="434530" y="60484"/>
                  </a:lnTo>
                  <a:lnTo>
                    <a:pt x="476441" y="62198"/>
                  </a:lnTo>
                  <a:lnTo>
                    <a:pt x="504254" y="77343"/>
                  </a:lnTo>
                  <a:lnTo>
                    <a:pt x="527971" y="80867"/>
                  </a:lnTo>
                  <a:lnTo>
                    <a:pt x="563023" y="99536"/>
                  </a:lnTo>
                  <a:lnTo>
                    <a:pt x="548259" y="56960"/>
                  </a:lnTo>
                  <a:lnTo>
                    <a:pt x="613029" y="58007"/>
                  </a:lnTo>
                  <a:lnTo>
                    <a:pt x="620935" y="72200"/>
                  </a:lnTo>
                  <a:lnTo>
                    <a:pt x="623602" y="58865"/>
                  </a:lnTo>
                  <a:lnTo>
                    <a:pt x="657797" y="66675"/>
                  </a:lnTo>
                  <a:lnTo>
                    <a:pt x="648462" y="49149"/>
                  </a:lnTo>
                  <a:lnTo>
                    <a:pt x="612553" y="40862"/>
                  </a:lnTo>
                  <a:lnTo>
                    <a:pt x="534924" y="40862"/>
                  </a:lnTo>
                  <a:lnTo>
                    <a:pt x="522351" y="32004"/>
                  </a:lnTo>
                  <a:lnTo>
                    <a:pt x="537877" y="15240"/>
                  </a:lnTo>
                  <a:lnTo>
                    <a:pt x="597694" y="27527"/>
                  </a:lnTo>
                  <a:lnTo>
                    <a:pt x="601313" y="18669"/>
                  </a:lnTo>
                  <a:lnTo>
                    <a:pt x="665702" y="35528"/>
                  </a:lnTo>
                  <a:lnTo>
                    <a:pt x="677323" y="62198"/>
                  </a:lnTo>
                  <a:lnTo>
                    <a:pt x="677704" y="34004"/>
                  </a:lnTo>
                  <a:lnTo>
                    <a:pt x="696277" y="38195"/>
                  </a:lnTo>
                  <a:lnTo>
                    <a:pt x="677609" y="9811"/>
                  </a:lnTo>
                  <a:lnTo>
                    <a:pt x="698373" y="13335"/>
                  </a:lnTo>
                  <a:lnTo>
                    <a:pt x="709708" y="1334"/>
                  </a:lnTo>
                  <a:lnTo>
                    <a:pt x="725424" y="13335"/>
                  </a:lnTo>
                  <a:lnTo>
                    <a:pt x="726757" y="2762"/>
                  </a:lnTo>
                  <a:lnTo>
                    <a:pt x="808673" y="0"/>
                  </a:lnTo>
                  <a:lnTo>
                    <a:pt x="804100" y="29147"/>
                  </a:lnTo>
                  <a:lnTo>
                    <a:pt x="822484" y="667"/>
                  </a:lnTo>
                  <a:lnTo>
                    <a:pt x="867727" y="4477"/>
                  </a:lnTo>
                  <a:lnTo>
                    <a:pt x="879348" y="21527"/>
                  </a:lnTo>
                  <a:lnTo>
                    <a:pt x="891730" y="5906"/>
                  </a:lnTo>
                  <a:lnTo>
                    <a:pt x="931164" y="5906"/>
                  </a:lnTo>
                  <a:lnTo>
                    <a:pt x="914019" y="24860"/>
                  </a:lnTo>
                  <a:lnTo>
                    <a:pt x="948595" y="28861"/>
                  </a:lnTo>
                  <a:lnTo>
                    <a:pt x="934117" y="45339"/>
                  </a:lnTo>
                  <a:lnTo>
                    <a:pt x="971741" y="37338"/>
                  </a:lnTo>
                  <a:lnTo>
                    <a:pt x="973360" y="51435"/>
                  </a:lnTo>
                  <a:lnTo>
                    <a:pt x="984028" y="40862"/>
                  </a:lnTo>
                  <a:lnTo>
                    <a:pt x="1024890" y="54197"/>
                  </a:lnTo>
                  <a:lnTo>
                    <a:pt x="948118" y="81915"/>
                  </a:lnTo>
                  <a:lnTo>
                    <a:pt x="882777" y="69437"/>
                  </a:lnTo>
                  <a:lnTo>
                    <a:pt x="858488" y="89821"/>
                  </a:lnTo>
                  <a:lnTo>
                    <a:pt x="939260" y="95821"/>
                  </a:lnTo>
                  <a:lnTo>
                    <a:pt x="900493" y="112967"/>
                  </a:lnTo>
                  <a:lnTo>
                    <a:pt x="910400" y="120872"/>
                  </a:lnTo>
                  <a:lnTo>
                    <a:pt x="967454" y="102203"/>
                  </a:lnTo>
                  <a:lnTo>
                    <a:pt x="973455" y="87154"/>
                  </a:lnTo>
                  <a:lnTo>
                    <a:pt x="1005459" y="81725"/>
                  </a:lnTo>
                  <a:lnTo>
                    <a:pt x="1007459" y="113824"/>
                  </a:lnTo>
                  <a:lnTo>
                    <a:pt x="973741" y="145828"/>
                  </a:lnTo>
                  <a:lnTo>
                    <a:pt x="962501" y="164497"/>
                  </a:lnTo>
                  <a:lnTo>
                    <a:pt x="1016318" y="123539"/>
                  </a:lnTo>
                  <a:lnTo>
                    <a:pt x="1052322" y="103156"/>
                  </a:lnTo>
                  <a:lnTo>
                    <a:pt x="1046036" y="117348"/>
                  </a:lnTo>
                  <a:lnTo>
                    <a:pt x="1061561" y="109347"/>
                  </a:lnTo>
                  <a:lnTo>
                    <a:pt x="1085659" y="116491"/>
                  </a:lnTo>
                  <a:lnTo>
                    <a:pt x="1100518" y="93345"/>
                  </a:lnTo>
                  <a:lnTo>
                    <a:pt x="1154716" y="90678"/>
                  </a:lnTo>
                  <a:lnTo>
                    <a:pt x="1206532" y="107537"/>
                  </a:lnTo>
                  <a:lnTo>
                    <a:pt x="1156335" y="144018"/>
                  </a:lnTo>
                  <a:lnTo>
                    <a:pt x="1091946" y="149352"/>
                  </a:lnTo>
                  <a:lnTo>
                    <a:pt x="1079754" y="163640"/>
                  </a:lnTo>
                  <a:lnTo>
                    <a:pt x="1127950" y="166307"/>
                  </a:lnTo>
                  <a:lnTo>
                    <a:pt x="1108139" y="180499"/>
                  </a:lnTo>
                  <a:lnTo>
                    <a:pt x="1056989" y="177832"/>
                  </a:lnTo>
                  <a:lnTo>
                    <a:pt x="1040130" y="187547"/>
                  </a:lnTo>
                  <a:lnTo>
                    <a:pt x="1044417" y="202311"/>
                  </a:lnTo>
                  <a:lnTo>
                    <a:pt x="1065181" y="187547"/>
                  </a:lnTo>
                  <a:lnTo>
                    <a:pt x="1101567" y="191071"/>
                  </a:lnTo>
                  <a:lnTo>
                    <a:pt x="1086326" y="202978"/>
                  </a:lnTo>
                  <a:lnTo>
                    <a:pt x="1058323" y="206312"/>
                  </a:lnTo>
                  <a:lnTo>
                    <a:pt x="1069181" y="224790"/>
                  </a:lnTo>
                  <a:lnTo>
                    <a:pt x="1027557" y="240030"/>
                  </a:lnTo>
                  <a:lnTo>
                    <a:pt x="1010698" y="284988"/>
                  </a:lnTo>
                  <a:lnTo>
                    <a:pt x="1033843" y="271844"/>
                  </a:lnTo>
                  <a:lnTo>
                    <a:pt x="1065562" y="281654"/>
                  </a:lnTo>
                  <a:lnTo>
                    <a:pt x="1088327" y="314135"/>
                  </a:lnTo>
                  <a:lnTo>
                    <a:pt x="1081754" y="322707"/>
                  </a:lnTo>
                  <a:lnTo>
                    <a:pt x="1031557" y="312801"/>
                  </a:lnTo>
                  <a:lnTo>
                    <a:pt x="1002125" y="318707"/>
                  </a:lnTo>
                  <a:lnTo>
                    <a:pt x="1017651" y="342614"/>
                  </a:lnTo>
                  <a:lnTo>
                    <a:pt x="1057656" y="346520"/>
                  </a:lnTo>
                  <a:lnTo>
                    <a:pt x="1064228" y="375666"/>
                  </a:lnTo>
                  <a:lnTo>
                    <a:pt x="1053275" y="385572"/>
                  </a:lnTo>
                  <a:lnTo>
                    <a:pt x="1048702" y="378333"/>
                  </a:lnTo>
                  <a:lnTo>
                    <a:pt x="1006411" y="365093"/>
                  </a:lnTo>
                  <a:lnTo>
                    <a:pt x="1002792" y="384905"/>
                  </a:lnTo>
                  <a:lnTo>
                    <a:pt x="1016318" y="393573"/>
                  </a:lnTo>
                  <a:lnTo>
                    <a:pt x="1038510" y="388906"/>
                  </a:lnTo>
                  <a:lnTo>
                    <a:pt x="1029272" y="405479"/>
                  </a:lnTo>
                  <a:lnTo>
                    <a:pt x="1054989" y="408051"/>
                  </a:lnTo>
                  <a:lnTo>
                    <a:pt x="1071182" y="412052"/>
                  </a:lnTo>
                  <a:lnTo>
                    <a:pt x="1057275" y="421958"/>
                  </a:lnTo>
                  <a:lnTo>
                    <a:pt x="1009079" y="408051"/>
                  </a:lnTo>
                  <a:lnTo>
                    <a:pt x="1001839" y="428625"/>
                  </a:lnTo>
                  <a:lnTo>
                    <a:pt x="1014984" y="445103"/>
                  </a:lnTo>
                  <a:lnTo>
                    <a:pt x="1041082" y="453104"/>
                  </a:lnTo>
                  <a:lnTo>
                    <a:pt x="1003459" y="461010"/>
                  </a:lnTo>
                  <a:lnTo>
                    <a:pt x="982027" y="453771"/>
                  </a:lnTo>
                  <a:lnTo>
                    <a:pt x="971074" y="443198"/>
                  </a:lnTo>
                  <a:lnTo>
                    <a:pt x="1007745" y="445770"/>
                  </a:lnTo>
                  <a:lnTo>
                    <a:pt x="974407" y="428911"/>
                  </a:lnTo>
                  <a:lnTo>
                    <a:pt x="964597" y="448532"/>
                  </a:lnTo>
                  <a:lnTo>
                    <a:pt x="938403" y="433197"/>
                  </a:lnTo>
                  <a:lnTo>
                    <a:pt x="953262" y="453676"/>
                  </a:lnTo>
                  <a:lnTo>
                    <a:pt x="938308" y="458819"/>
                  </a:lnTo>
                  <a:lnTo>
                    <a:pt x="911923" y="455771"/>
                  </a:lnTo>
                  <a:lnTo>
                    <a:pt x="927925" y="468154"/>
                  </a:lnTo>
                  <a:lnTo>
                    <a:pt x="941070" y="494729"/>
                  </a:lnTo>
                  <a:lnTo>
                    <a:pt x="941356" y="505968"/>
                  </a:lnTo>
                  <a:lnTo>
                    <a:pt x="960215" y="494157"/>
                  </a:lnTo>
                  <a:lnTo>
                    <a:pt x="1000697" y="510540"/>
                  </a:lnTo>
                  <a:lnTo>
                    <a:pt x="991934" y="521208"/>
                  </a:lnTo>
                  <a:lnTo>
                    <a:pt x="1013365" y="521208"/>
                  </a:lnTo>
                  <a:lnTo>
                    <a:pt x="1019937" y="571500"/>
                  </a:lnTo>
                  <a:lnTo>
                    <a:pt x="1007459" y="573596"/>
                  </a:lnTo>
                  <a:lnTo>
                    <a:pt x="1001839" y="556260"/>
                  </a:lnTo>
                  <a:lnTo>
                    <a:pt x="995553" y="572548"/>
                  </a:lnTo>
                  <a:lnTo>
                    <a:pt x="971455" y="564261"/>
                  </a:lnTo>
                  <a:lnTo>
                    <a:pt x="959263" y="536448"/>
                  </a:lnTo>
                  <a:lnTo>
                    <a:pt x="939451" y="529209"/>
                  </a:lnTo>
                  <a:lnTo>
                    <a:pt x="915924" y="528542"/>
                  </a:lnTo>
                  <a:lnTo>
                    <a:pt x="906018" y="521875"/>
                  </a:lnTo>
                  <a:lnTo>
                    <a:pt x="883253" y="528542"/>
                  </a:lnTo>
                  <a:lnTo>
                    <a:pt x="940403" y="543782"/>
                  </a:lnTo>
                  <a:lnTo>
                    <a:pt x="902398" y="553022"/>
                  </a:lnTo>
                  <a:lnTo>
                    <a:pt x="894207" y="545021"/>
                  </a:lnTo>
                  <a:lnTo>
                    <a:pt x="875157" y="566833"/>
                  </a:lnTo>
                  <a:lnTo>
                    <a:pt x="908018" y="572167"/>
                  </a:lnTo>
                  <a:lnTo>
                    <a:pt x="880967" y="587121"/>
                  </a:lnTo>
                  <a:lnTo>
                    <a:pt x="903732" y="591979"/>
                  </a:lnTo>
                  <a:lnTo>
                    <a:pt x="947357" y="573500"/>
                  </a:lnTo>
                  <a:lnTo>
                    <a:pt x="1009364" y="584073"/>
                  </a:lnTo>
                  <a:lnTo>
                    <a:pt x="978408" y="604838"/>
                  </a:lnTo>
                  <a:lnTo>
                    <a:pt x="964882" y="603218"/>
                  </a:lnTo>
                  <a:lnTo>
                    <a:pt x="969740" y="609124"/>
                  </a:lnTo>
                  <a:lnTo>
                    <a:pt x="957263" y="608648"/>
                  </a:lnTo>
                  <a:lnTo>
                    <a:pt x="939451" y="626936"/>
                  </a:lnTo>
                  <a:lnTo>
                    <a:pt x="865061" y="648367"/>
                  </a:lnTo>
                  <a:lnTo>
                    <a:pt x="857250" y="639318"/>
                  </a:lnTo>
                  <a:lnTo>
                    <a:pt x="852202" y="651034"/>
                  </a:lnTo>
                  <a:lnTo>
                    <a:pt x="843343" y="639890"/>
                  </a:lnTo>
                  <a:lnTo>
                    <a:pt x="841915" y="652082"/>
                  </a:lnTo>
                  <a:lnTo>
                    <a:pt x="819245" y="651605"/>
                  </a:lnTo>
                  <a:lnTo>
                    <a:pt x="808768" y="632460"/>
                  </a:lnTo>
                  <a:lnTo>
                    <a:pt x="810673" y="659702"/>
                  </a:lnTo>
                  <a:lnTo>
                    <a:pt x="789527" y="665036"/>
                  </a:lnTo>
                  <a:lnTo>
                    <a:pt x="761143" y="707517"/>
                  </a:lnTo>
                  <a:lnTo>
                    <a:pt x="710279" y="726853"/>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6" name="Freeform: Shape 2916">
              <a:extLst>
                <a:ext uri="{FF2B5EF4-FFF2-40B4-BE49-F238E27FC236}">
                  <a16:creationId xmlns:a16="http://schemas.microsoft.com/office/drawing/2014/main" id="{B5D2BC89-CD8E-A448-73A4-C72D4CA7DB3A}"/>
                </a:ext>
              </a:extLst>
            </p:cNvPr>
            <p:cNvSpPr/>
            <p:nvPr/>
          </p:nvSpPr>
          <p:spPr>
            <a:xfrm>
              <a:off x="7816214" y="2878201"/>
              <a:ext cx="24955" cy="16478"/>
            </a:xfrm>
            <a:custGeom>
              <a:avLst/>
              <a:gdLst>
                <a:gd name="connsiteX0" fmla="*/ 14669 w 24955"/>
                <a:gd name="connsiteY0" fmla="*/ 0 h 16478"/>
                <a:gd name="connsiteX1" fmla="*/ 24955 w 24955"/>
                <a:gd name="connsiteY1" fmla="*/ 16478 h 16478"/>
                <a:gd name="connsiteX2" fmla="*/ 0 w 24955"/>
                <a:gd name="connsiteY2" fmla="*/ 9239 h 16478"/>
                <a:gd name="connsiteX3" fmla="*/ 6572 w 24955"/>
                <a:gd name="connsiteY3" fmla="*/ 1333 h 16478"/>
                <a:gd name="connsiteX4" fmla="*/ 14669 w 24955"/>
                <a:gd name="connsiteY4" fmla="*/ 0 h 1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5" h="16478">
                  <a:moveTo>
                    <a:pt x="14669" y="0"/>
                  </a:moveTo>
                  <a:lnTo>
                    <a:pt x="24955" y="16478"/>
                  </a:lnTo>
                  <a:lnTo>
                    <a:pt x="0" y="9239"/>
                  </a:lnTo>
                  <a:lnTo>
                    <a:pt x="6572" y="1333"/>
                  </a:lnTo>
                  <a:lnTo>
                    <a:pt x="1466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7" name="Freeform: Shape 2917">
              <a:extLst>
                <a:ext uri="{FF2B5EF4-FFF2-40B4-BE49-F238E27FC236}">
                  <a16:creationId xmlns:a16="http://schemas.microsoft.com/office/drawing/2014/main" id="{72827BDD-8D46-BE81-EE78-9D47227FFA95}"/>
                </a:ext>
              </a:extLst>
            </p:cNvPr>
            <p:cNvSpPr/>
            <p:nvPr/>
          </p:nvSpPr>
          <p:spPr>
            <a:xfrm>
              <a:off x="7809928" y="2919253"/>
              <a:ext cx="48863" cy="37528"/>
            </a:xfrm>
            <a:custGeom>
              <a:avLst/>
              <a:gdLst>
                <a:gd name="connsiteX0" fmla="*/ 0 w 48863"/>
                <a:gd name="connsiteY0" fmla="*/ 0 h 37528"/>
                <a:gd name="connsiteX1" fmla="*/ 0 w 48863"/>
                <a:gd name="connsiteY1" fmla="*/ 0 h 37528"/>
                <a:gd name="connsiteX2" fmla="*/ 48863 w 48863"/>
                <a:gd name="connsiteY2" fmla="*/ 24670 h 37528"/>
                <a:gd name="connsiteX3" fmla="*/ 14478 w 48863"/>
                <a:gd name="connsiteY3" fmla="*/ 37529 h 37528"/>
                <a:gd name="connsiteX4" fmla="*/ 0 w 48863"/>
                <a:gd name="connsiteY4" fmla="*/ 0 h 37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3" h="37528">
                  <a:moveTo>
                    <a:pt x="0" y="0"/>
                  </a:moveTo>
                  <a:lnTo>
                    <a:pt x="0" y="0"/>
                  </a:lnTo>
                  <a:lnTo>
                    <a:pt x="48863" y="24670"/>
                  </a:lnTo>
                  <a:lnTo>
                    <a:pt x="14478" y="37529"/>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8" name="Freeform: Shape 2918">
              <a:extLst>
                <a:ext uri="{FF2B5EF4-FFF2-40B4-BE49-F238E27FC236}">
                  <a16:creationId xmlns:a16="http://schemas.microsoft.com/office/drawing/2014/main" id="{76E05C8A-16E5-ACF4-25C2-358D83A58329}"/>
                </a:ext>
              </a:extLst>
            </p:cNvPr>
            <p:cNvSpPr/>
            <p:nvPr/>
          </p:nvSpPr>
          <p:spPr>
            <a:xfrm>
              <a:off x="7866983" y="2938113"/>
              <a:ext cx="16478" cy="19335"/>
            </a:xfrm>
            <a:custGeom>
              <a:avLst/>
              <a:gdLst>
                <a:gd name="connsiteX0" fmla="*/ 16478 w 16478"/>
                <a:gd name="connsiteY0" fmla="*/ 0 h 19335"/>
                <a:gd name="connsiteX1" fmla="*/ 0 w 16478"/>
                <a:gd name="connsiteY1" fmla="*/ 19336 h 19335"/>
                <a:gd name="connsiteX2" fmla="*/ 1048 w 16478"/>
                <a:gd name="connsiteY2" fmla="*/ 857 h 19335"/>
                <a:gd name="connsiteX3" fmla="*/ 16478 w 16478"/>
                <a:gd name="connsiteY3" fmla="*/ 0 h 19335"/>
              </a:gdLst>
              <a:ahLst/>
              <a:cxnLst>
                <a:cxn ang="0">
                  <a:pos x="connsiteX0" y="connsiteY0"/>
                </a:cxn>
                <a:cxn ang="0">
                  <a:pos x="connsiteX1" y="connsiteY1"/>
                </a:cxn>
                <a:cxn ang="0">
                  <a:pos x="connsiteX2" y="connsiteY2"/>
                </a:cxn>
                <a:cxn ang="0">
                  <a:pos x="connsiteX3" y="connsiteY3"/>
                </a:cxn>
              </a:cxnLst>
              <a:rect l="l" t="t" r="r" b="b"/>
              <a:pathLst>
                <a:path w="16478" h="19335">
                  <a:moveTo>
                    <a:pt x="16478" y="0"/>
                  </a:moveTo>
                  <a:lnTo>
                    <a:pt x="0" y="19336"/>
                  </a:lnTo>
                  <a:lnTo>
                    <a:pt x="1048" y="857"/>
                  </a:lnTo>
                  <a:lnTo>
                    <a:pt x="16478"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29" name="Freeform: Shape 2919">
              <a:extLst>
                <a:ext uri="{FF2B5EF4-FFF2-40B4-BE49-F238E27FC236}">
                  <a16:creationId xmlns:a16="http://schemas.microsoft.com/office/drawing/2014/main" id="{0CB1AA9D-4227-4A01-3E1D-3BC82C580588}"/>
                </a:ext>
              </a:extLst>
            </p:cNvPr>
            <p:cNvSpPr/>
            <p:nvPr/>
          </p:nvSpPr>
          <p:spPr>
            <a:xfrm>
              <a:off x="7097267" y="4320571"/>
              <a:ext cx="50863" cy="27146"/>
            </a:xfrm>
            <a:custGeom>
              <a:avLst/>
              <a:gdLst>
                <a:gd name="connsiteX0" fmla="*/ 50864 w 50863"/>
                <a:gd name="connsiteY0" fmla="*/ 13145 h 27146"/>
                <a:gd name="connsiteX1" fmla="*/ 41434 w 50863"/>
                <a:gd name="connsiteY1" fmla="*/ 9620 h 27146"/>
                <a:gd name="connsiteX2" fmla="*/ 35719 w 50863"/>
                <a:gd name="connsiteY2" fmla="*/ 12859 h 27146"/>
                <a:gd name="connsiteX3" fmla="*/ 30956 w 50863"/>
                <a:gd name="connsiteY3" fmla="*/ 7525 h 27146"/>
                <a:gd name="connsiteX4" fmla="*/ 18098 w 50863"/>
                <a:gd name="connsiteY4" fmla="*/ 0 h 27146"/>
                <a:gd name="connsiteX5" fmla="*/ 18098 w 50863"/>
                <a:gd name="connsiteY5" fmla="*/ 0 h 27146"/>
                <a:gd name="connsiteX6" fmla="*/ 13621 w 50863"/>
                <a:gd name="connsiteY6" fmla="*/ 1810 h 27146"/>
                <a:gd name="connsiteX7" fmla="*/ 14097 w 50863"/>
                <a:gd name="connsiteY7" fmla="*/ 7906 h 27146"/>
                <a:gd name="connsiteX8" fmla="*/ 7620 w 50863"/>
                <a:gd name="connsiteY8" fmla="*/ 7906 h 27146"/>
                <a:gd name="connsiteX9" fmla="*/ 0 w 50863"/>
                <a:gd name="connsiteY9" fmla="*/ 16288 h 27146"/>
                <a:gd name="connsiteX10" fmla="*/ 0 w 50863"/>
                <a:gd name="connsiteY10" fmla="*/ 16288 h 27146"/>
                <a:gd name="connsiteX11" fmla="*/ 30766 w 50863"/>
                <a:gd name="connsiteY11" fmla="*/ 24765 h 27146"/>
                <a:gd name="connsiteX12" fmla="*/ 46958 w 50863"/>
                <a:gd name="connsiteY12" fmla="*/ 27146 h 27146"/>
                <a:gd name="connsiteX13" fmla="*/ 48292 w 50863"/>
                <a:gd name="connsiteY13" fmla="*/ 21431 h 27146"/>
                <a:gd name="connsiteX14" fmla="*/ 48292 w 50863"/>
                <a:gd name="connsiteY14" fmla="*/ 21431 h 27146"/>
                <a:gd name="connsiteX15" fmla="*/ 48292 w 50863"/>
                <a:gd name="connsiteY15" fmla="*/ 21431 h 27146"/>
                <a:gd name="connsiteX16" fmla="*/ 50864 w 50863"/>
                <a:gd name="connsiteY16" fmla="*/ 13145 h 2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863" h="27146">
                  <a:moveTo>
                    <a:pt x="50864" y="13145"/>
                  </a:moveTo>
                  <a:lnTo>
                    <a:pt x="41434" y="9620"/>
                  </a:lnTo>
                  <a:lnTo>
                    <a:pt x="35719" y="12859"/>
                  </a:lnTo>
                  <a:lnTo>
                    <a:pt x="30956" y="7525"/>
                  </a:lnTo>
                  <a:lnTo>
                    <a:pt x="18098" y="0"/>
                  </a:lnTo>
                  <a:lnTo>
                    <a:pt x="18098" y="0"/>
                  </a:lnTo>
                  <a:lnTo>
                    <a:pt x="13621" y="1810"/>
                  </a:lnTo>
                  <a:lnTo>
                    <a:pt x="14097" y="7906"/>
                  </a:lnTo>
                  <a:lnTo>
                    <a:pt x="7620" y="7906"/>
                  </a:lnTo>
                  <a:lnTo>
                    <a:pt x="0" y="16288"/>
                  </a:lnTo>
                  <a:lnTo>
                    <a:pt x="0" y="16288"/>
                  </a:lnTo>
                  <a:lnTo>
                    <a:pt x="30766" y="24765"/>
                  </a:lnTo>
                  <a:lnTo>
                    <a:pt x="46958" y="27146"/>
                  </a:lnTo>
                  <a:lnTo>
                    <a:pt x="48292" y="21431"/>
                  </a:lnTo>
                  <a:lnTo>
                    <a:pt x="48292" y="21431"/>
                  </a:lnTo>
                  <a:lnTo>
                    <a:pt x="48292" y="21431"/>
                  </a:lnTo>
                  <a:lnTo>
                    <a:pt x="50864" y="1314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0" name="Freeform: Shape 2920">
              <a:extLst>
                <a:ext uri="{FF2B5EF4-FFF2-40B4-BE49-F238E27FC236}">
                  <a16:creationId xmlns:a16="http://schemas.microsoft.com/office/drawing/2014/main" id="{7EB21521-81CE-CA4A-47AA-76845C9DBF1D}"/>
                </a:ext>
              </a:extLst>
            </p:cNvPr>
            <p:cNvSpPr/>
            <p:nvPr/>
          </p:nvSpPr>
          <p:spPr>
            <a:xfrm>
              <a:off x="7460837" y="4210367"/>
              <a:ext cx="71342" cy="38481"/>
            </a:xfrm>
            <a:custGeom>
              <a:avLst/>
              <a:gdLst>
                <a:gd name="connsiteX0" fmla="*/ 27813 w 71342"/>
                <a:gd name="connsiteY0" fmla="*/ 35052 h 38481"/>
                <a:gd name="connsiteX1" fmla="*/ 40386 w 71342"/>
                <a:gd name="connsiteY1" fmla="*/ 29718 h 38481"/>
                <a:gd name="connsiteX2" fmla="*/ 64770 w 71342"/>
                <a:gd name="connsiteY2" fmla="*/ 35052 h 38481"/>
                <a:gd name="connsiteX3" fmla="*/ 71343 w 71342"/>
                <a:gd name="connsiteY3" fmla="*/ 26956 h 38481"/>
                <a:gd name="connsiteX4" fmla="*/ 54864 w 71342"/>
                <a:gd name="connsiteY4" fmla="*/ 12859 h 38481"/>
                <a:gd name="connsiteX5" fmla="*/ 42958 w 71342"/>
                <a:gd name="connsiteY5" fmla="*/ 13145 h 38481"/>
                <a:gd name="connsiteX6" fmla="*/ 39053 w 71342"/>
                <a:gd name="connsiteY6" fmla="*/ 5048 h 38481"/>
                <a:gd name="connsiteX7" fmla="*/ 18193 w 71342"/>
                <a:gd name="connsiteY7" fmla="*/ 0 h 38481"/>
                <a:gd name="connsiteX8" fmla="*/ 3334 w 71342"/>
                <a:gd name="connsiteY8" fmla="*/ 4667 h 38481"/>
                <a:gd name="connsiteX9" fmla="*/ 3334 w 71342"/>
                <a:gd name="connsiteY9" fmla="*/ 17907 h 38481"/>
                <a:gd name="connsiteX10" fmla="*/ 7144 w 71342"/>
                <a:gd name="connsiteY10" fmla="*/ 21812 h 38481"/>
                <a:gd name="connsiteX11" fmla="*/ 0 w 71342"/>
                <a:gd name="connsiteY11" fmla="*/ 26670 h 38481"/>
                <a:gd name="connsiteX12" fmla="*/ 2667 w 71342"/>
                <a:gd name="connsiteY12" fmla="*/ 31052 h 38481"/>
                <a:gd name="connsiteX13" fmla="*/ 2667 w 71342"/>
                <a:gd name="connsiteY13" fmla="*/ 38195 h 38481"/>
                <a:gd name="connsiteX14" fmla="*/ 3048 w 71342"/>
                <a:gd name="connsiteY14" fmla="*/ 38481 h 38481"/>
                <a:gd name="connsiteX15" fmla="*/ 27813 w 71342"/>
                <a:gd name="connsiteY15" fmla="*/ 35052 h 3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42" h="38481">
                  <a:moveTo>
                    <a:pt x="27813" y="35052"/>
                  </a:moveTo>
                  <a:lnTo>
                    <a:pt x="40386" y="29718"/>
                  </a:lnTo>
                  <a:lnTo>
                    <a:pt x="64770" y="35052"/>
                  </a:lnTo>
                  <a:lnTo>
                    <a:pt x="71343" y="26956"/>
                  </a:lnTo>
                  <a:lnTo>
                    <a:pt x="54864" y="12859"/>
                  </a:lnTo>
                  <a:lnTo>
                    <a:pt x="42958" y="13145"/>
                  </a:lnTo>
                  <a:lnTo>
                    <a:pt x="39053" y="5048"/>
                  </a:lnTo>
                  <a:lnTo>
                    <a:pt x="18193" y="0"/>
                  </a:lnTo>
                  <a:lnTo>
                    <a:pt x="3334" y="4667"/>
                  </a:lnTo>
                  <a:lnTo>
                    <a:pt x="3334" y="17907"/>
                  </a:lnTo>
                  <a:lnTo>
                    <a:pt x="7144" y="21812"/>
                  </a:lnTo>
                  <a:lnTo>
                    <a:pt x="0" y="26670"/>
                  </a:lnTo>
                  <a:lnTo>
                    <a:pt x="2667" y="31052"/>
                  </a:lnTo>
                  <a:lnTo>
                    <a:pt x="2667" y="38195"/>
                  </a:lnTo>
                  <a:lnTo>
                    <a:pt x="3048" y="38481"/>
                  </a:lnTo>
                  <a:lnTo>
                    <a:pt x="27813" y="3505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1" name="Freeform: Shape 2921">
              <a:extLst>
                <a:ext uri="{FF2B5EF4-FFF2-40B4-BE49-F238E27FC236}">
                  <a16:creationId xmlns:a16="http://schemas.microsoft.com/office/drawing/2014/main" id="{922EAEED-2781-CDA6-DF0F-8452FCED1D52}"/>
                </a:ext>
              </a:extLst>
            </p:cNvPr>
            <p:cNvSpPr/>
            <p:nvPr/>
          </p:nvSpPr>
          <p:spPr>
            <a:xfrm>
              <a:off x="7188136" y="4386199"/>
              <a:ext cx="61722" cy="64198"/>
            </a:xfrm>
            <a:custGeom>
              <a:avLst/>
              <a:gdLst>
                <a:gd name="connsiteX0" fmla="*/ 28766 w 61722"/>
                <a:gd name="connsiteY0" fmla="*/ 5239 h 64198"/>
                <a:gd name="connsiteX1" fmla="*/ 21050 w 61722"/>
                <a:gd name="connsiteY1" fmla="*/ 2096 h 64198"/>
                <a:gd name="connsiteX2" fmla="*/ 16097 w 61722"/>
                <a:gd name="connsiteY2" fmla="*/ 6287 h 64198"/>
                <a:gd name="connsiteX3" fmla="*/ 1905 w 61722"/>
                <a:gd name="connsiteY3" fmla="*/ 0 h 64198"/>
                <a:gd name="connsiteX4" fmla="*/ 0 w 61722"/>
                <a:gd name="connsiteY4" fmla="*/ 3619 h 64198"/>
                <a:gd name="connsiteX5" fmla="*/ 381 w 61722"/>
                <a:gd name="connsiteY5" fmla="*/ 27241 h 64198"/>
                <a:gd name="connsiteX6" fmla="*/ 40672 w 61722"/>
                <a:gd name="connsiteY6" fmla="*/ 44387 h 64198"/>
                <a:gd name="connsiteX7" fmla="*/ 38671 w 61722"/>
                <a:gd name="connsiteY7" fmla="*/ 53340 h 64198"/>
                <a:gd name="connsiteX8" fmla="*/ 47530 w 61722"/>
                <a:gd name="connsiteY8" fmla="*/ 57626 h 64198"/>
                <a:gd name="connsiteX9" fmla="*/ 43625 w 61722"/>
                <a:gd name="connsiteY9" fmla="*/ 51340 h 64198"/>
                <a:gd name="connsiteX10" fmla="*/ 49911 w 61722"/>
                <a:gd name="connsiteY10" fmla="*/ 52388 h 64198"/>
                <a:gd name="connsiteX11" fmla="*/ 55150 w 61722"/>
                <a:gd name="connsiteY11" fmla="*/ 64198 h 64198"/>
                <a:gd name="connsiteX12" fmla="*/ 56388 w 61722"/>
                <a:gd name="connsiteY12" fmla="*/ 54769 h 64198"/>
                <a:gd name="connsiteX13" fmla="*/ 59436 w 61722"/>
                <a:gd name="connsiteY13" fmla="*/ 48292 h 64198"/>
                <a:gd name="connsiteX14" fmla="*/ 54293 w 61722"/>
                <a:gd name="connsiteY14" fmla="*/ 43339 h 64198"/>
                <a:gd name="connsiteX15" fmla="*/ 54769 w 61722"/>
                <a:gd name="connsiteY15" fmla="*/ 35623 h 64198"/>
                <a:gd name="connsiteX16" fmla="*/ 60770 w 61722"/>
                <a:gd name="connsiteY16" fmla="*/ 36671 h 64198"/>
                <a:gd name="connsiteX17" fmla="*/ 61722 w 61722"/>
                <a:gd name="connsiteY17" fmla="*/ 33814 h 64198"/>
                <a:gd name="connsiteX18" fmla="*/ 40672 w 61722"/>
                <a:gd name="connsiteY18" fmla="*/ 10763 h 64198"/>
                <a:gd name="connsiteX19" fmla="*/ 29242 w 61722"/>
                <a:gd name="connsiteY19" fmla="*/ 9239 h 64198"/>
                <a:gd name="connsiteX20" fmla="*/ 28766 w 61722"/>
                <a:gd name="connsiteY20" fmla="*/ 5239 h 6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722" h="64198">
                  <a:moveTo>
                    <a:pt x="28766" y="5239"/>
                  </a:moveTo>
                  <a:lnTo>
                    <a:pt x="21050" y="2096"/>
                  </a:lnTo>
                  <a:lnTo>
                    <a:pt x="16097" y="6287"/>
                  </a:lnTo>
                  <a:lnTo>
                    <a:pt x="1905" y="0"/>
                  </a:lnTo>
                  <a:lnTo>
                    <a:pt x="0" y="3619"/>
                  </a:lnTo>
                  <a:lnTo>
                    <a:pt x="381" y="27241"/>
                  </a:lnTo>
                  <a:lnTo>
                    <a:pt x="40672" y="44387"/>
                  </a:lnTo>
                  <a:lnTo>
                    <a:pt x="38671" y="53340"/>
                  </a:lnTo>
                  <a:lnTo>
                    <a:pt x="47530" y="57626"/>
                  </a:lnTo>
                  <a:lnTo>
                    <a:pt x="43625" y="51340"/>
                  </a:lnTo>
                  <a:lnTo>
                    <a:pt x="49911" y="52388"/>
                  </a:lnTo>
                  <a:lnTo>
                    <a:pt x="55150" y="64198"/>
                  </a:lnTo>
                  <a:lnTo>
                    <a:pt x="56388" y="54769"/>
                  </a:lnTo>
                  <a:lnTo>
                    <a:pt x="59436" y="48292"/>
                  </a:lnTo>
                  <a:lnTo>
                    <a:pt x="54293" y="43339"/>
                  </a:lnTo>
                  <a:lnTo>
                    <a:pt x="54769" y="35623"/>
                  </a:lnTo>
                  <a:lnTo>
                    <a:pt x="60770" y="36671"/>
                  </a:lnTo>
                  <a:lnTo>
                    <a:pt x="61722" y="33814"/>
                  </a:lnTo>
                  <a:lnTo>
                    <a:pt x="40672" y="10763"/>
                  </a:lnTo>
                  <a:lnTo>
                    <a:pt x="29242" y="9239"/>
                  </a:lnTo>
                  <a:lnTo>
                    <a:pt x="28766" y="5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2" name="Freeform: Shape 2922">
              <a:extLst>
                <a:ext uri="{FF2B5EF4-FFF2-40B4-BE49-F238E27FC236}">
                  <a16:creationId xmlns:a16="http://schemas.microsoft.com/office/drawing/2014/main" id="{0D02B422-6FA1-72A0-C01B-B8E774AAC358}"/>
                </a:ext>
              </a:extLst>
            </p:cNvPr>
            <p:cNvSpPr/>
            <p:nvPr/>
          </p:nvSpPr>
          <p:spPr>
            <a:xfrm>
              <a:off x="7212615" y="4141311"/>
              <a:ext cx="204311" cy="71437"/>
            </a:xfrm>
            <a:custGeom>
              <a:avLst/>
              <a:gdLst>
                <a:gd name="connsiteX0" fmla="*/ 3239 w 204311"/>
                <a:gd name="connsiteY0" fmla="*/ 25337 h 71437"/>
                <a:gd name="connsiteX1" fmla="*/ 0 w 204311"/>
                <a:gd name="connsiteY1" fmla="*/ 21431 h 71437"/>
                <a:gd name="connsiteX2" fmla="*/ 4572 w 204311"/>
                <a:gd name="connsiteY2" fmla="*/ 13335 h 71437"/>
                <a:gd name="connsiteX3" fmla="*/ 24099 w 204311"/>
                <a:gd name="connsiteY3" fmla="*/ 4572 h 71437"/>
                <a:gd name="connsiteX4" fmla="*/ 65723 w 204311"/>
                <a:gd name="connsiteY4" fmla="*/ 0 h 71437"/>
                <a:gd name="connsiteX5" fmla="*/ 65056 w 204311"/>
                <a:gd name="connsiteY5" fmla="*/ 3905 h 71437"/>
                <a:gd name="connsiteX6" fmla="*/ 92107 w 204311"/>
                <a:gd name="connsiteY6" fmla="*/ 6763 h 71437"/>
                <a:gd name="connsiteX7" fmla="*/ 101346 w 204311"/>
                <a:gd name="connsiteY7" fmla="*/ 17240 h 71437"/>
                <a:gd name="connsiteX8" fmla="*/ 113919 w 204311"/>
                <a:gd name="connsiteY8" fmla="*/ 17526 h 71437"/>
                <a:gd name="connsiteX9" fmla="*/ 141637 w 204311"/>
                <a:gd name="connsiteY9" fmla="*/ 30861 h 71437"/>
                <a:gd name="connsiteX10" fmla="*/ 149543 w 204311"/>
                <a:gd name="connsiteY10" fmla="*/ 40386 h 71437"/>
                <a:gd name="connsiteX11" fmla="*/ 174974 w 204311"/>
                <a:gd name="connsiteY11" fmla="*/ 45244 h 71437"/>
                <a:gd name="connsiteX12" fmla="*/ 172688 w 204311"/>
                <a:gd name="connsiteY12" fmla="*/ 52959 h 71437"/>
                <a:gd name="connsiteX13" fmla="*/ 188214 w 204311"/>
                <a:gd name="connsiteY13" fmla="*/ 53340 h 71437"/>
                <a:gd name="connsiteX14" fmla="*/ 204311 w 204311"/>
                <a:gd name="connsiteY14" fmla="*/ 64008 h 71437"/>
                <a:gd name="connsiteX15" fmla="*/ 186500 w 204311"/>
                <a:gd name="connsiteY15" fmla="*/ 69628 h 71437"/>
                <a:gd name="connsiteX16" fmla="*/ 185166 w 204311"/>
                <a:gd name="connsiteY16" fmla="*/ 66675 h 71437"/>
                <a:gd name="connsiteX17" fmla="*/ 180213 w 204311"/>
                <a:gd name="connsiteY17" fmla="*/ 70104 h 71437"/>
                <a:gd name="connsiteX18" fmla="*/ 164783 w 204311"/>
                <a:gd name="connsiteY18" fmla="*/ 68009 h 71437"/>
                <a:gd name="connsiteX19" fmla="*/ 134017 w 204311"/>
                <a:gd name="connsiteY19" fmla="*/ 71438 h 71437"/>
                <a:gd name="connsiteX20" fmla="*/ 138303 w 204311"/>
                <a:gd name="connsiteY20" fmla="*/ 64675 h 71437"/>
                <a:gd name="connsiteX21" fmla="*/ 145256 w 204311"/>
                <a:gd name="connsiteY21" fmla="*/ 60293 h 71437"/>
                <a:gd name="connsiteX22" fmla="*/ 143637 w 204311"/>
                <a:gd name="connsiteY22" fmla="*/ 54388 h 71437"/>
                <a:gd name="connsiteX23" fmla="*/ 124778 w 204311"/>
                <a:gd name="connsiteY23" fmla="*/ 51626 h 71437"/>
                <a:gd name="connsiteX24" fmla="*/ 113252 w 204311"/>
                <a:gd name="connsiteY24" fmla="*/ 33338 h 71437"/>
                <a:gd name="connsiteX25" fmla="*/ 91059 w 204311"/>
                <a:gd name="connsiteY25" fmla="*/ 32671 h 71437"/>
                <a:gd name="connsiteX26" fmla="*/ 78581 w 204311"/>
                <a:gd name="connsiteY26" fmla="*/ 21812 h 71437"/>
                <a:gd name="connsiteX27" fmla="*/ 50864 w 204311"/>
                <a:gd name="connsiteY27" fmla="*/ 11240 h 71437"/>
                <a:gd name="connsiteX28" fmla="*/ 32957 w 204311"/>
                <a:gd name="connsiteY28" fmla="*/ 11240 h 71437"/>
                <a:gd name="connsiteX29" fmla="*/ 3239 w 204311"/>
                <a:gd name="connsiteY29" fmla="*/ 25337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4311" h="71437">
                  <a:moveTo>
                    <a:pt x="3239" y="25337"/>
                  </a:moveTo>
                  <a:lnTo>
                    <a:pt x="0" y="21431"/>
                  </a:lnTo>
                  <a:lnTo>
                    <a:pt x="4572" y="13335"/>
                  </a:lnTo>
                  <a:lnTo>
                    <a:pt x="24099" y="4572"/>
                  </a:lnTo>
                  <a:lnTo>
                    <a:pt x="65723" y="0"/>
                  </a:lnTo>
                  <a:lnTo>
                    <a:pt x="65056" y="3905"/>
                  </a:lnTo>
                  <a:lnTo>
                    <a:pt x="92107" y="6763"/>
                  </a:lnTo>
                  <a:lnTo>
                    <a:pt x="101346" y="17240"/>
                  </a:lnTo>
                  <a:lnTo>
                    <a:pt x="113919" y="17526"/>
                  </a:lnTo>
                  <a:lnTo>
                    <a:pt x="141637" y="30861"/>
                  </a:lnTo>
                  <a:lnTo>
                    <a:pt x="149543" y="40386"/>
                  </a:lnTo>
                  <a:lnTo>
                    <a:pt x="174974" y="45244"/>
                  </a:lnTo>
                  <a:lnTo>
                    <a:pt x="172688" y="52959"/>
                  </a:lnTo>
                  <a:lnTo>
                    <a:pt x="188214" y="53340"/>
                  </a:lnTo>
                  <a:lnTo>
                    <a:pt x="204311" y="64008"/>
                  </a:lnTo>
                  <a:lnTo>
                    <a:pt x="186500" y="69628"/>
                  </a:lnTo>
                  <a:lnTo>
                    <a:pt x="185166" y="66675"/>
                  </a:lnTo>
                  <a:lnTo>
                    <a:pt x="180213" y="70104"/>
                  </a:lnTo>
                  <a:lnTo>
                    <a:pt x="164783" y="68009"/>
                  </a:lnTo>
                  <a:lnTo>
                    <a:pt x="134017" y="71438"/>
                  </a:lnTo>
                  <a:lnTo>
                    <a:pt x="138303" y="64675"/>
                  </a:lnTo>
                  <a:lnTo>
                    <a:pt x="145256" y="60293"/>
                  </a:lnTo>
                  <a:lnTo>
                    <a:pt x="143637" y="54388"/>
                  </a:lnTo>
                  <a:lnTo>
                    <a:pt x="124778" y="51626"/>
                  </a:lnTo>
                  <a:lnTo>
                    <a:pt x="113252" y="33338"/>
                  </a:lnTo>
                  <a:lnTo>
                    <a:pt x="91059" y="32671"/>
                  </a:lnTo>
                  <a:lnTo>
                    <a:pt x="78581" y="21812"/>
                  </a:lnTo>
                  <a:lnTo>
                    <a:pt x="50864" y="11240"/>
                  </a:lnTo>
                  <a:lnTo>
                    <a:pt x="32957" y="11240"/>
                  </a:lnTo>
                  <a:lnTo>
                    <a:pt x="3239" y="2533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3" name="Freeform: Shape 2923">
              <a:extLst>
                <a:ext uri="{FF2B5EF4-FFF2-40B4-BE49-F238E27FC236}">
                  <a16:creationId xmlns:a16="http://schemas.microsoft.com/office/drawing/2014/main" id="{86D6857B-5DCD-07B8-850C-1686C5F68165}"/>
                </a:ext>
              </a:extLst>
            </p:cNvPr>
            <p:cNvSpPr/>
            <p:nvPr/>
          </p:nvSpPr>
          <p:spPr>
            <a:xfrm>
              <a:off x="6988397" y="2460910"/>
              <a:ext cx="185546" cy="147351"/>
            </a:xfrm>
            <a:custGeom>
              <a:avLst/>
              <a:gdLst>
                <a:gd name="connsiteX0" fmla="*/ 28384 w 185546"/>
                <a:gd name="connsiteY0" fmla="*/ 14192 h 147351"/>
                <a:gd name="connsiteX1" fmla="*/ 28384 w 185546"/>
                <a:gd name="connsiteY1" fmla="*/ 14192 h 147351"/>
                <a:gd name="connsiteX2" fmla="*/ 43910 w 185546"/>
                <a:gd name="connsiteY2" fmla="*/ 23241 h 147351"/>
                <a:gd name="connsiteX3" fmla="*/ 44577 w 185546"/>
                <a:gd name="connsiteY3" fmla="*/ 0 h 147351"/>
                <a:gd name="connsiteX4" fmla="*/ 76581 w 185546"/>
                <a:gd name="connsiteY4" fmla="*/ 7239 h 147351"/>
                <a:gd name="connsiteX5" fmla="*/ 99060 w 185546"/>
                <a:gd name="connsiteY5" fmla="*/ 43529 h 147351"/>
                <a:gd name="connsiteX6" fmla="*/ 128778 w 185546"/>
                <a:gd name="connsiteY6" fmla="*/ 46196 h 147351"/>
                <a:gd name="connsiteX7" fmla="*/ 143256 w 185546"/>
                <a:gd name="connsiteY7" fmla="*/ 68389 h 147351"/>
                <a:gd name="connsiteX8" fmla="*/ 160115 w 185546"/>
                <a:gd name="connsiteY8" fmla="*/ 51530 h 147351"/>
                <a:gd name="connsiteX9" fmla="*/ 164782 w 185546"/>
                <a:gd name="connsiteY9" fmla="*/ 92392 h 147351"/>
                <a:gd name="connsiteX10" fmla="*/ 185547 w 185546"/>
                <a:gd name="connsiteY10" fmla="*/ 97536 h 147351"/>
                <a:gd name="connsiteX11" fmla="*/ 174307 w 185546"/>
                <a:gd name="connsiteY11" fmla="*/ 120777 h 147351"/>
                <a:gd name="connsiteX12" fmla="*/ 137636 w 185546"/>
                <a:gd name="connsiteY12" fmla="*/ 147352 h 147351"/>
                <a:gd name="connsiteX13" fmla="*/ 120968 w 185546"/>
                <a:gd name="connsiteY13" fmla="*/ 124682 h 147351"/>
                <a:gd name="connsiteX14" fmla="*/ 124492 w 185546"/>
                <a:gd name="connsiteY14" fmla="*/ 147352 h 147351"/>
                <a:gd name="connsiteX15" fmla="*/ 72961 w 185546"/>
                <a:gd name="connsiteY15" fmla="*/ 144685 h 147351"/>
                <a:gd name="connsiteX16" fmla="*/ 29718 w 185546"/>
                <a:gd name="connsiteY16" fmla="*/ 114871 h 147351"/>
                <a:gd name="connsiteX17" fmla="*/ 68294 w 185546"/>
                <a:gd name="connsiteY17" fmla="*/ 107632 h 147351"/>
                <a:gd name="connsiteX18" fmla="*/ 47434 w 185546"/>
                <a:gd name="connsiteY18" fmla="*/ 90583 h 147351"/>
                <a:gd name="connsiteX19" fmla="*/ 25241 w 185546"/>
                <a:gd name="connsiteY19" fmla="*/ 107632 h 147351"/>
                <a:gd name="connsiteX20" fmla="*/ 0 w 185546"/>
                <a:gd name="connsiteY20" fmla="*/ 97060 h 147351"/>
                <a:gd name="connsiteX21" fmla="*/ 29337 w 185546"/>
                <a:gd name="connsiteY21" fmla="*/ 83153 h 147351"/>
                <a:gd name="connsiteX22" fmla="*/ 28384 w 185546"/>
                <a:gd name="connsiteY22" fmla="*/ 14192 h 14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5546" h="147351">
                  <a:moveTo>
                    <a:pt x="28384" y="14192"/>
                  </a:moveTo>
                  <a:lnTo>
                    <a:pt x="28384" y="14192"/>
                  </a:lnTo>
                  <a:lnTo>
                    <a:pt x="43910" y="23241"/>
                  </a:lnTo>
                  <a:lnTo>
                    <a:pt x="44577" y="0"/>
                  </a:lnTo>
                  <a:lnTo>
                    <a:pt x="76581" y="7239"/>
                  </a:lnTo>
                  <a:lnTo>
                    <a:pt x="99060" y="43529"/>
                  </a:lnTo>
                  <a:lnTo>
                    <a:pt x="128778" y="46196"/>
                  </a:lnTo>
                  <a:lnTo>
                    <a:pt x="143256" y="68389"/>
                  </a:lnTo>
                  <a:lnTo>
                    <a:pt x="160115" y="51530"/>
                  </a:lnTo>
                  <a:lnTo>
                    <a:pt x="164782" y="92392"/>
                  </a:lnTo>
                  <a:lnTo>
                    <a:pt x="185547" y="97536"/>
                  </a:lnTo>
                  <a:lnTo>
                    <a:pt x="174307" y="120777"/>
                  </a:lnTo>
                  <a:lnTo>
                    <a:pt x="137636" y="147352"/>
                  </a:lnTo>
                  <a:lnTo>
                    <a:pt x="120968" y="124682"/>
                  </a:lnTo>
                  <a:lnTo>
                    <a:pt x="124492" y="147352"/>
                  </a:lnTo>
                  <a:lnTo>
                    <a:pt x="72961" y="144685"/>
                  </a:lnTo>
                  <a:lnTo>
                    <a:pt x="29718" y="114871"/>
                  </a:lnTo>
                  <a:lnTo>
                    <a:pt x="68294" y="107632"/>
                  </a:lnTo>
                  <a:lnTo>
                    <a:pt x="47434" y="90583"/>
                  </a:lnTo>
                  <a:lnTo>
                    <a:pt x="25241" y="107632"/>
                  </a:lnTo>
                  <a:lnTo>
                    <a:pt x="0" y="97060"/>
                  </a:lnTo>
                  <a:lnTo>
                    <a:pt x="29337" y="83153"/>
                  </a:lnTo>
                  <a:lnTo>
                    <a:pt x="28384" y="1419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4" name="Freeform: Shape 2924">
              <a:extLst>
                <a:ext uri="{FF2B5EF4-FFF2-40B4-BE49-F238E27FC236}">
                  <a16:creationId xmlns:a16="http://schemas.microsoft.com/office/drawing/2014/main" id="{15E95CFF-F8A8-3C45-6DCE-C1DEF67DC518}"/>
                </a:ext>
              </a:extLst>
            </p:cNvPr>
            <p:cNvSpPr/>
            <p:nvPr/>
          </p:nvSpPr>
          <p:spPr>
            <a:xfrm>
              <a:off x="7064025" y="2368422"/>
              <a:ext cx="611505" cy="319849"/>
            </a:xfrm>
            <a:custGeom>
              <a:avLst/>
              <a:gdLst>
                <a:gd name="connsiteX0" fmla="*/ 301466 w 611505"/>
                <a:gd name="connsiteY0" fmla="*/ 25432 h 319849"/>
                <a:gd name="connsiteX1" fmla="*/ 296037 w 611505"/>
                <a:gd name="connsiteY1" fmla="*/ 4572 h 319849"/>
                <a:gd name="connsiteX2" fmla="*/ 348329 w 611505"/>
                <a:gd name="connsiteY2" fmla="*/ 5334 h 319849"/>
                <a:gd name="connsiteX3" fmla="*/ 382619 w 611505"/>
                <a:gd name="connsiteY3" fmla="*/ 22193 h 319849"/>
                <a:gd name="connsiteX4" fmla="*/ 375380 w 611505"/>
                <a:gd name="connsiteY4" fmla="*/ 2667 h 319849"/>
                <a:gd name="connsiteX5" fmla="*/ 417671 w 611505"/>
                <a:gd name="connsiteY5" fmla="*/ 12383 h 319849"/>
                <a:gd name="connsiteX6" fmla="*/ 438435 w 611505"/>
                <a:gd name="connsiteY6" fmla="*/ 0 h 319849"/>
                <a:gd name="connsiteX7" fmla="*/ 496062 w 611505"/>
                <a:gd name="connsiteY7" fmla="*/ 8477 h 319849"/>
                <a:gd name="connsiteX8" fmla="*/ 473773 w 611505"/>
                <a:gd name="connsiteY8" fmla="*/ 22193 h 319849"/>
                <a:gd name="connsiteX9" fmla="*/ 536257 w 611505"/>
                <a:gd name="connsiteY9" fmla="*/ 11621 h 319849"/>
                <a:gd name="connsiteX10" fmla="*/ 544830 w 611505"/>
                <a:gd name="connsiteY10" fmla="*/ 18669 h 319849"/>
                <a:gd name="connsiteX11" fmla="*/ 565880 w 611505"/>
                <a:gd name="connsiteY11" fmla="*/ 16954 h 319849"/>
                <a:gd name="connsiteX12" fmla="*/ 573405 w 611505"/>
                <a:gd name="connsiteY12" fmla="*/ 26098 h 319849"/>
                <a:gd name="connsiteX13" fmla="*/ 567118 w 611505"/>
                <a:gd name="connsiteY13" fmla="*/ 44196 h 319849"/>
                <a:gd name="connsiteX14" fmla="*/ 588359 w 611505"/>
                <a:gd name="connsiteY14" fmla="*/ 31147 h 319849"/>
                <a:gd name="connsiteX15" fmla="*/ 611505 w 611505"/>
                <a:gd name="connsiteY15" fmla="*/ 42672 h 319849"/>
                <a:gd name="connsiteX16" fmla="*/ 546449 w 611505"/>
                <a:gd name="connsiteY16" fmla="*/ 74676 h 319849"/>
                <a:gd name="connsiteX17" fmla="*/ 544830 w 611505"/>
                <a:gd name="connsiteY17" fmla="*/ 88011 h 319849"/>
                <a:gd name="connsiteX18" fmla="*/ 490347 w 611505"/>
                <a:gd name="connsiteY18" fmla="*/ 116491 h 319849"/>
                <a:gd name="connsiteX19" fmla="*/ 479965 w 611505"/>
                <a:gd name="connsiteY19" fmla="*/ 110871 h 319849"/>
                <a:gd name="connsiteX20" fmla="*/ 481393 w 611505"/>
                <a:gd name="connsiteY20" fmla="*/ 120872 h 319849"/>
                <a:gd name="connsiteX21" fmla="*/ 455295 w 611505"/>
                <a:gd name="connsiteY21" fmla="*/ 133350 h 319849"/>
                <a:gd name="connsiteX22" fmla="*/ 446056 w 611505"/>
                <a:gd name="connsiteY22" fmla="*/ 145828 h 319849"/>
                <a:gd name="connsiteX23" fmla="*/ 418624 w 611505"/>
                <a:gd name="connsiteY23" fmla="*/ 136017 h 319849"/>
                <a:gd name="connsiteX24" fmla="*/ 412432 w 611505"/>
                <a:gd name="connsiteY24" fmla="*/ 174974 h 319849"/>
                <a:gd name="connsiteX25" fmla="*/ 363093 w 611505"/>
                <a:gd name="connsiteY25" fmla="*/ 168592 h 319849"/>
                <a:gd name="connsiteX26" fmla="*/ 342043 w 611505"/>
                <a:gd name="connsiteY26" fmla="*/ 174974 h 319849"/>
                <a:gd name="connsiteX27" fmla="*/ 368141 w 611505"/>
                <a:gd name="connsiteY27" fmla="*/ 175641 h 319849"/>
                <a:gd name="connsiteX28" fmla="*/ 372809 w 611505"/>
                <a:gd name="connsiteY28" fmla="*/ 184309 h 319849"/>
                <a:gd name="connsiteX29" fmla="*/ 321945 w 611505"/>
                <a:gd name="connsiteY29" fmla="*/ 190214 h 319849"/>
                <a:gd name="connsiteX30" fmla="*/ 293179 w 611505"/>
                <a:gd name="connsiteY30" fmla="*/ 184309 h 319849"/>
                <a:gd name="connsiteX31" fmla="*/ 258794 w 611505"/>
                <a:gd name="connsiteY31" fmla="*/ 203454 h 319849"/>
                <a:gd name="connsiteX32" fmla="*/ 301752 w 611505"/>
                <a:gd name="connsiteY32" fmla="*/ 204788 h 319849"/>
                <a:gd name="connsiteX33" fmla="*/ 317659 w 611505"/>
                <a:gd name="connsiteY33" fmla="*/ 247079 h 319849"/>
                <a:gd name="connsiteX34" fmla="*/ 269081 w 611505"/>
                <a:gd name="connsiteY34" fmla="*/ 248412 h 319849"/>
                <a:gd name="connsiteX35" fmla="*/ 281940 w 611505"/>
                <a:gd name="connsiteY35" fmla="*/ 261652 h 319849"/>
                <a:gd name="connsiteX36" fmla="*/ 240030 w 611505"/>
                <a:gd name="connsiteY36" fmla="*/ 270891 h 319849"/>
                <a:gd name="connsiteX37" fmla="*/ 198406 w 611505"/>
                <a:gd name="connsiteY37" fmla="*/ 258318 h 319849"/>
                <a:gd name="connsiteX38" fmla="*/ 199739 w 611505"/>
                <a:gd name="connsiteY38" fmla="*/ 278892 h 319849"/>
                <a:gd name="connsiteX39" fmla="*/ 215265 w 611505"/>
                <a:gd name="connsiteY39" fmla="*/ 274225 h 319849"/>
                <a:gd name="connsiteX40" fmla="*/ 255841 w 611505"/>
                <a:gd name="connsiteY40" fmla="*/ 279559 h 319849"/>
                <a:gd name="connsiteX41" fmla="*/ 273748 w 611505"/>
                <a:gd name="connsiteY41" fmla="*/ 304038 h 319849"/>
                <a:gd name="connsiteX42" fmla="*/ 215932 w 611505"/>
                <a:gd name="connsiteY42" fmla="*/ 319850 h 319849"/>
                <a:gd name="connsiteX43" fmla="*/ 221552 w 611505"/>
                <a:gd name="connsiteY43" fmla="*/ 308610 h 319849"/>
                <a:gd name="connsiteX44" fmla="*/ 196405 w 611505"/>
                <a:gd name="connsiteY44" fmla="*/ 304705 h 319849"/>
                <a:gd name="connsiteX45" fmla="*/ 182880 w 611505"/>
                <a:gd name="connsiteY45" fmla="*/ 292799 h 319849"/>
                <a:gd name="connsiteX46" fmla="*/ 181070 w 611505"/>
                <a:gd name="connsiteY46" fmla="*/ 307086 h 319849"/>
                <a:gd name="connsiteX47" fmla="*/ 169354 w 611505"/>
                <a:gd name="connsiteY47" fmla="*/ 294799 h 319849"/>
                <a:gd name="connsiteX48" fmla="*/ 167164 w 611505"/>
                <a:gd name="connsiteY48" fmla="*/ 308610 h 319849"/>
                <a:gd name="connsiteX49" fmla="*/ 138969 w 611505"/>
                <a:gd name="connsiteY49" fmla="*/ 313944 h 319849"/>
                <a:gd name="connsiteX50" fmla="*/ 105632 w 611505"/>
                <a:gd name="connsiteY50" fmla="*/ 300038 h 319849"/>
                <a:gd name="connsiteX51" fmla="*/ 101441 w 611505"/>
                <a:gd name="connsiteY51" fmla="*/ 312515 h 319849"/>
                <a:gd name="connsiteX52" fmla="*/ 90964 w 611505"/>
                <a:gd name="connsiteY52" fmla="*/ 299371 h 319849"/>
                <a:gd name="connsiteX53" fmla="*/ 86296 w 611505"/>
                <a:gd name="connsiteY53" fmla="*/ 314801 h 319849"/>
                <a:gd name="connsiteX54" fmla="*/ 51530 w 611505"/>
                <a:gd name="connsiteY54" fmla="*/ 296990 h 319849"/>
                <a:gd name="connsiteX55" fmla="*/ 67342 w 611505"/>
                <a:gd name="connsiteY55" fmla="*/ 281464 h 319849"/>
                <a:gd name="connsiteX56" fmla="*/ 73914 w 611505"/>
                <a:gd name="connsiteY56" fmla="*/ 251746 h 319849"/>
                <a:gd name="connsiteX57" fmla="*/ 110300 w 611505"/>
                <a:gd name="connsiteY57" fmla="*/ 253079 h 319849"/>
                <a:gd name="connsiteX58" fmla="*/ 121825 w 611505"/>
                <a:gd name="connsiteY58" fmla="*/ 268986 h 319849"/>
                <a:gd name="connsiteX59" fmla="*/ 171735 w 611505"/>
                <a:gd name="connsiteY59" fmla="*/ 277654 h 319849"/>
                <a:gd name="connsiteX60" fmla="*/ 190785 w 611505"/>
                <a:gd name="connsiteY60" fmla="*/ 242411 h 319849"/>
                <a:gd name="connsiteX61" fmla="*/ 186214 w 611505"/>
                <a:gd name="connsiteY61" fmla="*/ 243078 h 319849"/>
                <a:gd name="connsiteX62" fmla="*/ 160211 w 611505"/>
                <a:gd name="connsiteY62" fmla="*/ 257461 h 319849"/>
                <a:gd name="connsiteX63" fmla="*/ 144780 w 611505"/>
                <a:gd name="connsiteY63" fmla="*/ 230315 h 319849"/>
                <a:gd name="connsiteX64" fmla="*/ 127730 w 611505"/>
                <a:gd name="connsiteY64" fmla="*/ 241840 h 319849"/>
                <a:gd name="connsiteX65" fmla="*/ 105251 w 611505"/>
                <a:gd name="connsiteY65" fmla="*/ 214027 h 319849"/>
                <a:gd name="connsiteX66" fmla="*/ 143256 w 611505"/>
                <a:gd name="connsiteY66" fmla="*/ 211360 h 319849"/>
                <a:gd name="connsiteX67" fmla="*/ 176117 w 611505"/>
                <a:gd name="connsiteY67" fmla="*/ 218504 h 319849"/>
                <a:gd name="connsiteX68" fmla="*/ 146971 w 611505"/>
                <a:gd name="connsiteY68" fmla="*/ 201644 h 319849"/>
                <a:gd name="connsiteX69" fmla="*/ 153067 w 611505"/>
                <a:gd name="connsiteY69" fmla="*/ 192405 h 319849"/>
                <a:gd name="connsiteX70" fmla="*/ 136303 w 611505"/>
                <a:gd name="connsiteY70" fmla="*/ 180880 h 319849"/>
                <a:gd name="connsiteX71" fmla="*/ 108299 w 611505"/>
                <a:gd name="connsiteY71" fmla="*/ 175641 h 319849"/>
                <a:gd name="connsiteX72" fmla="*/ 107632 w 611505"/>
                <a:gd name="connsiteY72" fmla="*/ 150304 h 319849"/>
                <a:gd name="connsiteX73" fmla="*/ 171355 w 611505"/>
                <a:gd name="connsiteY73" fmla="*/ 154591 h 319849"/>
                <a:gd name="connsiteX74" fmla="*/ 190405 w 611505"/>
                <a:gd name="connsiteY74" fmla="*/ 169926 h 319849"/>
                <a:gd name="connsiteX75" fmla="*/ 181546 w 611505"/>
                <a:gd name="connsiteY75" fmla="*/ 149066 h 319849"/>
                <a:gd name="connsiteX76" fmla="*/ 232029 w 611505"/>
                <a:gd name="connsiteY76" fmla="*/ 151067 h 319849"/>
                <a:gd name="connsiteX77" fmla="*/ 253460 w 611505"/>
                <a:gd name="connsiteY77" fmla="*/ 166021 h 319849"/>
                <a:gd name="connsiteX78" fmla="*/ 232791 w 611505"/>
                <a:gd name="connsiteY78" fmla="*/ 139541 h 319849"/>
                <a:gd name="connsiteX79" fmla="*/ 186023 w 611505"/>
                <a:gd name="connsiteY79" fmla="*/ 136588 h 319849"/>
                <a:gd name="connsiteX80" fmla="*/ 197739 w 611505"/>
                <a:gd name="connsiteY80" fmla="*/ 112586 h 319849"/>
                <a:gd name="connsiteX81" fmla="*/ 160401 w 611505"/>
                <a:gd name="connsiteY81" fmla="*/ 136588 h 319849"/>
                <a:gd name="connsiteX82" fmla="*/ 102965 w 611505"/>
                <a:gd name="connsiteY82" fmla="*/ 134303 h 319849"/>
                <a:gd name="connsiteX83" fmla="*/ 137350 w 611505"/>
                <a:gd name="connsiteY83" fmla="*/ 116586 h 319849"/>
                <a:gd name="connsiteX84" fmla="*/ 150019 w 611505"/>
                <a:gd name="connsiteY84" fmla="*/ 122111 h 319849"/>
                <a:gd name="connsiteX85" fmla="*/ 170212 w 611505"/>
                <a:gd name="connsiteY85" fmla="*/ 104775 h 319849"/>
                <a:gd name="connsiteX86" fmla="*/ 126397 w 611505"/>
                <a:gd name="connsiteY86" fmla="*/ 108775 h 319849"/>
                <a:gd name="connsiteX87" fmla="*/ 135827 w 611505"/>
                <a:gd name="connsiteY87" fmla="*/ 89821 h 319849"/>
                <a:gd name="connsiteX88" fmla="*/ 90488 w 611505"/>
                <a:gd name="connsiteY88" fmla="*/ 109347 h 319849"/>
                <a:gd name="connsiteX89" fmla="*/ 48482 w 611505"/>
                <a:gd name="connsiteY89" fmla="*/ 116396 h 319849"/>
                <a:gd name="connsiteX90" fmla="*/ 37624 w 611505"/>
                <a:gd name="connsiteY90" fmla="*/ 100489 h 319849"/>
                <a:gd name="connsiteX91" fmla="*/ 50863 w 611505"/>
                <a:gd name="connsiteY91" fmla="*/ 104299 h 319849"/>
                <a:gd name="connsiteX92" fmla="*/ 48292 w 611505"/>
                <a:gd name="connsiteY92" fmla="*/ 93536 h 319849"/>
                <a:gd name="connsiteX93" fmla="*/ 85534 w 611505"/>
                <a:gd name="connsiteY93" fmla="*/ 95917 h 319849"/>
                <a:gd name="connsiteX94" fmla="*/ 72294 w 611505"/>
                <a:gd name="connsiteY94" fmla="*/ 81820 h 319849"/>
                <a:gd name="connsiteX95" fmla="*/ 29718 w 611505"/>
                <a:gd name="connsiteY95" fmla="*/ 93345 h 319849"/>
                <a:gd name="connsiteX96" fmla="*/ 32957 w 611505"/>
                <a:gd name="connsiteY96" fmla="*/ 81343 h 319849"/>
                <a:gd name="connsiteX97" fmla="*/ 0 w 611505"/>
                <a:gd name="connsiteY97" fmla="*/ 78296 h 319849"/>
                <a:gd name="connsiteX98" fmla="*/ 32004 w 611505"/>
                <a:gd name="connsiteY98" fmla="*/ 64865 h 319849"/>
                <a:gd name="connsiteX99" fmla="*/ 76581 w 611505"/>
                <a:gd name="connsiteY99" fmla="*/ 54197 h 319849"/>
                <a:gd name="connsiteX100" fmla="*/ 145256 w 611505"/>
                <a:gd name="connsiteY100" fmla="*/ 65818 h 319849"/>
                <a:gd name="connsiteX101" fmla="*/ 136684 w 611505"/>
                <a:gd name="connsiteY101" fmla="*/ 33814 h 319849"/>
                <a:gd name="connsiteX102" fmla="*/ 144970 w 611505"/>
                <a:gd name="connsiteY102" fmla="*/ 34671 h 319849"/>
                <a:gd name="connsiteX103" fmla="*/ 172117 w 611505"/>
                <a:gd name="connsiteY103" fmla="*/ 59436 h 319849"/>
                <a:gd name="connsiteX104" fmla="*/ 192977 w 611505"/>
                <a:gd name="connsiteY104" fmla="*/ 57055 h 319849"/>
                <a:gd name="connsiteX105" fmla="*/ 184213 w 611505"/>
                <a:gd name="connsiteY105" fmla="*/ 44482 h 319849"/>
                <a:gd name="connsiteX106" fmla="*/ 251936 w 611505"/>
                <a:gd name="connsiteY106" fmla="*/ 69342 h 319849"/>
                <a:gd name="connsiteX107" fmla="*/ 239839 w 611505"/>
                <a:gd name="connsiteY107" fmla="*/ 50101 h 319849"/>
                <a:gd name="connsiteX108" fmla="*/ 216884 w 611505"/>
                <a:gd name="connsiteY108" fmla="*/ 50768 h 319849"/>
                <a:gd name="connsiteX109" fmla="*/ 218694 w 611505"/>
                <a:gd name="connsiteY109" fmla="*/ 41434 h 319849"/>
                <a:gd name="connsiteX110" fmla="*/ 182594 w 611505"/>
                <a:gd name="connsiteY110" fmla="*/ 38195 h 319849"/>
                <a:gd name="connsiteX111" fmla="*/ 192786 w 611505"/>
                <a:gd name="connsiteY111" fmla="*/ 24003 h 319849"/>
                <a:gd name="connsiteX112" fmla="*/ 225171 w 611505"/>
                <a:gd name="connsiteY112" fmla="*/ 30194 h 319849"/>
                <a:gd name="connsiteX113" fmla="*/ 210121 w 611505"/>
                <a:gd name="connsiteY113" fmla="*/ 15716 h 319849"/>
                <a:gd name="connsiteX114" fmla="*/ 229076 w 611505"/>
                <a:gd name="connsiteY114" fmla="*/ 17717 h 319849"/>
                <a:gd name="connsiteX115" fmla="*/ 239363 w 611505"/>
                <a:gd name="connsiteY115" fmla="*/ 24860 h 319849"/>
                <a:gd name="connsiteX116" fmla="*/ 266129 w 611505"/>
                <a:gd name="connsiteY116" fmla="*/ 23146 h 319849"/>
                <a:gd name="connsiteX117" fmla="*/ 247650 w 611505"/>
                <a:gd name="connsiteY117" fmla="*/ 8001 h 319849"/>
                <a:gd name="connsiteX118" fmla="*/ 289370 w 611505"/>
                <a:gd name="connsiteY118" fmla="*/ 11525 h 319849"/>
                <a:gd name="connsiteX119" fmla="*/ 301466 w 611505"/>
                <a:gd name="connsiteY119" fmla="*/ 25432 h 3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11505" h="319849">
                  <a:moveTo>
                    <a:pt x="301466" y="25432"/>
                  </a:moveTo>
                  <a:lnTo>
                    <a:pt x="296037" y="4572"/>
                  </a:lnTo>
                  <a:lnTo>
                    <a:pt x="348329" y="5334"/>
                  </a:lnTo>
                  <a:lnTo>
                    <a:pt x="382619" y="22193"/>
                  </a:lnTo>
                  <a:lnTo>
                    <a:pt x="375380" y="2667"/>
                  </a:lnTo>
                  <a:lnTo>
                    <a:pt x="417671" y="12383"/>
                  </a:lnTo>
                  <a:lnTo>
                    <a:pt x="438435" y="0"/>
                  </a:lnTo>
                  <a:lnTo>
                    <a:pt x="496062" y="8477"/>
                  </a:lnTo>
                  <a:lnTo>
                    <a:pt x="473773" y="22193"/>
                  </a:lnTo>
                  <a:lnTo>
                    <a:pt x="536257" y="11621"/>
                  </a:lnTo>
                  <a:lnTo>
                    <a:pt x="544830" y="18669"/>
                  </a:lnTo>
                  <a:lnTo>
                    <a:pt x="565880" y="16954"/>
                  </a:lnTo>
                  <a:lnTo>
                    <a:pt x="573405" y="26098"/>
                  </a:lnTo>
                  <a:lnTo>
                    <a:pt x="567118" y="44196"/>
                  </a:lnTo>
                  <a:lnTo>
                    <a:pt x="588359" y="31147"/>
                  </a:lnTo>
                  <a:lnTo>
                    <a:pt x="611505" y="42672"/>
                  </a:lnTo>
                  <a:lnTo>
                    <a:pt x="546449" y="74676"/>
                  </a:lnTo>
                  <a:lnTo>
                    <a:pt x="544830" y="88011"/>
                  </a:lnTo>
                  <a:lnTo>
                    <a:pt x="490347" y="116491"/>
                  </a:lnTo>
                  <a:lnTo>
                    <a:pt x="479965" y="110871"/>
                  </a:lnTo>
                  <a:lnTo>
                    <a:pt x="481393" y="120872"/>
                  </a:lnTo>
                  <a:lnTo>
                    <a:pt x="455295" y="133350"/>
                  </a:lnTo>
                  <a:lnTo>
                    <a:pt x="446056" y="145828"/>
                  </a:lnTo>
                  <a:lnTo>
                    <a:pt x="418624" y="136017"/>
                  </a:lnTo>
                  <a:lnTo>
                    <a:pt x="412432" y="174974"/>
                  </a:lnTo>
                  <a:lnTo>
                    <a:pt x="363093" y="168592"/>
                  </a:lnTo>
                  <a:lnTo>
                    <a:pt x="342043" y="174974"/>
                  </a:lnTo>
                  <a:lnTo>
                    <a:pt x="368141" y="175641"/>
                  </a:lnTo>
                  <a:lnTo>
                    <a:pt x="372809" y="184309"/>
                  </a:lnTo>
                  <a:lnTo>
                    <a:pt x="321945" y="190214"/>
                  </a:lnTo>
                  <a:lnTo>
                    <a:pt x="293179" y="184309"/>
                  </a:lnTo>
                  <a:lnTo>
                    <a:pt x="258794" y="203454"/>
                  </a:lnTo>
                  <a:lnTo>
                    <a:pt x="301752" y="204788"/>
                  </a:lnTo>
                  <a:lnTo>
                    <a:pt x="317659" y="247079"/>
                  </a:lnTo>
                  <a:lnTo>
                    <a:pt x="269081" y="248412"/>
                  </a:lnTo>
                  <a:lnTo>
                    <a:pt x="281940" y="261652"/>
                  </a:lnTo>
                  <a:lnTo>
                    <a:pt x="240030" y="270891"/>
                  </a:lnTo>
                  <a:lnTo>
                    <a:pt x="198406" y="258318"/>
                  </a:lnTo>
                  <a:lnTo>
                    <a:pt x="199739" y="278892"/>
                  </a:lnTo>
                  <a:lnTo>
                    <a:pt x="215265" y="274225"/>
                  </a:lnTo>
                  <a:lnTo>
                    <a:pt x="255841" y="279559"/>
                  </a:lnTo>
                  <a:lnTo>
                    <a:pt x="273748" y="304038"/>
                  </a:lnTo>
                  <a:lnTo>
                    <a:pt x="215932" y="319850"/>
                  </a:lnTo>
                  <a:lnTo>
                    <a:pt x="221552" y="308610"/>
                  </a:lnTo>
                  <a:lnTo>
                    <a:pt x="196405" y="304705"/>
                  </a:lnTo>
                  <a:lnTo>
                    <a:pt x="182880" y="292799"/>
                  </a:lnTo>
                  <a:lnTo>
                    <a:pt x="181070" y="307086"/>
                  </a:lnTo>
                  <a:lnTo>
                    <a:pt x="169354" y="294799"/>
                  </a:lnTo>
                  <a:lnTo>
                    <a:pt x="167164" y="308610"/>
                  </a:lnTo>
                  <a:lnTo>
                    <a:pt x="138969" y="313944"/>
                  </a:lnTo>
                  <a:lnTo>
                    <a:pt x="105632" y="300038"/>
                  </a:lnTo>
                  <a:lnTo>
                    <a:pt x="101441" y="312515"/>
                  </a:lnTo>
                  <a:lnTo>
                    <a:pt x="90964" y="299371"/>
                  </a:lnTo>
                  <a:lnTo>
                    <a:pt x="86296" y="314801"/>
                  </a:lnTo>
                  <a:lnTo>
                    <a:pt x="51530" y="296990"/>
                  </a:lnTo>
                  <a:lnTo>
                    <a:pt x="67342" y="281464"/>
                  </a:lnTo>
                  <a:lnTo>
                    <a:pt x="73914" y="251746"/>
                  </a:lnTo>
                  <a:lnTo>
                    <a:pt x="110300" y="253079"/>
                  </a:lnTo>
                  <a:lnTo>
                    <a:pt x="121825" y="268986"/>
                  </a:lnTo>
                  <a:lnTo>
                    <a:pt x="171735" y="277654"/>
                  </a:lnTo>
                  <a:lnTo>
                    <a:pt x="190785" y="242411"/>
                  </a:lnTo>
                  <a:lnTo>
                    <a:pt x="186214" y="243078"/>
                  </a:lnTo>
                  <a:lnTo>
                    <a:pt x="160211" y="257461"/>
                  </a:lnTo>
                  <a:lnTo>
                    <a:pt x="144780" y="230315"/>
                  </a:lnTo>
                  <a:lnTo>
                    <a:pt x="127730" y="241840"/>
                  </a:lnTo>
                  <a:lnTo>
                    <a:pt x="105251" y="214027"/>
                  </a:lnTo>
                  <a:lnTo>
                    <a:pt x="143256" y="211360"/>
                  </a:lnTo>
                  <a:lnTo>
                    <a:pt x="176117" y="218504"/>
                  </a:lnTo>
                  <a:lnTo>
                    <a:pt x="146971" y="201644"/>
                  </a:lnTo>
                  <a:lnTo>
                    <a:pt x="153067" y="192405"/>
                  </a:lnTo>
                  <a:lnTo>
                    <a:pt x="136303" y="180880"/>
                  </a:lnTo>
                  <a:lnTo>
                    <a:pt x="108299" y="175641"/>
                  </a:lnTo>
                  <a:lnTo>
                    <a:pt x="107632" y="150304"/>
                  </a:lnTo>
                  <a:lnTo>
                    <a:pt x="171355" y="154591"/>
                  </a:lnTo>
                  <a:lnTo>
                    <a:pt x="190405" y="169926"/>
                  </a:lnTo>
                  <a:lnTo>
                    <a:pt x="181546" y="149066"/>
                  </a:lnTo>
                  <a:lnTo>
                    <a:pt x="232029" y="151067"/>
                  </a:lnTo>
                  <a:lnTo>
                    <a:pt x="253460" y="166021"/>
                  </a:lnTo>
                  <a:lnTo>
                    <a:pt x="232791" y="139541"/>
                  </a:lnTo>
                  <a:lnTo>
                    <a:pt x="186023" y="136588"/>
                  </a:lnTo>
                  <a:lnTo>
                    <a:pt x="197739" y="112586"/>
                  </a:lnTo>
                  <a:lnTo>
                    <a:pt x="160401" y="136588"/>
                  </a:lnTo>
                  <a:lnTo>
                    <a:pt x="102965" y="134303"/>
                  </a:lnTo>
                  <a:lnTo>
                    <a:pt x="137350" y="116586"/>
                  </a:lnTo>
                  <a:lnTo>
                    <a:pt x="150019" y="122111"/>
                  </a:lnTo>
                  <a:lnTo>
                    <a:pt x="170212" y="104775"/>
                  </a:lnTo>
                  <a:lnTo>
                    <a:pt x="126397" y="108775"/>
                  </a:lnTo>
                  <a:lnTo>
                    <a:pt x="135827" y="89821"/>
                  </a:lnTo>
                  <a:lnTo>
                    <a:pt x="90488" y="109347"/>
                  </a:lnTo>
                  <a:lnTo>
                    <a:pt x="48482" y="116396"/>
                  </a:lnTo>
                  <a:lnTo>
                    <a:pt x="37624" y="100489"/>
                  </a:lnTo>
                  <a:lnTo>
                    <a:pt x="50863" y="104299"/>
                  </a:lnTo>
                  <a:lnTo>
                    <a:pt x="48292" y="93536"/>
                  </a:lnTo>
                  <a:lnTo>
                    <a:pt x="85534" y="95917"/>
                  </a:lnTo>
                  <a:lnTo>
                    <a:pt x="72294" y="81820"/>
                  </a:lnTo>
                  <a:lnTo>
                    <a:pt x="29718" y="93345"/>
                  </a:lnTo>
                  <a:lnTo>
                    <a:pt x="32957" y="81343"/>
                  </a:lnTo>
                  <a:lnTo>
                    <a:pt x="0" y="78296"/>
                  </a:lnTo>
                  <a:lnTo>
                    <a:pt x="32004" y="64865"/>
                  </a:lnTo>
                  <a:lnTo>
                    <a:pt x="76581" y="54197"/>
                  </a:lnTo>
                  <a:lnTo>
                    <a:pt x="145256" y="65818"/>
                  </a:lnTo>
                  <a:lnTo>
                    <a:pt x="136684" y="33814"/>
                  </a:lnTo>
                  <a:lnTo>
                    <a:pt x="144970" y="34671"/>
                  </a:lnTo>
                  <a:lnTo>
                    <a:pt x="172117" y="59436"/>
                  </a:lnTo>
                  <a:lnTo>
                    <a:pt x="192977" y="57055"/>
                  </a:lnTo>
                  <a:lnTo>
                    <a:pt x="184213" y="44482"/>
                  </a:lnTo>
                  <a:lnTo>
                    <a:pt x="251936" y="69342"/>
                  </a:lnTo>
                  <a:lnTo>
                    <a:pt x="239839" y="50101"/>
                  </a:lnTo>
                  <a:lnTo>
                    <a:pt x="216884" y="50768"/>
                  </a:lnTo>
                  <a:lnTo>
                    <a:pt x="218694" y="41434"/>
                  </a:lnTo>
                  <a:lnTo>
                    <a:pt x="182594" y="38195"/>
                  </a:lnTo>
                  <a:lnTo>
                    <a:pt x="192786" y="24003"/>
                  </a:lnTo>
                  <a:lnTo>
                    <a:pt x="225171" y="30194"/>
                  </a:lnTo>
                  <a:lnTo>
                    <a:pt x="210121" y="15716"/>
                  </a:lnTo>
                  <a:lnTo>
                    <a:pt x="229076" y="17717"/>
                  </a:lnTo>
                  <a:lnTo>
                    <a:pt x="239363" y="24860"/>
                  </a:lnTo>
                  <a:lnTo>
                    <a:pt x="266129" y="23146"/>
                  </a:lnTo>
                  <a:lnTo>
                    <a:pt x="247650" y="8001"/>
                  </a:lnTo>
                  <a:lnTo>
                    <a:pt x="289370" y="11525"/>
                  </a:lnTo>
                  <a:lnTo>
                    <a:pt x="301466" y="2543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5" name="Freeform: Shape 2925">
              <a:extLst>
                <a:ext uri="{FF2B5EF4-FFF2-40B4-BE49-F238E27FC236}">
                  <a16:creationId xmlns:a16="http://schemas.microsoft.com/office/drawing/2014/main" id="{16B37EA4-558B-88F0-3442-A6AC90E2645A}"/>
                </a:ext>
              </a:extLst>
            </p:cNvPr>
            <p:cNvSpPr/>
            <p:nvPr/>
          </p:nvSpPr>
          <p:spPr>
            <a:xfrm>
              <a:off x="6809041" y="2560637"/>
              <a:ext cx="111633" cy="60197"/>
            </a:xfrm>
            <a:custGeom>
              <a:avLst/>
              <a:gdLst>
                <a:gd name="connsiteX0" fmla="*/ 22193 w 111633"/>
                <a:gd name="connsiteY0" fmla="*/ 0 h 60197"/>
                <a:gd name="connsiteX1" fmla="*/ 22193 w 111633"/>
                <a:gd name="connsiteY1" fmla="*/ 0 h 60197"/>
                <a:gd name="connsiteX2" fmla="*/ 44577 w 111633"/>
                <a:gd name="connsiteY2" fmla="*/ 19145 h 60197"/>
                <a:gd name="connsiteX3" fmla="*/ 57150 w 111633"/>
                <a:gd name="connsiteY3" fmla="*/ 10573 h 60197"/>
                <a:gd name="connsiteX4" fmla="*/ 104394 w 111633"/>
                <a:gd name="connsiteY4" fmla="*/ 30385 h 60197"/>
                <a:gd name="connsiteX5" fmla="*/ 111633 w 111633"/>
                <a:gd name="connsiteY5" fmla="*/ 60198 h 60197"/>
                <a:gd name="connsiteX6" fmla="*/ 83534 w 111633"/>
                <a:gd name="connsiteY6" fmla="*/ 58864 h 60197"/>
                <a:gd name="connsiteX7" fmla="*/ 74962 w 111633"/>
                <a:gd name="connsiteY7" fmla="*/ 45625 h 60197"/>
                <a:gd name="connsiteX8" fmla="*/ 45720 w 111633"/>
                <a:gd name="connsiteY8" fmla="*/ 48196 h 60197"/>
                <a:gd name="connsiteX9" fmla="*/ 40291 w 111633"/>
                <a:gd name="connsiteY9" fmla="*/ 38386 h 60197"/>
                <a:gd name="connsiteX10" fmla="*/ 16573 w 111633"/>
                <a:gd name="connsiteY10" fmla="*/ 44291 h 60197"/>
                <a:gd name="connsiteX11" fmla="*/ 0 w 111633"/>
                <a:gd name="connsiteY11" fmla="*/ 39719 h 60197"/>
                <a:gd name="connsiteX12" fmla="*/ 22193 w 111633"/>
                <a:gd name="connsiteY12" fmla="*/ 0 h 6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633" h="60197">
                  <a:moveTo>
                    <a:pt x="22193" y="0"/>
                  </a:moveTo>
                  <a:lnTo>
                    <a:pt x="22193" y="0"/>
                  </a:lnTo>
                  <a:lnTo>
                    <a:pt x="44577" y="19145"/>
                  </a:lnTo>
                  <a:lnTo>
                    <a:pt x="57150" y="10573"/>
                  </a:lnTo>
                  <a:lnTo>
                    <a:pt x="104394" y="30385"/>
                  </a:lnTo>
                  <a:lnTo>
                    <a:pt x="111633" y="60198"/>
                  </a:lnTo>
                  <a:lnTo>
                    <a:pt x="83534" y="58864"/>
                  </a:lnTo>
                  <a:lnTo>
                    <a:pt x="74962" y="45625"/>
                  </a:lnTo>
                  <a:lnTo>
                    <a:pt x="45720" y="48196"/>
                  </a:lnTo>
                  <a:lnTo>
                    <a:pt x="40291" y="38386"/>
                  </a:lnTo>
                  <a:lnTo>
                    <a:pt x="16573" y="44291"/>
                  </a:lnTo>
                  <a:lnTo>
                    <a:pt x="0" y="39719"/>
                  </a:lnTo>
                  <a:lnTo>
                    <a:pt x="22193"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6" name="Freeform: Shape 2926">
              <a:extLst>
                <a:ext uri="{FF2B5EF4-FFF2-40B4-BE49-F238E27FC236}">
                  <a16:creationId xmlns:a16="http://schemas.microsoft.com/office/drawing/2014/main" id="{06FBA5F5-678E-157A-9B34-77594E1F5F0B}"/>
                </a:ext>
              </a:extLst>
            </p:cNvPr>
            <p:cNvSpPr/>
            <p:nvPr/>
          </p:nvSpPr>
          <p:spPr>
            <a:xfrm>
              <a:off x="6644639" y="2579497"/>
              <a:ext cx="73628" cy="29527"/>
            </a:xfrm>
            <a:custGeom>
              <a:avLst/>
              <a:gdLst>
                <a:gd name="connsiteX0" fmla="*/ 48483 w 73628"/>
                <a:gd name="connsiteY0" fmla="*/ 0 h 29527"/>
                <a:gd name="connsiteX1" fmla="*/ 73629 w 73628"/>
                <a:gd name="connsiteY1" fmla="*/ 22765 h 29527"/>
                <a:gd name="connsiteX2" fmla="*/ 3239 w 73628"/>
                <a:gd name="connsiteY2" fmla="*/ 29527 h 29527"/>
                <a:gd name="connsiteX3" fmla="*/ 0 w 73628"/>
                <a:gd name="connsiteY3" fmla="*/ 18193 h 29527"/>
                <a:gd name="connsiteX4" fmla="*/ 48483 w 73628"/>
                <a:gd name="connsiteY4" fmla="*/ 0 h 29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28" h="29527">
                  <a:moveTo>
                    <a:pt x="48483" y="0"/>
                  </a:moveTo>
                  <a:lnTo>
                    <a:pt x="73629" y="22765"/>
                  </a:lnTo>
                  <a:lnTo>
                    <a:pt x="3239" y="29527"/>
                  </a:lnTo>
                  <a:lnTo>
                    <a:pt x="0" y="18193"/>
                  </a:lnTo>
                  <a:lnTo>
                    <a:pt x="48483"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7" name="Freeform: Shape 2927">
              <a:extLst>
                <a:ext uri="{FF2B5EF4-FFF2-40B4-BE49-F238E27FC236}">
                  <a16:creationId xmlns:a16="http://schemas.microsoft.com/office/drawing/2014/main" id="{2F161506-ED36-D034-F94D-C0EC3C87670E}"/>
                </a:ext>
              </a:extLst>
            </p:cNvPr>
            <p:cNvSpPr/>
            <p:nvPr/>
          </p:nvSpPr>
          <p:spPr>
            <a:xfrm>
              <a:off x="6943344" y="2567685"/>
              <a:ext cx="61817" cy="41052"/>
            </a:xfrm>
            <a:custGeom>
              <a:avLst/>
              <a:gdLst>
                <a:gd name="connsiteX0" fmla="*/ 0 w 61817"/>
                <a:gd name="connsiteY0" fmla="*/ 0 h 41052"/>
                <a:gd name="connsiteX1" fmla="*/ 0 w 61817"/>
                <a:gd name="connsiteY1" fmla="*/ 0 h 41052"/>
                <a:gd name="connsiteX2" fmla="*/ 61817 w 61817"/>
                <a:gd name="connsiteY2" fmla="*/ 17907 h 41052"/>
                <a:gd name="connsiteX3" fmla="*/ 56483 w 61817"/>
                <a:gd name="connsiteY3" fmla="*/ 34385 h 41052"/>
                <a:gd name="connsiteX4" fmla="*/ 21145 w 61817"/>
                <a:gd name="connsiteY4" fmla="*/ 41053 h 41052"/>
                <a:gd name="connsiteX5" fmla="*/ 0 w 61817"/>
                <a:gd name="connsiteY5" fmla="*/ 0 h 41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17" h="41052">
                  <a:moveTo>
                    <a:pt x="0" y="0"/>
                  </a:moveTo>
                  <a:lnTo>
                    <a:pt x="0" y="0"/>
                  </a:lnTo>
                  <a:lnTo>
                    <a:pt x="61817" y="17907"/>
                  </a:lnTo>
                  <a:lnTo>
                    <a:pt x="56483" y="34385"/>
                  </a:lnTo>
                  <a:lnTo>
                    <a:pt x="21145" y="41053"/>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8" name="Freeform: Shape 2928">
              <a:extLst>
                <a:ext uri="{FF2B5EF4-FFF2-40B4-BE49-F238E27FC236}">
                  <a16:creationId xmlns:a16="http://schemas.microsoft.com/office/drawing/2014/main" id="{53E9B578-B957-2908-E5CB-3F46EB34D571}"/>
                </a:ext>
              </a:extLst>
            </p:cNvPr>
            <p:cNvSpPr/>
            <p:nvPr/>
          </p:nvSpPr>
          <p:spPr>
            <a:xfrm>
              <a:off x="6610921" y="2611501"/>
              <a:ext cx="24193" cy="24955"/>
            </a:xfrm>
            <a:custGeom>
              <a:avLst/>
              <a:gdLst>
                <a:gd name="connsiteX0" fmla="*/ 10573 w 24193"/>
                <a:gd name="connsiteY0" fmla="*/ 0 h 24955"/>
                <a:gd name="connsiteX1" fmla="*/ 10573 w 24193"/>
                <a:gd name="connsiteY1" fmla="*/ 0 h 24955"/>
                <a:gd name="connsiteX2" fmla="*/ 24193 w 24193"/>
                <a:gd name="connsiteY2" fmla="*/ 9334 h 24955"/>
                <a:gd name="connsiteX3" fmla="*/ 7430 w 24193"/>
                <a:gd name="connsiteY3" fmla="*/ 24955 h 24955"/>
                <a:gd name="connsiteX4" fmla="*/ 0 w 24193"/>
                <a:gd name="connsiteY4" fmla="*/ 4000 h 24955"/>
                <a:gd name="connsiteX5" fmla="*/ 10573 w 24193"/>
                <a:gd name="connsiteY5" fmla="*/ 0 h 24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93" h="24955">
                  <a:moveTo>
                    <a:pt x="10573" y="0"/>
                  </a:moveTo>
                  <a:lnTo>
                    <a:pt x="10573" y="0"/>
                  </a:lnTo>
                  <a:lnTo>
                    <a:pt x="24193" y="9334"/>
                  </a:lnTo>
                  <a:lnTo>
                    <a:pt x="7430" y="24955"/>
                  </a:lnTo>
                  <a:lnTo>
                    <a:pt x="0" y="4000"/>
                  </a:lnTo>
                  <a:lnTo>
                    <a:pt x="10573"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39" name="Freeform: Shape 2929">
              <a:extLst>
                <a:ext uri="{FF2B5EF4-FFF2-40B4-BE49-F238E27FC236}">
                  <a16:creationId xmlns:a16="http://schemas.microsoft.com/office/drawing/2014/main" id="{F09EC3A2-35E4-9608-736E-2181FD9F4CC5}"/>
                </a:ext>
              </a:extLst>
            </p:cNvPr>
            <p:cNvSpPr/>
            <p:nvPr/>
          </p:nvSpPr>
          <p:spPr>
            <a:xfrm>
              <a:off x="6856666" y="2626360"/>
              <a:ext cx="29051" cy="15049"/>
            </a:xfrm>
            <a:custGeom>
              <a:avLst/>
              <a:gdLst>
                <a:gd name="connsiteX0" fmla="*/ 15050 w 29051"/>
                <a:gd name="connsiteY0" fmla="*/ 0 h 15049"/>
                <a:gd name="connsiteX1" fmla="*/ 29051 w 29051"/>
                <a:gd name="connsiteY1" fmla="*/ 8287 h 15049"/>
                <a:gd name="connsiteX2" fmla="*/ 8763 w 29051"/>
                <a:gd name="connsiteY2" fmla="*/ 15050 h 15049"/>
                <a:gd name="connsiteX3" fmla="*/ 0 w 29051"/>
                <a:gd name="connsiteY3" fmla="*/ 8287 h 15049"/>
                <a:gd name="connsiteX4" fmla="*/ 15050 w 29051"/>
                <a:gd name="connsiteY4" fmla="*/ 0 h 15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 h="15049">
                  <a:moveTo>
                    <a:pt x="15050" y="0"/>
                  </a:moveTo>
                  <a:lnTo>
                    <a:pt x="29051" y="8287"/>
                  </a:lnTo>
                  <a:lnTo>
                    <a:pt x="8763" y="15050"/>
                  </a:lnTo>
                  <a:lnTo>
                    <a:pt x="0" y="8287"/>
                  </a:lnTo>
                  <a:lnTo>
                    <a:pt x="1505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0" name="Freeform: Shape 2930">
              <a:extLst>
                <a:ext uri="{FF2B5EF4-FFF2-40B4-BE49-F238E27FC236}">
                  <a16:creationId xmlns:a16="http://schemas.microsoft.com/office/drawing/2014/main" id="{2488CFCD-D0A5-5C65-09C4-D363BC07780D}"/>
                </a:ext>
              </a:extLst>
            </p:cNvPr>
            <p:cNvSpPr/>
            <p:nvPr/>
          </p:nvSpPr>
          <p:spPr>
            <a:xfrm>
              <a:off x="6984301" y="2612263"/>
              <a:ext cx="55149" cy="21716"/>
            </a:xfrm>
            <a:custGeom>
              <a:avLst/>
              <a:gdLst>
                <a:gd name="connsiteX0" fmla="*/ 55150 w 55149"/>
                <a:gd name="connsiteY0" fmla="*/ 4572 h 21716"/>
                <a:gd name="connsiteX1" fmla="*/ 45911 w 55149"/>
                <a:gd name="connsiteY1" fmla="*/ 21717 h 21716"/>
                <a:gd name="connsiteX2" fmla="*/ 0 w 55149"/>
                <a:gd name="connsiteY2" fmla="*/ 12573 h 21716"/>
                <a:gd name="connsiteX3" fmla="*/ 22479 w 55149"/>
                <a:gd name="connsiteY3" fmla="*/ 0 h 21716"/>
                <a:gd name="connsiteX4" fmla="*/ 55150 w 55149"/>
                <a:gd name="connsiteY4" fmla="*/ 4572 h 21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1716">
                  <a:moveTo>
                    <a:pt x="55150" y="4572"/>
                  </a:moveTo>
                  <a:lnTo>
                    <a:pt x="45911" y="21717"/>
                  </a:lnTo>
                  <a:lnTo>
                    <a:pt x="0" y="12573"/>
                  </a:lnTo>
                  <a:lnTo>
                    <a:pt x="22479" y="0"/>
                  </a:lnTo>
                  <a:lnTo>
                    <a:pt x="55150" y="4572"/>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1" name="Freeform: Shape 2931">
              <a:extLst>
                <a:ext uri="{FF2B5EF4-FFF2-40B4-BE49-F238E27FC236}">
                  <a16:creationId xmlns:a16="http://schemas.microsoft.com/office/drawing/2014/main" id="{22338EEE-3235-CB86-C6B2-B8E77382C798}"/>
                </a:ext>
              </a:extLst>
            </p:cNvPr>
            <p:cNvSpPr/>
            <p:nvPr/>
          </p:nvSpPr>
          <p:spPr>
            <a:xfrm>
              <a:off x="6448138" y="2632075"/>
              <a:ext cx="141351" cy="69437"/>
            </a:xfrm>
            <a:custGeom>
              <a:avLst/>
              <a:gdLst>
                <a:gd name="connsiteX0" fmla="*/ 86869 w 141351"/>
                <a:gd name="connsiteY0" fmla="*/ 7239 h 69437"/>
                <a:gd name="connsiteX1" fmla="*/ 86869 w 141351"/>
                <a:gd name="connsiteY1" fmla="*/ 7239 h 69437"/>
                <a:gd name="connsiteX2" fmla="*/ 124492 w 141351"/>
                <a:gd name="connsiteY2" fmla="*/ 7906 h 69437"/>
                <a:gd name="connsiteX3" fmla="*/ 131159 w 141351"/>
                <a:gd name="connsiteY3" fmla="*/ 0 h 69437"/>
                <a:gd name="connsiteX4" fmla="*/ 141351 w 141351"/>
                <a:gd name="connsiteY4" fmla="*/ 34385 h 69437"/>
                <a:gd name="connsiteX5" fmla="*/ 118586 w 141351"/>
                <a:gd name="connsiteY5" fmla="*/ 40386 h 69437"/>
                <a:gd name="connsiteX6" fmla="*/ 112586 w 141351"/>
                <a:gd name="connsiteY6" fmla="*/ 51625 h 69437"/>
                <a:gd name="connsiteX7" fmla="*/ 103727 w 141351"/>
                <a:gd name="connsiteY7" fmla="*/ 29051 h 69437"/>
                <a:gd name="connsiteX8" fmla="*/ 70009 w 141351"/>
                <a:gd name="connsiteY8" fmla="*/ 46958 h 69437"/>
                <a:gd name="connsiteX9" fmla="*/ 53531 w 141351"/>
                <a:gd name="connsiteY9" fmla="*/ 69437 h 69437"/>
                <a:gd name="connsiteX10" fmla="*/ 43244 w 141351"/>
                <a:gd name="connsiteY10" fmla="*/ 53530 h 69437"/>
                <a:gd name="connsiteX11" fmla="*/ 34386 w 141351"/>
                <a:gd name="connsiteY11" fmla="*/ 65437 h 69437"/>
                <a:gd name="connsiteX12" fmla="*/ 0 w 141351"/>
                <a:gd name="connsiteY12" fmla="*/ 58198 h 69437"/>
                <a:gd name="connsiteX13" fmla="*/ 12288 w 141351"/>
                <a:gd name="connsiteY13" fmla="*/ 45625 h 69437"/>
                <a:gd name="connsiteX14" fmla="*/ 29719 w 141351"/>
                <a:gd name="connsiteY14" fmla="*/ 44291 h 69437"/>
                <a:gd name="connsiteX15" fmla="*/ 36957 w 141351"/>
                <a:gd name="connsiteY15" fmla="*/ 26479 h 69437"/>
                <a:gd name="connsiteX16" fmla="*/ 52197 w 141351"/>
                <a:gd name="connsiteY16" fmla="*/ 29718 h 69437"/>
                <a:gd name="connsiteX17" fmla="*/ 86869 w 141351"/>
                <a:gd name="connsiteY17" fmla="*/ 7239 h 6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351" h="69437">
                  <a:moveTo>
                    <a:pt x="86869" y="7239"/>
                  </a:moveTo>
                  <a:lnTo>
                    <a:pt x="86869" y="7239"/>
                  </a:lnTo>
                  <a:lnTo>
                    <a:pt x="124492" y="7906"/>
                  </a:lnTo>
                  <a:lnTo>
                    <a:pt x="131159" y="0"/>
                  </a:lnTo>
                  <a:lnTo>
                    <a:pt x="141351" y="34385"/>
                  </a:lnTo>
                  <a:lnTo>
                    <a:pt x="118586" y="40386"/>
                  </a:lnTo>
                  <a:lnTo>
                    <a:pt x="112586" y="51625"/>
                  </a:lnTo>
                  <a:lnTo>
                    <a:pt x="103727" y="29051"/>
                  </a:lnTo>
                  <a:lnTo>
                    <a:pt x="70009" y="46958"/>
                  </a:lnTo>
                  <a:lnTo>
                    <a:pt x="53531" y="69437"/>
                  </a:lnTo>
                  <a:lnTo>
                    <a:pt x="43244" y="53530"/>
                  </a:lnTo>
                  <a:lnTo>
                    <a:pt x="34386" y="65437"/>
                  </a:lnTo>
                  <a:lnTo>
                    <a:pt x="0" y="58198"/>
                  </a:lnTo>
                  <a:lnTo>
                    <a:pt x="12288" y="45625"/>
                  </a:lnTo>
                  <a:lnTo>
                    <a:pt x="29719" y="44291"/>
                  </a:lnTo>
                  <a:lnTo>
                    <a:pt x="36957" y="26479"/>
                  </a:lnTo>
                  <a:lnTo>
                    <a:pt x="52197" y="29718"/>
                  </a:lnTo>
                  <a:lnTo>
                    <a:pt x="86869" y="7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2" name="Freeform: Shape 2932">
              <a:extLst>
                <a:ext uri="{FF2B5EF4-FFF2-40B4-BE49-F238E27FC236}">
                  <a16:creationId xmlns:a16="http://schemas.microsoft.com/office/drawing/2014/main" id="{2B0A3A41-3964-ECF4-1F05-CD2D6D6EE774}"/>
                </a:ext>
              </a:extLst>
            </p:cNvPr>
            <p:cNvSpPr/>
            <p:nvPr/>
          </p:nvSpPr>
          <p:spPr>
            <a:xfrm>
              <a:off x="7089648" y="2653030"/>
              <a:ext cx="17525" cy="19430"/>
            </a:xfrm>
            <a:custGeom>
              <a:avLst/>
              <a:gdLst>
                <a:gd name="connsiteX0" fmla="*/ 8477 w 17525"/>
                <a:gd name="connsiteY0" fmla="*/ 0 h 19430"/>
                <a:gd name="connsiteX1" fmla="*/ 17526 w 17525"/>
                <a:gd name="connsiteY1" fmla="*/ 3810 h 19430"/>
                <a:gd name="connsiteX2" fmla="*/ 12668 w 17525"/>
                <a:gd name="connsiteY2" fmla="*/ 19431 h 19430"/>
                <a:gd name="connsiteX3" fmla="*/ 0 w 17525"/>
                <a:gd name="connsiteY3" fmla="*/ 5048 h 19430"/>
                <a:gd name="connsiteX4" fmla="*/ 8477 w 17525"/>
                <a:gd name="connsiteY4" fmla="*/ 0 h 19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5" h="19430">
                  <a:moveTo>
                    <a:pt x="8477" y="0"/>
                  </a:moveTo>
                  <a:lnTo>
                    <a:pt x="17526" y="3810"/>
                  </a:lnTo>
                  <a:lnTo>
                    <a:pt x="12668" y="19431"/>
                  </a:lnTo>
                  <a:lnTo>
                    <a:pt x="0" y="5048"/>
                  </a:lnTo>
                  <a:lnTo>
                    <a:pt x="8477"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3" name="Freeform: Shape 2933">
              <a:extLst>
                <a:ext uri="{FF2B5EF4-FFF2-40B4-BE49-F238E27FC236}">
                  <a16:creationId xmlns:a16="http://schemas.microsoft.com/office/drawing/2014/main" id="{E609B8A8-5A8E-D143-DAE1-2F51D485FC05}"/>
                </a:ext>
              </a:extLst>
            </p:cNvPr>
            <p:cNvSpPr/>
            <p:nvPr/>
          </p:nvSpPr>
          <p:spPr>
            <a:xfrm>
              <a:off x="6818661" y="2667127"/>
              <a:ext cx="26384" cy="26288"/>
            </a:xfrm>
            <a:custGeom>
              <a:avLst/>
              <a:gdLst>
                <a:gd name="connsiteX0" fmla="*/ 4000 w 26384"/>
                <a:gd name="connsiteY0" fmla="*/ 0 h 26288"/>
                <a:gd name="connsiteX1" fmla="*/ 26384 w 26384"/>
                <a:gd name="connsiteY1" fmla="*/ 9239 h 26288"/>
                <a:gd name="connsiteX2" fmla="*/ 14478 w 26384"/>
                <a:gd name="connsiteY2" fmla="*/ 26289 h 26288"/>
                <a:gd name="connsiteX3" fmla="*/ 0 w 26384"/>
                <a:gd name="connsiteY3" fmla="*/ 13907 h 26288"/>
                <a:gd name="connsiteX4" fmla="*/ 4000 w 26384"/>
                <a:gd name="connsiteY4" fmla="*/ 0 h 2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4" h="26288">
                  <a:moveTo>
                    <a:pt x="4000" y="0"/>
                  </a:moveTo>
                  <a:lnTo>
                    <a:pt x="26384" y="9239"/>
                  </a:lnTo>
                  <a:lnTo>
                    <a:pt x="14478" y="26289"/>
                  </a:lnTo>
                  <a:lnTo>
                    <a:pt x="0" y="13907"/>
                  </a:lnTo>
                  <a:lnTo>
                    <a:pt x="400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4" name="Freeform: Shape 2934">
              <a:extLst>
                <a:ext uri="{FF2B5EF4-FFF2-40B4-BE49-F238E27FC236}">
                  <a16:creationId xmlns:a16="http://schemas.microsoft.com/office/drawing/2014/main" id="{B89ABC5F-99A9-ACDE-0E05-9AE5782F8236}"/>
                </a:ext>
              </a:extLst>
            </p:cNvPr>
            <p:cNvSpPr/>
            <p:nvPr/>
          </p:nvSpPr>
          <p:spPr>
            <a:xfrm>
              <a:off x="6849332" y="2662650"/>
              <a:ext cx="102393" cy="71342"/>
            </a:xfrm>
            <a:custGeom>
              <a:avLst/>
              <a:gdLst>
                <a:gd name="connsiteX0" fmla="*/ 73819 w 102393"/>
                <a:gd name="connsiteY0" fmla="*/ 0 h 71342"/>
                <a:gd name="connsiteX1" fmla="*/ 100869 w 102393"/>
                <a:gd name="connsiteY1" fmla="*/ 21717 h 71342"/>
                <a:gd name="connsiteX2" fmla="*/ 102394 w 102393"/>
                <a:gd name="connsiteY2" fmla="*/ 66008 h 71342"/>
                <a:gd name="connsiteX3" fmla="*/ 84677 w 102393"/>
                <a:gd name="connsiteY3" fmla="*/ 52769 h 71342"/>
                <a:gd name="connsiteX4" fmla="*/ 68103 w 102393"/>
                <a:gd name="connsiteY4" fmla="*/ 71342 h 71342"/>
                <a:gd name="connsiteX5" fmla="*/ 40957 w 102393"/>
                <a:gd name="connsiteY5" fmla="*/ 53435 h 71342"/>
                <a:gd name="connsiteX6" fmla="*/ 48958 w 102393"/>
                <a:gd name="connsiteY6" fmla="*/ 34766 h 71342"/>
                <a:gd name="connsiteX7" fmla="*/ 0 w 102393"/>
                <a:gd name="connsiteY7" fmla="*/ 48863 h 71342"/>
                <a:gd name="connsiteX8" fmla="*/ 16573 w 102393"/>
                <a:gd name="connsiteY8" fmla="*/ 17336 h 71342"/>
                <a:gd name="connsiteX9" fmla="*/ 73819 w 102393"/>
                <a:gd name="connsiteY9" fmla="*/ 0 h 7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393" h="71342">
                  <a:moveTo>
                    <a:pt x="73819" y="0"/>
                  </a:moveTo>
                  <a:lnTo>
                    <a:pt x="100869" y="21717"/>
                  </a:lnTo>
                  <a:lnTo>
                    <a:pt x="102394" y="66008"/>
                  </a:lnTo>
                  <a:lnTo>
                    <a:pt x="84677" y="52769"/>
                  </a:lnTo>
                  <a:lnTo>
                    <a:pt x="68103" y="71342"/>
                  </a:lnTo>
                  <a:lnTo>
                    <a:pt x="40957" y="53435"/>
                  </a:lnTo>
                  <a:lnTo>
                    <a:pt x="48958" y="34766"/>
                  </a:lnTo>
                  <a:lnTo>
                    <a:pt x="0" y="48863"/>
                  </a:lnTo>
                  <a:lnTo>
                    <a:pt x="16573" y="17336"/>
                  </a:lnTo>
                  <a:lnTo>
                    <a:pt x="7381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5" name="Freeform: Shape 2935">
              <a:extLst>
                <a:ext uri="{FF2B5EF4-FFF2-40B4-BE49-F238E27FC236}">
                  <a16:creationId xmlns:a16="http://schemas.microsoft.com/office/drawing/2014/main" id="{3EE750F8-DF54-E917-BB42-CA9606CF0348}"/>
                </a:ext>
              </a:extLst>
            </p:cNvPr>
            <p:cNvSpPr/>
            <p:nvPr/>
          </p:nvSpPr>
          <p:spPr>
            <a:xfrm>
              <a:off x="6964584" y="2651220"/>
              <a:ext cx="331565" cy="103917"/>
            </a:xfrm>
            <a:custGeom>
              <a:avLst/>
              <a:gdLst>
                <a:gd name="connsiteX0" fmla="*/ 118586 w 331565"/>
                <a:gd name="connsiteY0" fmla="*/ 16574 h 103917"/>
                <a:gd name="connsiteX1" fmla="*/ 118205 w 331565"/>
                <a:gd name="connsiteY1" fmla="*/ 31051 h 103917"/>
                <a:gd name="connsiteX2" fmla="*/ 147066 w 331565"/>
                <a:gd name="connsiteY2" fmla="*/ 32575 h 103917"/>
                <a:gd name="connsiteX3" fmla="*/ 159163 w 331565"/>
                <a:gd name="connsiteY3" fmla="*/ 64865 h 103917"/>
                <a:gd name="connsiteX4" fmla="*/ 165640 w 331565"/>
                <a:gd name="connsiteY4" fmla="*/ 52768 h 103917"/>
                <a:gd name="connsiteX5" fmla="*/ 173069 w 331565"/>
                <a:gd name="connsiteY5" fmla="*/ 63532 h 103917"/>
                <a:gd name="connsiteX6" fmla="*/ 181166 w 331565"/>
                <a:gd name="connsiteY6" fmla="*/ 52768 h 103917"/>
                <a:gd name="connsiteX7" fmla="*/ 195263 w 331565"/>
                <a:gd name="connsiteY7" fmla="*/ 54292 h 103917"/>
                <a:gd name="connsiteX8" fmla="*/ 220313 w 331565"/>
                <a:gd name="connsiteY8" fmla="*/ 78105 h 103917"/>
                <a:gd name="connsiteX9" fmla="*/ 221932 w 331565"/>
                <a:gd name="connsiteY9" fmla="*/ 60293 h 103917"/>
                <a:gd name="connsiteX10" fmla="*/ 283369 w 331565"/>
                <a:gd name="connsiteY10" fmla="*/ 49625 h 103917"/>
                <a:gd name="connsiteX11" fmla="*/ 320897 w 331565"/>
                <a:gd name="connsiteY11" fmla="*/ 64675 h 103917"/>
                <a:gd name="connsiteX12" fmla="*/ 331565 w 331565"/>
                <a:gd name="connsiteY12" fmla="*/ 98584 h 103917"/>
                <a:gd name="connsiteX13" fmla="*/ 300133 w 331565"/>
                <a:gd name="connsiteY13" fmla="*/ 103918 h 103917"/>
                <a:gd name="connsiteX14" fmla="*/ 266509 w 331565"/>
                <a:gd name="connsiteY14" fmla="*/ 86106 h 103917"/>
                <a:gd name="connsiteX15" fmla="*/ 251270 w 331565"/>
                <a:gd name="connsiteY15" fmla="*/ 101917 h 103917"/>
                <a:gd name="connsiteX16" fmla="*/ 239935 w 331565"/>
                <a:gd name="connsiteY16" fmla="*/ 89440 h 103917"/>
                <a:gd name="connsiteX17" fmla="*/ 232791 w 331565"/>
                <a:gd name="connsiteY17" fmla="*/ 102584 h 103917"/>
                <a:gd name="connsiteX18" fmla="*/ 214979 w 331565"/>
                <a:gd name="connsiteY18" fmla="*/ 101917 h 103917"/>
                <a:gd name="connsiteX19" fmla="*/ 209741 w 331565"/>
                <a:gd name="connsiteY19" fmla="*/ 90964 h 103917"/>
                <a:gd name="connsiteX20" fmla="*/ 205073 w 331565"/>
                <a:gd name="connsiteY20" fmla="*/ 103251 h 103917"/>
                <a:gd name="connsiteX21" fmla="*/ 167735 w 331565"/>
                <a:gd name="connsiteY21" fmla="*/ 101917 h 103917"/>
                <a:gd name="connsiteX22" fmla="*/ 162496 w 331565"/>
                <a:gd name="connsiteY22" fmla="*/ 86868 h 103917"/>
                <a:gd name="connsiteX23" fmla="*/ 148304 w 331565"/>
                <a:gd name="connsiteY23" fmla="*/ 99917 h 103917"/>
                <a:gd name="connsiteX24" fmla="*/ 107347 w 331565"/>
                <a:gd name="connsiteY24" fmla="*/ 96012 h 103917"/>
                <a:gd name="connsiteX25" fmla="*/ 98393 w 331565"/>
                <a:gd name="connsiteY25" fmla="*/ 55626 h 103917"/>
                <a:gd name="connsiteX26" fmla="*/ 76962 w 331565"/>
                <a:gd name="connsiteY26" fmla="*/ 28480 h 103917"/>
                <a:gd name="connsiteX27" fmla="*/ 49816 w 331565"/>
                <a:gd name="connsiteY27" fmla="*/ 40862 h 103917"/>
                <a:gd name="connsiteX28" fmla="*/ 0 w 331565"/>
                <a:gd name="connsiteY28" fmla="*/ 13240 h 103917"/>
                <a:gd name="connsiteX29" fmla="*/ 24098 w 331565"/>
                <a:gd name="connsiteY29" fmla="*/ 0 h 103917"/>
                <a:gd name="connsiteX30" fmla="*/ 61436 w 331565"/>
                <a:gd name="connsiteY30" fmla="*/ 6763 h 103917"/>
                <a:gd name="connsiteX31" fmla="*/ 63722 w 331565"/>
                <a:gd name="connsiteY31" fmla="*/ 22765 h 103917"/>
                <a:gd name="connsiteX32" fmla="*/ 75629 w 331565"/>
                <a:gd name="connsiteY32" fmla="*/ 14478 h 103917"/>
                <a:gd name="connsiteX33" fmla="*/ 118586 w 331565"/>
                <a:gd name="connsiteY33" fmla="*/ 16574 h 10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1565" h="103917">
                  <a:moveTo>
                    <a:pt x="118586" y="16574"/>
                  </a:moveTo>
                  <a:lnTo>
                    <a:pt x="118205" y="31051"/>
                  </a:lnTo>
                  <a:lnTo>
                    <a:pt x="147066" y="32575"/>
                  </a:lnTo>
                  <a:lnTo>
                    <a:pt x="159163" y="64865"/>
                  </a:lnTo>
                  <a:lnTo>
                    <a:pt x="165640" y="52768"/>
                  </a:lnTo>
                  <a:lnTo>
                    <a:pt x="173069" y="63532"/>
                  </a:lnTo>
                  <a:lnTo>
                    <a:pt x="181166" y="52768"/>
                  </a:lnTo>
                  <a:lnTo>
                    <a:pt x="195263" y="54292"/>
                  </a:lnTo>
                  <a:lnTo>
                    <a:pt x="220313" y="78105"/>
                  </a:lnTo>
                  <a:lnTo>
                    <a:pt x="221932" y="60293"/>
                  </a:lnTo>
                  <a:lnTo>
                    <a:pt x="283369" y="49625"/>
                  </a:lnTo>
                  <a:lnTo>
                    <a:pt x="320897" y="64675"/>
                  </a:lnTo>
                  <a:lnTo>
                    <a:pt x="331565" y="98584"/>
                  </a:lnTo>
                  <a:lnTo>
                    <a:pt x="300133" y="103918"/>
                  </a:lnTo>
                  <a:lnTo>
                    <a:pt x="266509" y="86106"/>
                  </a:lnTo>
                  <a:lnTo>
                    <a:pt x="251270" y="101917"/>
                  </a:lnTo>
                  <a:lnTo>
                    <a:pt x="239935" y="89440"/>
                  </a:lnTo>
                  <a:lnTo>
                    <a:pt x="232791" y="102584"/>
                  </a:lnTo>
                  <a:lnTo>
                    <a:pt x="214979" y="101917"/>
                  </a:lnTo>
                  <a:lnTo>
                    <a:pt x="209741" y="90964"/>
                  </a:lnTo>
                  <a:lnTo>
                    <a:pt x="205073" y="103251"/>
                  </a:lnTo>
                  <a:lnTo>
                    <a:pt x="167735" y="101917"/>
                  </a:lnTo>
                  <a:lnTo>
                    <a:pt x="162496" y="86868"/>
                  </a:lnTo>
                  <a:lnTo>
                    <a:pt x="148304" y="99917"/>
                  </a:lnTo>
                  <a:lnTo>
                    <a:pt x="107347" y="96012"/>
                  </a:lnTo>
                  <a:lnTo>
                    <a:pt x="98393" y="55626"/>
                  </a:lnTo>
                  <a:lnTo>
                    <a:pt x="76962" y="28480"/>
                  </a:lnTo>
                  <a:lnTo>
                    <a:pt x="49816" y="40862"/>
                  </a:lnTo>
                  <a:lnTo>
                    <a:pt x="0" y="13240"/>
                  </a:lnTo>
                  <a:lnTo>
                    <a:pt x="24098" y="0"/>
                  </a:lnTo>
                  <a:lnTo>
                    <a:pt x="61436" y="6763"/>
                  </a:lnTo>
                  <a:lnTo>
                    <a:pt x="63722" y="22765"/>
                  </a:lnTo>
                  <a:lnTo>
                    <a:pt x="75629" y="14478"/>
                  </a:lnTo>
                  <a:lnTo>
                    <a:pt x="118586" y="1657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6" name="Freeform: Shape 2936">
              <a:extLst>
                <a:ext uri="{FF2B5EF4-FFF2-40B4-BE49-F238E27FC236}">
                  <a16:creationId xmlns:a16="http://schemas.microsoft.com/office/drawing/2014/main" id="{6AD05599-CD62-68CE-E7EC-C73454069D5F}"/>
                </a:ext>
              </a:extLst>
            </p:cNvPr>
            <p:cNvSpPr/>
            <p:nvPr/>
          </p:nvSpPr>
          <p:spPr>
            <a:xfrm>
              <a:off x="6554152" y="2669317"/>
              <a:ext cx="243745" cy="86487"/>
            </a:xfrm>
            <a:custGeom>
              <a:avLst/>
              <a:gdLst>
                <a:gd name="connsiteX0" fmla="*/ 98584 w 243745"/>
                <a:gd name="connsiteY0" fmla="*/ 10096 h 86487"/>
                <a:gd name="connsiteX1" fmla="*/ 127445 w 243745"/>
                <a:gd name="connsiteY1" fmla="*/ 43434 h 86487"/>
                <a:gd name="connsiteX2" fmla="*/ 173736 w 243745"/>
                <a:gd name="connsiteY2" fmla="*/ 44101 h 86487"/>
                <a:gd name="connsiteX3" fmla="*/ 175165 w 243745"/>
                <a:gd name="connsiteY3" fmla="*/ 0 h 86487"/>
                <a:gd name="connsiteX4" fmla="*/ 189167 w 243745"/>
                <a:gd name="connsiteY4" fmla="*/ 33338 h 86487"/>
                <a:gd name="connsiteX5" fmla="*/ 216218 w 243745"/>
                <a:gd name="connsiteY5" fmla="*/ 27908 h 86487"/>
                <a:gd name="connsiteX6" fmla="*/ 243745 w 243745"/>
                <a:gd name="connsiteY6" fmla="*/ 38862 h 86487"/>
                <a:gd name="connsiteX7" fmla="*/ 231172 w 243745"/>
                <a:gd name="connsiteY7" fmla="*/ 62008 h 86487"/>
                <a:gd name="connsiteX8" fmla="*/ 208407 w 243745"/>
                <a:gd name="connsiteY8" fmla="*/ 67246 h 86487"/>
                <a:gd name="connsiteX9" fmla="*/ 197168 w 243745"/>
                <a:gd name="connsiteY9" fmla="*/ 60008 h 86487"/>
                <a:gd name="connsiteX10" fmla="*/ 141161 w 243745"/>
                <a:gd name="connsiteY10" fmla="*/ 69914 h 86487"/>
                <a:gd name="connsiteX11" fmla="*/ 132398 w 243745"/>
                <a:gd name="connsiteY11" fmla="*/ 79153 h 86487"/>
                <a:gd name="connsiteX12" fmla="*/ 80296 w 243745"/>
                <a:gd name="connsiteY12" fmla="*/ 86487 h 86487"/>
                <a:gd name="connsiteX13" fmla="*/ 111347 w 243745"/>
                <a:gd name="connsiteY13" fmla="*/ 55817 h 86487"/>
                <a:gd name="connsiteX14" fmla="*/ 78010 w 243745"/>
                <a:gd name="connsiteY14" fmla="*/ 59722 h 86487"/>
                <a:gd name="connsiteX15" fmla="*/ 82678 w 243745"/>
                <a:gd name="connsiteY15" fmla="*/ 35624 h 86487"/>
                <a:gd name="connsiteX16" fmla="*/ 52197 w 243745"/>
                <a:gd name="connsiteY16" fmla="*/ 65342 h 86487"/>
                <a:gd name="connsiteX17" fmla="*/ 45911 w 243745"/>
                <a:gd name="connsiteY17" fmla="*/ 51149 h 86487"/>
                <a:gd name="connsiteX18" fmla="*/ 40005 w 243745"/>
                <a:gd name="connsiteY18" fmla="*/ 65342 h 86487"/>
                <a:gd name="connsiteX19" fmla="*/ 0 w 243745"/>
                <a:gd name="connsiteY19" fmla="*/ 54102 h 86487"/>
                <a:gd name="connsiteX20" fmla="*/ 8954 w 243745"/>
                <a:gd name="connsiteY20" fmla="*/ 45434 h 86487"/>
                <a:gd name="connsiteX21" fmla="*/ 53150 w 243745"/>
                <a:gd name="connsiteY21" fmla="*/ 36862 h 86487"/>
                <a:gd name="connsiteX22" fmla="*/ 25813 w 243745"/>
                <a:gd name="connsiteY22" fmla="*/ 24003 h 86487"/>
                <a:gd name="connsiteX23" fmla="*/ 54959 w 243745"/>
                <a:gd name="connsiteY23" fmla="*/ 18669 h 86487"/>
                <a:gd name="connsiteX24" fmla="*/ 43244 w 243745"/>
                <a:gd name="connsiteY24" fmla="*/ 6382 h 86487"/>
                <a:gd name="connsiteX25" fmla="*/ 70009 w 243745"/>
                <a:gd name="connsiteY25" fmla="*/ 6382 h 86487"/>
                <a:gd name="connsiteX26" fmla="*/ 73343 w 243745"/>
                <a:gd name="connsiteY26" fmla="*/ 17050 h 86487"/>
                <a:gd name="connsiteX27" fmla="*/ 98584 w 243745"/>
                <a:gd name="connsiteY27" fmla="*/ 10096 h 8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3745" h="86487">
                  <a:moveTo>
                    <a:pt x="98584" y="10096"/>
                  </a:moveTo>
                  <a:lnTo>
                    <a:pt x="127445" y="43434"/>
                  </a:lnTo>
                  <a:lnTo>
                    <a:pt x="173736" y="44101"/>
                  </a:lnTo>
                  <a:lnTo>
                    <a:pt x="175165" y="0"/>
                  </a:lnTo>
                  <a:lnTo>
                    <a:pt x="189167" y="33338"/>
                  </a:lnTo>
                  <a:lnTo>
                    <a:pt x="216218" y="27908"/>
                  </a:lnTo>
                  <a:lnTo>
                    <a:pt x="243745" y="38862"/>
                  </a:lnTo>
                  <a:lnTo>
                    <a:pt x="231172" y="62008"/>
                  </a:lnTo>
                  <a:lnTo>
                    <a:pt x="208407" y="67246"/>
                  </a:lnTo>
                  <a:lnTo>
                    <a:pt x="197168" y="60008"/>
                  </a:lnTo>
                  <a:lnTo>
                    <a:pt x="141161" y="69914"/>
                  </a:lnTo>
                  <a:lnTo>
                    <a:pt x="132398" y="79153"/>
                  </a:lnTo>
                  <a:lnTo>
                    <a:pt x="80296" y="86487"/>
                  </a:lnTo>
                  <a:lnTo>
                    <a:pt x="111347" y="55817"/>
                  </a:lnTo>
                  <a:lnTo>
                    <a:pt x="78010" y="59722"/>
                  </a:lnTo>
                  <a:lnTo>
                    <a:pt x="82678" y="35624"/>
                  </a:lnTo>
                  <a:lnTo>
                    <a:pt x="52197" y="65342"/>
                  </a:lnTo>
                  <a:lnTo>
                    <a:pt x="45911" y="51149"/>
                  </a:lnTo>
                  <a:lnTo>
                    <a:pt x="40005" y="65342"/>
                  </a:lnTo>
                  <a:lnTo>
                    <a:pt x="0" y="54102"/>
                  </a:lnTo>
                  <a:lnTo>
                    <a:pt x="8954" y="45434"/>
                  </a:lnTo>
                  <a:lnTo>
                    <a:pt x="53150" y="36862"/>
                  </a:lnTo>
                  <a:lnTo>
                    <a:pt x="25813" y="24003"/>
                  </a:lnTo>
                  <a:lnTo>
                    <a:pt x="54959" y="18669"/>
                  </a:lnTo>
                  <a:lnTo>
                    <a:pt x="43244" y="6382"/>
                  </a:lnTo>
                  <a:lnTo>
                    <a:pt x="70009" y="6382"/>
                  </a:lnTo>
                  <a:lnTo>
                    <a:pt x="73343" y="17050"/>
                  </a:lnTo>
                  <a:lnTo>
                    <a:pt x="98584" y="100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7" name="Freeform: Shape 2937">
              <a:extLst>
                <a:ext uri="{FF2B5EF4-FFF2-40B4-BE49-F238E27FC236}">
                  <a16:creationId xmlns:a16="http://schemas.microsoft.com/office/drawing/2014/main" id="{3BFB35E3-23B6-ADEF-46C8-10F5A557AEFF}"/>
                </a:ext>
              </a:extLst>
            </p:cNvPr>
            <p:cNvSpPr/>
            <p:nvPr/>
          </p:nvSpPr>
          <p:spPr>
            <a:xfrm>
              <a:off x="6765131" y="2768187"/>
              <a:ext cx="50577" cy="36385"/>
            </a:xfrm>
            <a:custGeom>
              <a:avLst/>
              <a:gdLst>
                <a:gd name="connsiteX0" fmla="*/ 50578 w 50577"/>
                <a:gd name="connsiteY0" fmla="*/ 9239 h 36385"/>
                <a:gd name="connsiteX1" fmla="*/ 50578 w 50577"/>
                <a:gd name="connsiteY1" fmla="*/ 9239 h 36385"/>
                <a:gd name="connsiteX2" fmla="*/ 34671 w 50577"/>
                <a:gd name="connsiteY2" fmla="*/ 36385 h 36385"/>
                <a:gd name="connsiteX3" fmla="*/ 0 w 50577"/>
                <a:gd name="connsiteY3" fmla="*/ 11239 h 36385"/>
                <a:gd name="connsiteX4" fmla="*/ 29718 w 50577"/>
                <a:gd name="connsiteY4" fmla="*/ 0 h 36385"/>
                <a:gd name="connsiteX5" fmla="*/ 50578 w 50577"/>
                <a:gd name="connsiteY5" fmla="*/ 9239 h 36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77" h="36385">
                  <a:moveTo>
                    <a:pt x="50578" y="9239"/>
                  </a:moveTo>
                  <a:lnTo>
                    <a:pt x="50578" y="9239"/>
                  </a:lnTo>
                  <a:lnTo>
                    <a:pt x="34671" y="36385"/>
                  </a:lnTo>
                  <a:lnTo>
                    <a:pt x="0" y="11239"/>
                  </a:lnTo>
                  <a:lnTo>
                    <a:pt x="29718" y="0"/>
                  </a:lnTo>
                  <a:lnTo>
                    <a:pt x="50578" y="9239"/>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8" name="Freeform: Shape 2938">
              <a:extLst>
                <a:ext uri="{FF2B5EF4-FFF2-40B4-BE49-F238E27FC236}">
                  <a16:creationId xmlns:a16="http://schemas.microsoft.com/office/drawing/2014/main" id="{6257646C-0D73-D2F4-E975-D75A79378E4D}"/>
                </a:ext>
              </a:extLst>
            </p:cNvPr>
            <p:cNvSpPr/>
            <p:nvPr/>
          </p:nvSpPr>
          <p:spPr>
            <a:xfrm>
              <a:off x="7285577" y="2782951"/>
              <a:ext cx="81724" cy="37337"/>
            </a:xfrm>
            <a:custGeom>
              <a:avLst/>
              <a:gdLst>
                <a:gd name="connsiteX0" fmla="*/ 0 w 81724"/>
                <a:gd name="connsiteY0" fmla="*/ 0 h 37337"/>
                <a:gd name="connsiteX1" fmla="*/ 0 w 81724"/>
                <a:gd name="connsiteY1" fmla="*/ 0 h 37337"/>
                <a:gd name="connsiteX2" fmla="*/ 24955 w 81724"/>
                <a:gd name="connsiteY2" fmla="*/ 11525 h 37337"/>
                <a:gd name="connsiteX3" fmla="*/ 56197 w 81724"/>
                <a:gd name="connsiteY3" fmla="*/ 1619 h 37337"/>
                <a:gd name="connsiteX4" fmla="*/ 81724 w 81724"/>
                <a:gd name="connsiteY4" fmla="*/ 32671 h 37337"/>
                <a:gd name="connsiteX5" fmla="*/ 58198 w 81724"/>
                <a:gd name="connsiteY5" fmla="*/ 27527 h 37337"/>
                <a:gd name="connsiteX6" fmla="*/ 25241 w 81724"/>
                <a:gd name="connsiteY6" fmla="*/ 37338 h 37337"/>
                <a:gd name="connsiteX7" fmla="*/ 0 w 81724"/>
                <a:gd name="connsiteY7" fmla="*/ 0 h 3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724" h="37337">
                  <a:moveTo>
                    <a:pt x="0" y="0"/>
                  </a:moveTo>
                  <a:lnTo>
                    <a:pt x="0" y="0"/>
                  </a:lnTo>
                  <a:lnTo>
                    <a:pt x="24955" y="11525"/>
                  </a:lnTo>
                  <a:lnTo>
                    <a:pt x="56197" y="1619"/>
                  </a:lnTo>
                  <a:lnTo>
                    <a:pt x="81724" y="32671"/>
                  </a:lnTo>
                  <a:lnTo>
                    <a:pt x="58198" y="27527"/>
                  </a:lnTo>
                  <a:lnTo>
                    <a:pt x="25241" y="37338"/>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49" name="Freeform: Shape 2939">
              <a:extLst>
                <a:ext uri="{FF2B5EF4-FFF2-40B4-BE49-F238E27FC236}">
                  <a16:creationId xmlns:a16="http://schemas.microsoft.com/office/drawing/2014/main" id="{9C4208D3-D49B-6F2D-9CDB-5F431586A76E}"/>
                </a:ext>
              </a:extLst>
            </p:cNvPr>
            <p:cNvSpPr/>
            <p:nvPr/>
          </p:nvSpPr>
          <p:spPr>
            <a:xfrm>
              <a:off x="6990207" y="2762091"/>
              <a:ext cx="105917" cy="81533"/>
            </a:xfrm>
            <a:custGeom>
              <a:avLst/>
              <a:gdLst>
                <a:gd name="connsiteX0" fmla="*/ 14383 w 105917"/>
                <a:gd name="connsiteY0" fmla="*/ 5905 h 81533"/>
                <a:gd name="connsiteX1" fmla="*/ 42576 w 105917"/>
                <a:gd name="connsiteY1" fmla="*/ 0 h 81533"/>
                <a:gd name="connsiteX2" fmla="*/ 64389 w 105917"/>
                <a:gd name="connsiteY2" fmla="*/ 18383 h 81533"/>
                <a:gd name="connsiteX3" fmla="*/ 105918 w 105917"/>
                <a:gd name="connsiteY3" fmla="*/ 7525 h 81533"/>
                <a:gd name="connsiteX4" fmla="*/ 66008 w 105917"/>
                <a:gd name="connsiteY4" fmla="*/ 58198 h 81533"/>
                <a:gd name="connsiteX5" fmla="*/ 26670 w 105917"/>
                <a:gd name="connsiteY5" fmla="*/ 55626 h 81533"/>
                <a:gd name="connsiteX6" fmla="*/ 32195 w 105917"/>
                <a:gd name="connsiteY6" fmla="*/ 81534 h 81533"/>
                <a:gd name="connsiteX7" fmla="*/ 9716 w 105917"/>
                <a:gd name="connsiteY7" fmla="*/ 81534 h 81533"/>
                <a:gd name="connsiteX8" fmla="*/ 0 w 105917"/>
                <a:gd name="connsiteY8" fmla="*/ 53626 h 81533"/>
                <a:gd name="connsiteX9" fmla="*/ 14383 w 105917"/>
                <a:gd name="connsiteY9" fmla="*/ 5905 h 8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917" h="81533">
                  <a:moveTo>
                    <a:pt x="14383" y="5905"/>
                  </a:moveTo>
                  <a:lnTo>
                    <a:pt x="42576" y="0"/>
                  </a:lnTo>
                  <a:lnTo>
                    <a:pt x="64389" y="18383"/>
                  </a:lnTo>
                  <a:lnTo>
                    <a:pt x="105918" y="7525"/>
                  </a:lnTo>
                  <a:lnTo>
                    <a:pt x="66008" y="58198"/>
                  </a:lnTo>
                  <a:lnTo>
                    <a:pt x="26670" y="55626"/>
                  </a:lnTo>
                  <a:lnTo>
                    <a:pt x="32195" y="81534"/>
                  </a:lnTo>
                  <a:lnTo>
                    <a:pt x="9716" y="81534"/>
                  </a:lnTo>
                  <a:lnTo>
                    <a:pt x="0" y="53626"/>
                  </a:lnTo>
                  <a:lnTo>
                    <a:pt x="14383" y="590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0" name="Freeform: Shape 2940">
              <a:extLst>
                <a:ext uri="{FF2B5EF4-FFF2-40B4-BE49-F238E27FC236}">
                  <a16:creationId xmlns:a16="http://schemas.microsoft.com/office/drawing/2014/main" id="{6FEC81D1-3396-790F-AA65-7F34E962415F}"/>
                </a:ext>
              </a:extLst>
            </p:cNvPr>
            <p:cNvSpPr/>
            <p:nvPr/>
          </p:nvSpPr>
          <p:spPr>
            <a:xfrm>
              <a:off x="6389369" y="2751137"/>
              <a:ext cx="205835" cy="136302"/>
            </a:xfrm>
            <a:custGeom>
              <a:avLst/>
              <a:gdLst>
                <a:gd name="connsiteX0" fmla="*/ 131159 w 205835"/>
                <a:gd name="connsiteY0" fmla="*/ 24955 h 136302"/>
                <a:gd name="connsiteX1" fmla="*/ 170402 w 205835"/>
                <a:gd name="connsiteY1" fmla="*/ 10668 h 136302"/>
                <a:gd name="connsiteX2" fmla="*/ 205835 w 205835"/>
                <a:gd name="connsiteY2" fmla="*/ 41053 h 136302"/>
                <a:gd name="connsiteX3" fmla="*/ 114110 w 205835"/>
                <a:gd name="connsiteY3" fmla="*/ 76105 h 136302"/>
                <a:gd name="connsiteX4" fmla="*/ 106966 w 205835"/>
                <a:gd name="connsiteY4" fmla="*/ 121063 h 136302"/>
                <a:gd name="connsiteX5" fmla="*/ 55150 w 205835"/>
                <a:gd name="connsiteY5" fmla="*/ 136303 h 136302"/>
                <a:gd name="connsiteX6" fmla="*/ 20860 w 205835"/>
                <a:gd name="connsiteY6" fmla="*/ 102584 h 136302"/>
                <a:gd name="connsiteX7" fmla="*/ 0 w 205835"/>
                <a:gd name="connsiteY7" fmla="*/ 102584 h 136302"/>
                <a:gd name="connsiteX8" fmla="*/ 20860 w 205835"/>
                <a:gd name="connsiteY8" fmla="*/ 78772 h 136302"/>
                <a:gd name="connsiteX9" fmla="*/ 16764 w 205835"/>
                <a:gd name="connsiteY9" fmla="*/ 58102 h 136302"/>
                <a:gd name="connsiteX10" fmla="*/ 33242 w 205835"/>
                <a:gd name="connsiteY10" fmla="*/ 58102 h 136302"/>
                <a:gd name="connsiteX11" fmla="*/ 44291 w 205835"/>
                <a:gd name="connsiteY11" fmla="*/ 31147 h 136302"/>
                <a:gd name="connsiteX12" fmla="*/ 28099 w 205835"/>
                <a:gd name="connsiteY12" fmla="*/ 2191 h 136302"/>
                <a:gd name="connsiteX13" fmla="*/ 87821 w 205835"/>
                <a:gd name="connsiteY13" fmla="*/ 0 h 136302"/>
                <a:gd name="connsiteX14" fmla="*/ 131159 w 205835"/>
                <a:gd name="connsiteY14" fmla="*/ 24955 h 13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835" h="136302">
                  <a:moveTo>
                    <a:pt x="131159" y="24955"/>
                  </a:moveTo>
                  <a:lnTo>
                    <a:pt x="170402" y="10668"/>
                  </a:lnTo>
                  <a:lnTo>
                    <a:pt x="205835" y="41053"/>
                  </a:lnTo>
                  <a:lnTo>
                    <a:pt x="114110" y="76105"/>
                  </a:lnTo>
                  <a:lnTo>
                    <a:pt x="106966" y="121063"/>
                  </a:lnTo>
                  <a:lnTo>
                    <a:pt x="55150" y="136303"/>
                  </a:lnTo>
                  <a:lnTo>
                    <a:pt x="20860" y="102584"/>
                  </a:lnTo>
                  <a:lnTo>
                    <a:pt x="0" y="102584"/>
                  </a:lnTo>
                  <a:lnTo>
                    <a:pt x="20860" y="78772"/>
                  </a:lnTo>
                  <a:lnTo>
                    <a:pt x="16764" y="58102"/>
                  </a:lnTo>
                  <a:lnTo>
                    <a:pt x="33242" y="58102"/>
                  </a:lnTo>
                  <a:lnTo>
                    <a:pt x="44291" y="31147"/>
                  </a:lnTo>
                  <a:lnTo>
                    <a:pt x="28099" y="2191"/>
                  </a:lnTo>
                  <a:lnTo>
                    <a:pt x="87821" y="0"/>
                  </a:lnTo>
                  <a:lnTo>
                    <a:pt x="131159" y="2495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1" name="Freeform: Shape 2941">
              <a:extLst>
                <a:ext uri="{FF2B5EF4-FFF2-40B4-BE49-F238E27FC236}">
                  <a16:creationId xmlns:a16="http://schemas.microsoft.com/office/drawing/2014/main" id="{EB5BCBAD-E260-A03B-7A2E-97C45F373BD3}"/>
                </a:ext>
              </a:extLst>
            </p:cNvPr>
            <p:cNvSpPr/>
            <p:nvPr/>
          </p:nvSpPr>
          <p:spPr>
            <a:xfrm>
              <a:off x="6850380" y="2774950"/>
              <a:ext cx="121824" cy="106584"/>
            </a:xfrm>
            <a:custGeom>
              <a:avLst/>
              <a:gdLst>
                <a:gd name="connsiteX0" fmla="*/ 54102 w 121824"/>
                <a:gd name="connsiteY0" fmla="*/ 0 h 106584"/>
                <a:gd name="connsiteX1" fmla="*/ 54102 w 121824"/>
                <a:gd name="connsiteY1" fmla="*/ 0 h 106584"/>
                <a:gd name="connsiteX2" fmla="*/ 70295 w 121824"/>
                <a:gd name="connsiteY2" fmla="*/ 10668 h 106584"/>
                <a:gd name="connsiteX3" fmla="*/ 98012 w 121824"/>
                <a:gd name="connsiteY3" fmla="*/ 1333 h 106584"/>
                <a:gd name="connsiteX4" fmla="*/ 111347 w 121824"/>
                <a:gd name="connsiteY4" fmla="*/ 6953 h 106584"/>
                <a:gd name="connsiteX5" fmla="*/ 83534 w 121824"/>
                <a:gd name="connsiteY5" fmla="*/ 37719 h 106584"/>
                <a:gd name="connsiteX6" fmla="*/ 107632 w 121824"/>
                <a:gd name="connsiteY6" fmla="*/ 39052 h 106584"/>
                <a:gd name="connsiteX7" fmla="*/ 121825 w 121824"/>
                <a:gd name="connsiteY7" fmla="*/ 84677 h 106584"/>
                <a:gd name="connsiteX8" fmla="*/ 104013 w 121824"/>
                <a:gd name="connsiteY8" fmla="*/ 92678 h 106584"/>
                <a:gd name="connsiteX9" fmla="*/ 87249 w 121824"/>
                <a:gd name="connsiteY9" fmla="*/ 77724 h 106584"/>
                <a:gd name="connsiteX10" fmla="*/ 91916 w 121824"/>
                <a:gd name="connsiteY10" fmla="*/ 97250 h 106584"/>
                <a:gd name="connsiteX11" fmla="*/ 79534 w 121824"/>
                <a:gd name="connsiteY11" fmla="*/ 106585 h 106584"/>
                <a:gd name="connsiteX12" fmla="*/ 41243 w 121824"/>
                <a:gd name="connsiteY12" fmla="*/ 70199 h 106584"/>
                <a:gd name="connsiteX13" fmla="*/ 18764 w 121824"/>
                <a:gd name="connsiteY13" fmla="*/ 65532 h 106584"/>
                <a:gd name="connsiteX14" fmla="*/ 0 w 121824"/>
                <a:gd name="connsiteY14" fmla="*/ 48958 h 106584"/>
                <a:gd name="connsiteX15" fmla="*/ 8858 w 121824"/>
                <a:gd name="connsiteY15" fmla="*/ 34385 h 106584"/>
                <a:gd name="connsiteX16" fmla="*/ 33338 w 121824"/>
                <a:gd name="connsiteY16" fmla="*/ 50292 h 106584"/>
                <a:gd name="connsiteX17" fmla="*/ 47149 w 121824"/>
                <a:gd name="connsiteY17" fmla="*/ 35719 h 106584"/>
                <a:gd name="connsiteX18" fmla="*/ 54102 w 121824"/>
                <a:gd name="connsiteY18" fmla="*/ 0 h 106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824" h="106584">
                  <a:moveTo>
                    <a:pt x="54102" y="0"/>
                  </a:moveTo>
                  <a:lnTo>
                    <a:pt x="54102" y="0"/>
                  </a:lnTo>
                  <a:lnTo>
                    <a:pt x="70295" y="10668"/>
                  </a:lnTo>
                  <a:lnTo>
                    <a:pt x="98012" y="1333"/>
                  </a:lnTo>
                  <a:lnTo>
                    <a:pt x="111347" y="6953"/>
                  </a:lnTo>
                  <a:lnTo>
                    <a:pt x="83534" y="37719"/>
                  </a:lnTo>
                  <a:lnTo>
                    <a:pt x="107632" y="39052"/>
                  </a:lnTo>
                  <a:lnTo>
                    <a:pt x="121825" y="84677"/>
                  </a:lnTo>
                  <a:lnTo>
                    <a:pt x="104013" y="92678"/>
                  </a:lnTo>
                  <a:lnTo>
                    <a:pt x="87249" y="77724"/>
                  </a:lnTo>
                  <a:lnTo>
                    <a:pt x="91916" y="97250"/>
                  </a:lnTo>
                  <a:lnTo>
                    <a:pt x="79534" y="106585"/>
                  </a:lnTo>
                  <a:lnTo>
                    <a:pt x="41243" y="70199"/>
                  </a:lnTo>
                  <a:lnTo>
                    <a:pt x="18764" y="65532"/>
                  </a:lnTo>
                  <a:lnTo>
                    <a:pt x="0" y="48958"/>
                  </a:lnTo>
                  <a:lnTo>
                    <a:pt x="8858" y="34385"/>
                  </a:lnTo>
                  <a:lnTo>
                    <a:pt x="33338" y="50292"/>
                  </a:lnTo>
                  <a:lnTo>
                    <a:pt x="47149" y="35719"/>
                  </a:lnTo>
                  <a:lnTo>
                    <a:pt x="54102"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2" name="Freeform: Shape 2942">
              <a:extLst>
                <a:ext uri="{FF2B5EF4-FFF2-40B4-BE49-F238E27FC236}">
                  <a16:creationId xmlns:a16="http://schemas.microsoft.com/office/drawing/2014/main" id="{E442CAA7-F18B-8219-5080-C451417DC471}"/>
                </a:ext>
              </a:extLst>
            </p:cNvPr>
            <p:cNvSpPr/>
            <p:nvPr/>
          </p:nvSpPr>
          <p:spPr>
            <a:xfrm>
              <a:off x="6526053" y="2797428"/>
              <a:ext cx="359282" cy="184118"/>
            </a:xfrm>
            <a:custGeom>
              <a:avLst/>
              <a:gdLst>
                <a:gd name="connsiteX0" fmla="*/ 89154 w 359282"/>
                <a:gd name="connsiteY0" fmla="*/ 31147 h 184118"/>
                <a:gd name="connsiteX1" fmla="*/ 89154 w 359282"/>
                <a:gd name="connsiteY1" fmla="*/ 31147 h 184118"/>
                <a:gd name="connsiteX2" fmla="*/ 108013 w 359282"/>
                <a:gd name="connsiteY2" fmla="*/ 30480 h 184118"/>
                <a:gd name="connsiteX3" fmla="*/ 120205 w 359282"/>
                <a:gd name="connsiteY3" fmla="*/ 14573 h 184118"/>
                <a:gd name="connsiteX4" fmla="*/ 155924 w 359282"/>
                <a:gd name="connsiteY4" fmla="*/ 26480 h 184118"/>
                <a:gd name="connsiteX5" fmla="*/ 145351 w 359282"/>
                <a:gd name="connsiteY5" fmla="*/ 47054 h 184118"/>
                <a:gd name="connsiteX6" fmla="*/ 208121 w 359282"/>
                <a:gd name="connsiteY6" fmla="*/ 34481 h 184118"/>
                <a:gd name="connsiteX7" fmla="*/ 222885 w 359282"/>
                <a:gd name="connsiteY7" fmla="*/ 70866 h 184118"/>
                <a:gd name="connsiteX8" fmla="*/ 234791 w 359282"/>
                <a:gd name="connsiteY8" fmla="*/ 58960 h 184118"/>
                <a:gd name="connsiteX9" fmla="*/ 224218 w 359282"/>
                <a:gd name="connsiteY9" fmla="*/ 49721 h 184118"/>
                <a:gd name="connsiteX10" fmla="*/ 218313 w 359282"/>
                <a:gd name="connsiteY10" fmla="*/ 1334 h 184118"/>
                <a:gd name="connsiteX11" fmla="*/ 238125 w 359282"/>
                <a:gd name="connsiteY11" fmla="*/ 13811 h 184118"/>
                <a:gd name="connsiteX12" fmla="*/ 262604 w 359282"/>
                <a:gd name="connsiteY12" fmla="*/ 13240 h 184118"/>
                <a:gd name="connsiteX13" fmla="*/ 292227 w 359282"/>
                <a:gd name="connsiteY13" fmla="*/ 72200 h 184118"/>
                <a:gd name="connsiteX14" fmla="*/ 299180 w 359282"/>
                <a:gd name="connsiteY14" fmla="*/ 104585 h 184118"/>
                <a:gd name="connsiteX15" fmla="*/ 316992 w 359282"/>
                <a:gd name="connsiteY15" fmla="*/ 114491 h 184118"/>
                <a:gd name="connsiteX16" fmla="*/ 322802 w 359282"/>
                <a:gd name="connsiteY16" fmla="*/ 102203 h 184118"/>
                <a:gd name="connsiteX17" fmla="*/ 359283 w 359282"/>
                <a:gd name="connsiteY17" fmla="*/ 128397 h 184118"/>
                <a:gd name="connsiteX18" fmla="*/ 359283 w 359282"/>
                <a:gd name="connsiteY18" fmla="*/ 145447 h 184118"/>
                <a:gd name="connsiteX19" fmla="*/ 349758 w 359282"/>
                <a:gd name="connsiteY19" fmla="*/ 137351 h 184118"/>
                <a:gd name="connsiteX20" fmla="*/ 320992 w 359282"/>
                <a:gd name="connsiteY20" fmla="*/ 173355 h 184118"/>
                <a:gd name="connsiteX21" fmla="*/ 251650 w 359282"/>
                <a:gd name="connsiteY21" fmla="*/ 161068 h 184118"/>
                <a:gd name="connsiteX22" fmla="*/ 244697 w 359282"/>
                <a:gd name="connsiteY22" fmla="*/ 148876 h 184118"/>
                <a:gd name="connsiteX23" fmla="*/ 232886 w 359282"/>
                <a:gd name="connsiteY23" fmla="*/ 166402 h 184118"/>
                <a:gd name="connsiteX24" fmla="*/ 215265 w 359282"/>
                <a:gd name="connsiteY24" fmla="*/ 153257 h 184118"/>
                <a:gd name="connsiteX25" fmla="*/ 196501 w 359282"/>
                <a:gd name="connsiteY25" fmla="*/ 176594 h 184118"/>
                <a:gd name="connsiteX26" fmla="*/ 114585 w 359282"/>
                <a:gd name="connsiteY26" fmla="*/ 184118 h 184118"/>
                <a:gd name="connsiteX27" fmla="*/ 110680 w 359282"/>
                <a:gd name="connsiteY27" fmla="*/ 161068 h 184118"/>
                <a:gd name="connsiteX28" fmla="*/ 50863 w 359282"/>
                <a:gd name="connsiteY28" fmla="*/ 154019 h 184118"/>
                <a:gd name="connsiteX29" fmla="*/ 33051 w 359282"/>
                <a:gd name="connsiteY29" fmla="*/ 134684 h 184118"/>
                <a:gd name="connsiteX30" fmla="*/ 77343 w 359282"/>
                <a:gd name="connsiteY30" fmla="*/ 123158 h 184118"/>
                <a:gd name="connsiteX31" fmla="*/ 151066 w 359282"/>
                <a:gd name="connsiteY31" fmla="*/ 138779 h 184118"/>
                <a:gd name="connsiteX32" fmla="*/ 136779 w 359282"/>
                <a:gd name="connsiteY32" fmla="*/ 114491 h 184118"/>
                <a:gd name="connsiteX33" fmla="*/ 30385 w 359282"/>
                <a:gd name="connsiteY33" fmla="*/ 110490 h 184118"/>
                <a:gd name="connsiteX34" fmla="*/ 13906 w 359282"/>
                <a:gd name="connsiteY34" fmla="*/ 94679 h 184118"/>
                <a:gd name="connsiteX35" fmla="*/ 25527 w 359282"/>
                <a:gd name="connsiteY35" fmla="*/ 86963 h 184118"/>
                <a:gd name="connsiteX36" fmla="*/ 64770 w 359282"/>
                <a:gd name="connsiteY36" fmla="*/ 91535 h 184118"/>
                <a:gd name="connsiteX37" fmla="*/ 77152 w 359282"/>
                <a:gd name="connsiteY37" fmla="*/ 65723 h 184118"/>
                <a:gd name="connsiteX38" fmla="*/ 35052 w 359282"/>
                <a:gd name="connsiteY38" fmla="*/ 81725 h 184118"/>
                <a:gd name="connsiteX39" fmla="*/ 27813 w 359282"/>
                <a:gd name="connsiteY39" fmla="*/ 68199 h 184118"/>
                <a:gd name="connsiteX40" fmla="*/ 0 w 359282"/>
                <a:gd name="connsiteY40" fmla="*/ 67532 h 184118"/>
                <a:gd name="connsiteX41" fmla="*/ 19812 w 359282"/>
                <a:gd name="connsiteY41" fmla="*/ 45720 h 184118"/>
                <a:gd name="connsiteX42" fmla="*/ 34671 w 359282"/>
                <a:gd name="connsiteY42" fmla="*/ 18574 h 184118"/>
                <a:gd name="connsiteX43" fmla="*/ 89821 w 359282"/>
                <a:gd name="connsiteY43" fmla="*/ 0 h 184118"/>
                <a:gd name="connsiteX44" fmla="*/ 89154 w 359282"/>
                <a:gd name="connsiteY44" fmla="*/ 31147 h 18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59282" h="184118">
                  <a:moveTo>
                    <a:pt x="89154" y="31147"/>
                  </a:moveTo>
                  <a:lnTo>
                    <a:pt x="89154" y="31147"/>
                  </a:lnTo>
                  <a:lnTo>
                    <a:pt x="108013" y="30480"/>
                  </a:lnTo>
                  <a:lnTo>
                    <a:pt x="120205" y="14573"/>
                  </a:lnTo>
                  <a:lnTo>
                    <a:pt x="155924" y="26480"/>
                  </a:lnTo>
                  <a:lnTo>
                    <a:pt x="145351" y="47054"/>
                  </a:lnTo>
                  <a:lnTo>
                    <a:pt x="208121" y="34481"/>
                  </a:lnTo>
                  <a:lnTo>
                    <a:pt x="222885" y="70866"/>
                  </a:lnTo>
                  <a:lnTo>
                    <a:pt x="234791" y="58960"/>
                  </a:lnTo>
                  <a:lnTo>
                    <a:pt x="224218" y="49721"/>
                  </a:lnTo>
                  <a:lnTo>
                    <a:pt x="218313" y="1334"/>
                  </a:lnTo>
                  <a:lnTo>
                    <a:pt x="238125" y="13811"/>
                  </a:lnTo>
                  <a:lnTo>
                    <a:pt x="262604" y="13240"/>
                  </a:lnTo>
                  <a:lnTo>
                    <a:pt x="292227" y="72200"/>
                  </a:lnTo>
                  <a:lnTo>
                    <a:pt x="299180" y="104585"/>
                  </a:lnTo>
                  <a:lnTo>
                    <a:pt x="316992" y="114491"/>
                  </a:lnTo>
                  <a:lnTo>
                    <a:pt x="322802" y="102203"/>
                  </a:lnTo>
                  <a:lnTo>
                    <a:pt x="359283" y="128397"/>
                  </a:lnTo>
                  <a:lnTo>
                    <a:pt x="359283" y="145447"/>
                  </a:lnTo>
                  <a:lnTo>
                    <a:pt x="349758" y="137351"/>
                  </a:lnTo>
                  <a:lnTo>
                    <a:pt x="320992" y="173355"/>
                  </a:lnTo>
                  <a:lnTo>
                    <a:pt x="251650" y="161068"/>
                  </a:lnTo>
                  <a:lnTo>
                    <a:pt x="244697" y="148876"/>
                  </a:lnTo>
                  <a:lnTo>
                    <a:pt x="232886" y="166402"/>
                  </a:lnTo>
                  <a:lnTo>
                    <a:pt x="215265" y="153257"/>
                  </a:lnTo>
                  <a:lnTo>
                    <a:pt x="196501" y="176594"/>
                  </a:lnTo>
                  <a:lnTo>
                    <a:pt x="114585" y="184118"/>
                  </a:lnTo>
                  <a:lnTo>
                    <a:pt x="110680" y="161068"/>
                  </a:lnTo>
                  <a:lnTo>
                    <a:pt x="50863" y="154019"/>
                  </a:lnTo>
                  <a:lnTo>
                    <a:pt x="33051" y="134684"/>
                  </a:lnTo>
                  <a:lnTo>
                    <a:pt x="77343" y="123158"/>
                  </a:lnTo>
                  <a:lnTo>
                    <a:pt x="151066" y="138779"/>
                  </a:lnTo>
                  <a:lnTo>
                    <a:pt x="136779" y="114491"/>
                  </a:lnTo>
                  <a:lnTo>
                    <a:pt x="30385" y="110490"/>
                  </a:lnTo>
                  <a:lnTo>
                    <a:pt x="13906" y="94679"/>
                  </a:lnTo>
                  <a:lnTo>
                    <a:pt x="25527" y="86963"/>
                  </a:lnTo>
                  <a:lnTo>
                    <a:pt x="64770" y="91535"/>
                  </a:lnTo>
                  <a:lnTo>
                    <a:pt x="77152" y="65723"/>
                  </a:lnTo>
                  <a:lnTo>
                    <a:pt x="35052" y="81725"/>
                  </a:lnTo>
                  <a:lnTo>
                    <a:pt x="27813" y="68199"/>
                  </a:lnTo>
                  <a:lnTo>
                    <a:pt x="0" y="67532"/>
                  </a:lnTo>
                  <a:lnTo>
                    <a:pt x="19812" y="45720"/>
                  </a:lnTo>
                  <a:lnTo>
                    <a:pt x="34671" y="18574"/>
                  </a:lnTo>
                  <a:lnTo>
                    <a:pt x="89821" y="0"/>
                  </a:lnTo>
                  <a:lnTo>
                    <a:pt x="89154" y="3114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3" name="Freeform: Shape 2943">
              <a:extLst>
                <a:ext uri="{FF2B5EF4-FFF2-40B4-BE49-F238E27FC236}">
                  <a16:creationId xmlns:a16="http://schemas.microsoft.com/office/drawing/2014/main" id="{18D6DE0F-4422-B739-693B-D90A1D4709E2}"/>
                </a:ext>
              </a:extLst>
            </p:cNvPr>
            <p:cNvSpPr/>
            <p:nvPr/>
          </p:nvSpPr>
          <p:spPr>
            <a:xfrm>
              <a:off x="7287577" y="2938589"/>
              <a:ext cx="22384" cy="14192"/>
            </a:xfrm>
            <a:custGeom>
              <a:avLst/>
              <a:gdLst>
                <a:gd name="connsiteX0" fmla="*/ 22384 w 22384"/>
                <a:gd name="connsiteY0" fmla="*/ 0 h 14192"/>
                <a:gd name="connsiteX1" fmla="*/ 9049 w 22384"/>
                <a:gd name="connsiteY1" fmla="*/ 14192 h 14192"/>
                <a:gd name="connsiteX2" fmla="*/ 0 w 22384"/>
                <a:gd name="connsiteY2" fmla="*/ 1619 h 14192"/>
                <a:gd name="connsiteX3" fmla="*/ 22384 w 22384"/>
                <a:gd name="connsiteY3" fmla="*/ 0 h 14192"/>
              </a:gdLst>
              <a:ahLst/>
              <a:cxnLst>
                <a:cxn ang="0">
                  <a:pos x="connsiteX0" y="connsiteY0"/>
                </a:cxn>
                <a:cxn ang="0">
                  <a:pos x="connsiteX1" y="connsiteY1"/>
                </a:cxn>
                <a:cxn ang="0">
                  <a:pos x="connsiteX2" y="connsiteY2"/>
                </a:cxn>
                <a:cxn ang="0">
                  <a:pos x="connsiteX3" y="connsiteY3"/>
                </a:cxn>
              </a:cxnLst>
              <a:rect l="l" t="t" r="r" b="b"/>
              <a:pathLst>
                <a:path w="22384" h="14192">
                  <a:moveTo>
                    <a:pt x="22384" y="0"/>
                  </a:moveTo>
                  <a:lnTo>
                    <a:pt x="9049" y="14192"/>
                  </a:lnTo>
                  <a:lnTo>
                    <a:pt x="0" y="1619"/>
                  </a:lnTo>
                  <a:lnTo>
                    <a:pt x="2238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4" name="Freeform: Shape 2944">
              <a:extLst>
                <a:ext uri="{FF2B5EF4-FFF2-40B4-BE49-F238E27FC236}">
                  <a16:creationId xmlns:a16="http://schemas.microsoft.com/office/drawing/2014/main" id="{091CCC40-BD88-FA00-A759-6F67BAF16439}"/>
                </a:ext>
              </a:extLst>
            </p:cNvPr>
            <p:cNvSpPr/>
            <p:nvPr/>
          </p:nvSpPr>
          <p:spPr>
            <a:xfrm>
              <a:off x="7347489" y="2954686"/>
              <a:ext cx="12858" cy="13239"/>
            </a:xfrm>
            <a:custGeom>
              <a:avLst/>
              <a:gdLst>
                <a:gd name="connsiteX0" fmla="*/ 12859 w 12858"/>
                <a:gd name="connsiteY0" fmla="*/ 0 h 13239"/>
                <a:gd name="connsiteX1" fmla="*/ 9239 w 12858"/>
                <a:gd name="connsiteY1" fmla="*/ 10192 h 13239"/>
                <a:gd name="connsiteX2" fmla="*/ 952 w 12858"/>
                <a:gd name="connsiteY2" fmla="*/ 13240 h 13239"/>
                <a:gd name="connsiteX3" fmla="*/ 0 w 12858"/>
                <a:gd name="connsiteY3" fmla="*/ 571 h 13239"/>
                <a:gd name="connsiteX4" fmla="*/ 12859 w 12858"/>
                <a:gd name="connsiteY4" fmla="*/ 0 h 13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8" h="13239">
                  <a:moveTo>
                    <a:pt x="12859" y="0"/>
                  </a:moveTo>
                  <a:lnTo>
                    <a:pt x="9239" y="10192"/>
                  </a:lnTo>
                  <a:lnTo>
                    <a:pt x="952" y="13240"/>
                  </a:lnTo>
                  <a:lnTo>
                    <a:pt x="0" y="571"/>
                  </a:lnTo>
                  <a:lnTo>
                    <a:pt x="1285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5" name="Freeform: Shape 2945">
              <a:extLst>
                <a:ext uri="{FF2B5EF4-FFF2-40B4-BE49-F238E27FC236}">
                  <a16:creationId xmlns:a16="http://schemas.microsoft.com/office/drawing/2014/main" id="{DC94F95F-0D87-14C7-3D28-5295BE9E1C0D}"/>
                </a:ext>
              </a:extLst>
            </p:cNvPr>
            <p:cNvSpPr/>
            <p:nvPr/>
          </p:nvSpPr>
          <p:spPr>
            <a:xfrm>
              <a:off x="6911530" y="2932969"/>
              <a:ext cx="77914" cy="46291"/>
            </a:xfrm>
            <a:custGeom>
              <a:avLst/>
              <a:gdLst>
                <a:gd name="connsiteX0" fmla="*/ 31718 w 77914"/>
                <a:gd name="connsiteY0" fmla="*/ 0 h 46291"/>
                <a:gd name="connsiteX1" fmla="*/ 31718 w 77914"/>
                <a:gd name="connsiteY1" fmla="*/ 0 h 46291"/>
                <a:gd name="connsiteX2" fmla="*/ 77914 w 77914"/>
                <a:gd name="connsiteY2" fmla="*/ 39243 h 46291"/>
                <a:gd name="connsiteX3" fmla="*/ 58198 w 77914"/>
                <a:gd name="connsiteY3" fmla="*/ 46292 h 46291"/>
                <a:gd name="connsiteX4" fmla="*/ 667 w 77914"/>
                <a:gd name="connsiteY4" fmla="*/ 32290 h 46291"/>
                <a:gd name="connsiteX5" fmla="*/ 0 w 77914"/>
                <a:gd name="connsiteY5" fmla="*/ 19050 h 46291"/>
                <a:gd name="connsiteX6" fmla="*/ 21146 w 77914"/>
                <a:gd name="connsiteY6" fmla="*/ 18859 h 46291"/>
                <a:gd name="connsiteX7" fmla="*/ 31718 w 77914"/>
                <a:gd name="connsiteY7" fmla="*/ 0 h 4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14" h="46291">
                  <a:moveTo>
                    <a:pt x="31718" y="0"/>
                  </a:moveTo>
                  <a:lnTo>
                    <a:pt x="31718" y="0"/>
                  </a:lnTo>
                  <a:lnTo>
                    <a:pt x="77914" y="39243"/>
                  </a:lnTo>
                  <a:lnTo>
                    <a:pt x="58198" y="46292"/>
                  </a:lnTo>
                  <a:lnTo>
                    <a:pt x="667" y="32290"/>
                  </a:lnTo>
                  <a:lnTo>
                    <a:pt x="0" y="19050"/>
                  </a:lnTo>
                  <a:lnTo>
                    <a:pt x="21146" y="18859"/>
                  </a:lnTo>
                  <a:lnTo>
                    <a:pt x="31718"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6" name="Freeform: Shape 2946">
              <a:extLst>
                <a:ext uri="{FF2B5EF4-FFF2-40B4-BE49-F238E27FC236}">
                  <a16:creationId xmlns:a16="http://schemas.microsoft.com/office/drawing/2014/main" id="{FF685326-6505-8A68-3E8D-9A3E93DB67B9}"/>
                </a:ext>
              </a:extLst>
            </p:cNvPr>
            <p:cNvSpPr/>
            <p:nvPr/>
          </p:nvSpPr>
          <p:spPr>
            <a:xfrm>
              <a:off x="7393495" y="2974022"/>
              <a:ext cx="6286" cy="10191"/>
            </a:xfrm>
            <a:custGeom>
              <a:avLst/>
              <a:gdLst>
                <a:gd name="connsiteX0" fmla="*/ 2000 w 6286"/>
                <a:gd name="connsiteY0" fmla="*/ 0 h 10191"/>
                <a:gd name="connsiteX1" fmla="*/ 2000 w 6286"/>
                <a:gd name="connsiteY1" fmla="*/ 0 h 10191"/>
                <a:gd name="connsiteX2" fmla="*/ 6287 w 6286"/>
                <a:gd name="connsiteY2" fmla="*/ 1048 h 10191"/>
                <a:gd name="connsiteX3" fmla="*/ 5620 w 6286"/>
                <a:gd name="connsiteY3" fmla="*/ 10192 h 10191"/>
                <a:gd name="connsiteX4" fmla="*/ 0 w 6286"/>
                <a:gd name="connsiteY4" fmla="*/ 571 h 10191"/>
                <a:gd name="connsiteX5" fmla="*/ 2000 w 6286"/>
                <a:gd name="connsiteY5" fmla="*/ 0 h 1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 h="10191">
                  <a:moveTo>
                    <a:pt x="2000" y="0"/>
                  </a:moveTo>
                  <a:lnTo>
                    <a:pt x="2000" y="0"/>
                  </a:lnTo>
                  <a:lnTo>
                    <a:pt x="6287" y="1048"/>
                  </a:lnTo>
                  <a:lnTo>
                    <a:pt x="5620" y="10192"/>
                  </a:lnTo>
                  <a:lnTo>
                    <a:pt x="0" y="571"/>
                  </a:lnTo>
                  <a:lnTo>
                    <a:pt x="200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7" name="Freeform: Shape 2947">
              <a:extLst>
                <a:ext uri="{FF2B5EF4-FFF2-40B4-BE49-F238E27FC236}">
                  <a16:creationId xmlns:a16="http://schemas.microsoft.com/office/drawing/2014/main" id="{5CC7E905-3543-1BA2-39E1-47A6127AE4B8}"/>
                </a:ext>
              </a:extLst>
            </p:cNvPr>
            <p:cNvSpPr/>
            <p:nvPr/>
          </p:nvSpPr>
          <p:spPr>
            <a:xfrm>
              <a:off x="7163086" y="2970022"/>
              <a:ext cx="14572" cy="29241"/>
            </a:xfrm>
            <a:custGeom>
              <a:avLst/>
              <a:gdLst>
                <a:gd name="connsiteX0" fmla="*/ 14573 w 14572"/>
                <a:gd name="connsiteY0" fmla="*/ 6667 h 29241"/>
                <a:gd name="connsiteX1" fmla="*/ 0 w 14572"/>
                <a:gd name="connsiteY1" fmla="*/ 29242 h 29241"/>
                <a:gd name="connsiteX2" fmla="*/ 666 w 14572"/>
                <a:gd name="connsiteY2" fmla="*/ 0 h 29241"/>
                <a:gd name="connsiteX3" fmla="*/ 14573 w 14572"/>
                <a:gd name="connsiteY3" fmla="*/ 6667 h 29241"/>
              </a:gdLst>
              <a:ahLst/>
              <a:cxnLst>
                <a:cxn ang="0">
                  <a:pos x="connsiteX0" y="connsiteY0"/>
                </a:cxn>
                <a:cxn ang="0">
                  <a:pos x="connsiteX1" y="connsiteY1"/>
                </a:cxn>
                <a:cxn ang="0">
                  <a:pos x="connsiteX2" y="connsiteY2"/>
                </a:cxn>
                <a:cxn ang="0">
                  <a:pos x="connsiteX3" y="connsiteY3"/>
                </a:cxn>
              </a:cxnLst>
              <a:rect l="l" t="t" r="r" b="b"/>
              <a:pathLst>
                <a:path w="14572" h="29241">
                  <a:moveTo>
                    <a:pt x="14573" y="6667"/>
                  </a:moveTo>
                  <a:lnTo>
                    <a:pt x="0" y="29242"/>
                  </a:lnTo>
                  <a:lnTo>
                    <a:pt x="666" y="0"/>
                  </a:lnTo>
                  <a:lnTo>
                    <a:pt x="14573" y="666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8" name="Freeform: Shape 2948">
              <a:extLst>
                <a:ext uri="{FF2B5EF4-FFF2-40B4-BE49-F238E27FC236}">
                  <a16:creationId xmlns:a16="http://schemas.microsoft.com/office/drawing/2014/main" id="{D13A5A50-6D4F-7038-E2F7-C3E2C6699AFC}"/>
                </a:ext>
              </a:extLst>
            </p:cNvPr>
            <p:cNvSpPr/>
            <p:nvPr/>
          </p:nvSpPr>
          <p:spPr>
            <a:xfrm>
              <a:off x="7102316" y="2775235"/>
              <a:ext cx="563022" cy="419100"/>
            </a:xfrm>
            <a:custGeom>
              <a:avLst/>
              <a:gdLst>
                <a:gd name="connsiteX0" fmla="*/ 452247 w 563022"/>
                <a:gd name="connsiteY0" fmla="*/ 208217 h 419100"/>
                <a:gd name="connsiteX1" fmla="*/ 444055 w 563022"/>
                <a:gd name="connsiteY1" fmla="*/ 216027 h 419100"/>
                <a:gd name="connsiteX2" fmla="*/ 464915 w 563022"/>
                <a:gd name="connsiteY2" fmla="*/ 216217 h 419100"/>
                <a:gd name="connsiteX3" fmla="*/ 468249 w 563022"/>
                <a:gd name="connsiteY3" fmla="*/ 228886 h 419100"/>
                <a:gd name="connsiteX4" fmla="*/ 479774 w 563022"/>
                <a:gd name="connsiteY4" fmla="*/ 222409 h 419100"/>
                <a:gd name="connsiteX5" fmla="*/ 482727 w 563022"/>
                <a:gd name="connsiteY5" fmla="*/ 236792 h 419100"/>
                <a:gd name="connsiteX6" fmla="*/ 487394 w 563022"/>
                <a:gd name="connsiteY6" fmla="*/ 224028 h 419100"/>
                <a:gd name="connsiteX7" fmla="*/ 501205 w 563022"/>
                <a:gd name="connsiteY7" fmla="*/ 221932 h 419100"/>
                <a:gd name="connsiteX8" fmla="*/ 514921 w 563022"/>
                <a:gd name="connsiteY8" fmla="*/ 239649 h 419100"/>
                <a:gd name="connsiteX9" fmla="*/ 501872 w 563022"/>
                <a:gd name="connsiteY9" fmla="*/ 253555 h 419100"/>
                <a:gd name="connsiteX10" fmla="*/ 527875 w 563022"/>
                <a:gd name="connsiteY10" fmla="*/ 244411 h 419100"/>
                <a:gd name="connsiteX11" fmla="*/ 525685 w 563022"/>
                <a:gd name="connsiteY11" fmla="*/ 259175 h 419100"/>
                <a:gd name="connsiteX12" fmla="*/ 535400 w 563022"/>
                <a:gd name="connsiteY12" fmla="*/ 252317 h 419100"/>
                <a:gd name="connsiteX13" fmla="*/ 563023 w 563022"/>
                <a:gd name="connsiteY13" fmla="*/ 272129 h 419100"/>
                <a:gd name="connsiteX14" fmla="*/ 554355 w 563022"/>
                <a:gd name="connsiteY14" fmla="*/ 274987 h 419100"/>
                <a:gd name="connsiteX15" fmla="*/ 556070 w 563022"/>
                <a:gd name="connsiteY15" fmla="*/ 285274 h 419100"/>
                <a:gd name="connsiteX16" fmla="*/ 533876 w 563022"/>
                <a:gd name="connsiteY16" fmla="*/ 282130 h 419100"/>
                <a:gd name="connsiteX17" fmla="*/ 523970 w 563022"/>
                <a:gd name="connsiteY17" fmla="*/ 316230 h 419100"/>
                <a:gd name="connsiteX18" fmla="*/ 506730 w 563022"/>
                <a:gd name="connsiteY18" fmla="*/ 276796 h 419100"/>
                <a:gd name="connsiteX19" fmla="*/ 486060 w 563022"/>
                <a:gd name="connsiteY19" fmla="*/ 286607 h 419100"/>
                <a:gd name="connsiteX20" fmla="*/ 481393 w 563022"/>
                <a:gd name="connsiteY20" fmla="*/ 272796 h 419100"/>
                <a:gd name="connsiteX21" fmla="*/ 473107 w 563022"/>
                <a:gd name="connsiteY21" fmla="*/ 279654 h 419100"/>
                <a:gd name="connsiteX22" fmla="*/ 455676 w 563022"/>
                <a:gd name="connsiteY22" fmla="*/ 264890 h 419100"/>
                <a:gd name="connsiteX23" fmla="*/ 425577 w 563022"/>
                <a:gd name="connsiteY23" fmla="*/ 276130 h 419100"/>
                <a:gd name="connsiteX24" fmla="*/ 448437 w 563022"/>
                <a:gd name="connsiteY24" fmla="*/ 300895 h 419100"/>
                <a:gd name="connsiteX25" fmla="*/ 451009 w 563022"/>
                <a:gd name="connsiteY25" fmla="*/ 323659 h 419100"/>
                <a:gd name="connsiteX26" fmla="*/ 462248 w 563022"/>
                <a:gd name="connsiteY26" fmla="*/ 316992 h 419100"/>
                <a:gd name="connsiteX27" fmla="*/ 471488 w 563022"/>
                <a:gd name="connsiteY27" fmla="*/ 328327 h 419100"/>
                <a:gd name="connsiteX28" fmla="*/ 482441 w 563022"/>
                <a:gd name="connsiteY28" fmla="*/ 324040 h 419100"/>
                <a:gd name="connsiteX29" fmla="*/ 489680 w 563022"/>
                <a:gd name="connsiteY29" fmla="*/ 330803 h 419100"/>
                <a:gd name="connsiteX30" fmla="*/ 482441 w 563022"/>
                <a:gd name="connsiteY30" fmla="*/ 340709 h 419100"/>
                <a:gd name="connsiteX31" fmla="*/ 502253 w 563022"/>
                <a:gd name="connsiteY31" fmla="*/ 349282 h 419100"/>
                <a:gd name="connsiteX32" fmla="*/ 502920 w 563022"/>
                <a:gd name="connsiteY32" fmla="*/ 385763 h 419100"/>
                <a:gd name="connsiteX33" fmla="*/ 491680 w 563022"/>
                <a:gd name="connsiteY33" fmla="*/ 385763 h 419100"/>
                <a:gd name="connsiteX34" fmla="*/ 474440 w 563022"/>
                <a:gd name="connsiteY34" fmla="*/ 419100 h 419100"/>
                <a:gd name="connsiteX35" fmla="*/ 423957 w 563022"/>
                <a:gd name="connsiteY35" fmla="*/ 406241 h 419100"/>
                <a:gd name="connsiteX36" fmla="*/ 408813 w 563022"/>
                <a:gd name="connsiteY36" fmla="*/ 390144 h 419100"/>
                <a:gd name="connsiteX37" fmla="*/ 368808 w 563022"/>
                <a:gd name="connsiteY37" fmla="*/ 381000 h 419100"/>
                <a:gd name="connsiteX38" fmla="*/ 353949 w 563022"/>
                <a:gd name="connsiteY38" fmla="*/ 368046 h 419100"/>
                <a:gd name="connsiteX39" fmla="*/ 368141 w 563022"/>
                <a:gd name="connsiteY39" fmla="*/ 362236 h 419100"/>
                <a:gd name="connsiteX40" fmla="*/ 332041 w 563022"/>
                <a:gd name="connsiteY40" fmla="*/ 343376 h 419100"/>
                <a:gd name="connsiteX41" fmla="*/ 331184 w 563022"/>
                <a:gd name="connsiteY41" fmla="*/ 328803 h 419100"/>
                <a:gd name="connsiteX42" fmla="*/ 317278 w 563022"/>
                <a:gd name="connsiteY42" fmla="*/ 339566 h 419100"/>
                <a:gd name="connsiteX43" fmla="*/ 293560 w 563022"/>
                <a:gd name="connsiteY43" fmla="*/ 335851 h 419100"/>
                <a:gd name="connsiteX44" fmla="*/ 264700 w 563022"/>
                <a:gd name="connsiteY44" fmla="*/ 347948 h 419100"/>
                <a:gd name="connsiteX45" fmla="*/ 238030 w 563022"/>
                <a:gd name="connsiteY45" fmla="*/ 336899 h 419100"/>
                <a:gd name="connsiteX46" fmla="*/ 253651 w 563022"/>
                <a:gd name="connsiteY46" fmla="*/ 305562 h 419100"/>
                <a:gd name="connsiteX47" fmla="*/ 289941 w 563022"/>
                <a:gd name="connsiteY47" fmla="*/ 327184 h 419100"/>
                <a:gd name="connsiteX48" fmla="*/ 282226 w 563022"/>
                <a:gd name="connsiteY48" fmla="*/ 307276 h 419100"/>
                <a:gd name="connsiteX49" fmla="*/ 327564 w 563022"/>
                <a:gd name="connsiteY49" fmla="*/ 303562 h 419100"/>
                <a:gd name="connsiteX50" fmla="*/ 308038 w 563022"/>
                <a:gd name="connsiteY50" fmla="*/ 281559 h 419100"/>
                <a:gd name="connsiteX51" fmla="*/ 332708 w 563022"/>
                <a:gd name="connsiteY51" fmla="*/ 264509 h 419100"/>
                <a:gd name="connsiteX52" fmla="*/ 371760 w 563022"/>
                <a:gd name="connsiteY52" fmla="*/ 289941 h 419100"/>
                <a:gd name="connsiteX53" fmla="*/ 384048 w 563022"/>
                <a:gd name="connsiteY53" fmla="*/ 275082 h 419100"/>
                <a:gd name="connsiteX54" fmla="*/ 412051 w 563022"/>
                <a:gd name="connsiteY54" fmla="*/ 267557 h 419100"/>
                <a:gd name="connsiteX55" fmla="*/ 376714 w 563022"/>
                <a:gd name="connsiteY55" fmla="*/ 252508 h 419100"/>
                <a:gd name="connsiteX56" fmla="*/ 368141 w 563022"/>
                <a:gd name="connsiteY56" fmla="*/ 265938 h 419100"/>
                <a:gd name="connsiteX57" fmla="*/ 340995 w 563022"/>
                <a:gd name="connsiteY57" fmla="*/ 258509 h 419100"/>
                <a:gd name="connsiteX58" fmla="*/ 352996 w 563022"/>
                <a:gd name="connsiteY58" fmla="*/ 244983 h 419100"/>
                <a:gd name="connsiteX59" fmla="*/ 337089 w 563022"/>
                <a:gd name="connsiteY59" fmla="*/ 213836 h 419100"/>
                <a:gd name="connsiteX60" fmla="*/ 320230 w 563022"/>
                <a:gd name="connsiteY60" fmla="*/ 210121 h 419100"/>
                <a:gd name="connsiteX61" fmla="*/ 321945 w 563022"/>
                <a:gd name="connsiteY61" fmla="*/ 199358 h 419100"/>
                <a:gd name="connsiteX62" fmla="*/ 306991 w 563022"/>
                <a:gd name="connsiteY62" fmla="*/ 196882 h 419100"/>
                <a:gd name="connsiteX63" fmla="*/ 301847 w 563022"/>
                <a:gd name="connsiteY63" fmla="*/ 183451 h 419100"/>
                <a:gd name="connsiteX64" fmla="*/ 294894 w 563022"/>
                <a:gd name="connsiteY64" fmla="*/ 192881 h 419100"/>
                <a:gd name="connsiteX65" fmla="*/ 264795 w 563022"/>
                <a:gd name="connsiteY65" fmla="*/ 198787 h 419100"/>
                <a:gd name="connsiteX66" fmla="*/ 265176 w 563022"/>
                <a:gd name="connsiteY66" fmla="*/ 188595 h 419100"/>
                <a:gd name="connsiteX67" fmla="*/ 285559 w 563022"/>
                <a:gd name="connsiteY67" fmla="*/ 181546 h 419100"/>
                <a:gd name="connsiteX68" fmla="*/ 261366 w 563022"/>
                <a:gd name="connsiteY68" fmla="*/ 168688 h 419100"/>
                <a:gd name="connsiteX69" fmla="*/ 255937 w 563022"/>
                <a:gd name="connsiteY69" fmla="*/ 156115 h 419100"/>
                <a:gd name="connsiteX70" fmla="*/ 248221 w 563022"/>
                <a:gd name="connsiteY70" fmla="*/ 165830 h 419100"/>
                <a:gd name="connsiteX71" fmla="*/ 244316 w 563022"/>
                <a:gd name="connsiteY71" fmla="*/ 149257 h 419100"/>
                <a:gd name="connsiteX72" fmla="*/ 213646 w 563022"/>
                <a:gd name="connsiteY72" fmla="*/ 125158 h 419100"/>
                <a:gd name="connsiteX73" fmla="*/ 222218 w 563022"/>
                <a:gd name="connsiteY73" fmla="*/ 160687 h 419100"/>
                <a:gd name="connsiteX74" fmla="*/ 170307 w 563022"/>
                <a:gd name="connsiteY74" fmla="*/ 131350 h 419100"/>
                <a:gd name="connsiteX75" fmla="*/ 172212 w 563022"/>
                <a:gd name="connsiteY75" fmla="*/ 157829 h 419100"/>
                <a:gd name="connsiteX76" fmla="*/ 82486 w 563022"/>
                <a:gd name="connsiteY76" fmla="*/ 149923 h 419100"/>
                <a:gd name="connsiteX77" fmla="*/ 76295 w 563022"/>
                <a:gd name="connsiteY77" fmla="*/ 129826 h 419100"/>
                <a:gd name="connsiteX78" fmla="*/ 64294 w 563022"/>
                <a:gd name="connsiteY78" fmla="*/ 144589 h 419100"/>
                <a:gd name="connsiteX79" fmla="*/ 34671 w 563022"/>
                <a:gd name="connsiteY79" fmla="*/ 143351 h 419100"/>
                <a:gd name="connsiteX80" fmla="*/ 0 w 563022"/>
                <a:gd name="connsiteY80" fmla="*/ 81820 h 419100"/>
                <a:gd name="connsiteX81" fmla="*/ 15907 w 563022"/>
                <a:gd name="connsiteY81" fmla="*/ 29051 h 419100"/>
                <a:gd name="connsiteX82" fmla="*/ 28289 w 563022"/>
                <a:gd name="connsiteY82" fmla="*/ 40672 h 419100"/>
                <a:gd name="connsiteX83" fmla="*/ 28480 w 563022"/>
                <a:gd name="connsiteY83" fmla="*/ 17717 h 419100"/>
                <a:gd name="connsiteX84" fmla="*/ 67627 w 563022"/>
                <a:gd name="connsiteY84" fmla="*/ 0 h 419100"/>
                <a:gd name="connsiteX85" fmla="*/ 102679 w 563022"/>
                <a:gd name="connsiteY85" fmla="*/ 8382 h 419100"/>
                <a:gd name="connsiteX86" fmla="*/ 66675 w 563022"/>
                <a:gd name="connsiteY86" fmla="*/ 42767 h 419100"/>
                <a:gd name="connsiteX87" fmla="*/ 71342 w 563022"/>
                <a:gd name="connsiteY87" fmla="*/ 76486 h 419100"/>
                <a:gd name="connsiteX88" fmla="*/ 63722 w 563022"/>
                <a:gd name="connsiteY88" fmla="*/ 117538 h 419100"/>
                <a:gd name="connsiteX89" fmla="*/ 82867 w 563022"/>
                <a:gd name="connsiteY89" fmla="*/ 98774 h 419100"/>
                <a:gd name="connsiteX90" fmla="*/ 104298 w 563022"/>
                <a:gd name="connsiteY90" fmla="*/ 117538 h 419100"/>
                <a:gd name="connsiteX91" fmla="*/ 82105 w 563022"/>
                <a:gd name="connsiteY91" fmla="*/ 60769 h 419100"/>
                <a:gd name="connsiteX92" fmla="*/ 85820 w 563022"/>
                <a:gd name="connsiteY92" fmla="*/ 41434 h 419100"/>
                <a:gd name="connsiteX93" fmla="*/ 109538 w 563022"/>
                <a:gd name="connsiteY93" fmla="*/ 42577 h 419100"/>
                <a:gd name="connsiteX94" fmla="*/ 96774 w 563022"/>
                <a:gd name="connsiteY94" fmla="*/ 25527 h 419100"/>
                <a:gd name="connsiteX95" fmla="*/ 115919 w 563022"/>
                <a:gd name="connsiteY95" fmla="*/ 18955 h 419100"/>
                <a:gd name="connsiteX96" fmla="*/ 125444 w 563022"/>
                <a:gd name="connsiteY96" fmla="*/ 31718 h 419100"/>
                <a:gd name="connsiteX97" fmla="*/ 124682 w 563022"/>
                <a:gd name="connsiteY97" fmla="*/ 15811 h 419100"/>
                <a:gd name="connsiteX98" fmla="*/ 169735 w 563022"/>
                <a:gd name="connsiteY98" fmla="*/ 10382 h 419100"/>
                <a:gd name="connsiteX99" fmla="*/ 193453 w 563022"/>
                <a:gd name="connsiteY99" fmla="*/ 48006 h 419100"/>
                <a:gd name="connsiteX100" fmla="*/ 187737 w 563022"/>
                <a:gd name="connsiteY100" fmla="*/ 82486 h 419100"/>
                <a:gd name="connsiteX101" fmla="*/ 214407 w 563022"/>
                <a:gd name="connsiteY101" fmla="*/ 65437 h 419100"/>
                <a:gd name="connsiteX102" fmla="*/ 218313 w 563022"/>
                <a:gd name="connsiteY102" fmla="*/ 89440 h 419100"/>
                <a:gd name="connsiteX103" fmla="*/ 227933 w 563022"/>
                <a:gd name="connsiteY103" fmla="*/ 74009 h 419100"/>
                <a:gd name="connsiteX104" fmla="*/ 244030 w 563022"/>
                <a:gd name="connsiteY104" fmla="*/ 84392 h 419100"/>
                <a:gd name="connsiteX105" fmla="*/ 259270 w 563022"/>
                <a:gd name="connsiteY105" fmla="*/ 54578 h 419100"/>
                <a:gd name="connsiteX106" fmla="*/ 298513 w 563022"/>
                <a:gd name="connsiteY106" fmla="*/ 66580 h 419100"/>
                <a:gd name="connsiteX107" fmla="*/ 295846 w 563022"/>
                <a:gd name="connsiteY107" fmla="*/ 109538 h 419100"/>
                <a:gd name="connsiteX108" fmla="*/ 312039 w 563022"/>
                <a:gd name="connsiteY108" fmla="*/ 87725 h 419100"/>
                <a:gd name="connsiteX109" fmla="*/ 329565 w 563022"/>
                <a:gd name="connsiteY109" fmla="*/ 117538 h 419100"/>
                <a:gd name="connsiteX110" fmla="*/ 345662 w 563022"/>
                <a:gd name="connsiteY110" fmla="*/ 91059 h 419100"/>
                <a:gd name="connsiteX111" fmla="*/ 358616 w 563022"/>
                <a:gd name="connsiteY111" fmla="*/ 94393 h 419100"/>
                <a:gd name="connsiteX112" fmla="*/ 344710 w 563022"/>
                <a:gd name="connsiteY112" fmla="*/ 131445 h 419100"/>
                <a:gd name="connsiteX113" fmla="*/ 366141 w 563022"/>
                <a:gd name="connsiteY113" fmla="*/ 156305 h 419100"/>
                <a:gd name="connsiteX114" fmla="*/ 376714 w 563022"/>
                <a:gd name="connsiteY114" fmla="*/ 131445 h 419100"/>
                <a:gd name="connsiteX115" fmla="*/ 399193 w 563022"/>
                <a:gd name="connsiteY115" fmla="*/ 121444 h 419100"/>
                <a:gd name="connsiteX116" fmla="*/ 416337 w 563022"/>
                <a:gd name="connsiteY116" fmla="*/ 156877 h 419100"/>
                <a:gd name="connsiteX117" fmla="*/ 396049 w 563022"/>
                <a:gd name="connsiteY117" fmla="*/ 175736 h 419100"/>
                <a:gd name="connsiteX118" fmla="*/ 441770 w 563022"/>
                <a:gd name="connsiteY118" fmla="*/ 172307 h 419100"/>
                <a:gd name="connsiteX119" fmla="*/ 461676 w 563022"/>
                <a:gd name="connsiteY119" fmla="*/ 190881 h 419100"/>
                <a:gd name="connsiteX120" fmla="*/ 420243 w 563022"/>
                <a:gd name="connsiteY120" fmla="*/ 191834 h 419100"/>
                <a:gd name="connsiteX121" fmla="*/ 452247 w 563022"/>
                <a:gd name="connsiteY121" fmla="*/ 20821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63022" h="419100">
                  <a:moveTo>
                    <a:pt x="452247" y="208217"/>
                  </a:moveTo>
                  <a:lnTo>
                    <a:pt x="444055" y="216027"/>
                  </a:lnTo>
                  <a:lnTo>
                    <a:pt x="464915" y="216217"/>
                  </a:lnTo>
                  <a:lnTo>
                    <a:pt x="468249" y="228886"/>
                  </a:lnTo>
                  <a:lnTo>
                    <a:pt x="479774" y="222409"/>
                  </a:lnTo>
                  <a:lnTo>
                    <a:pt x="482727" y="236792"/>
                  </a:lnTo>
                  <a:lnTo>
                    <a:pt x="487394" y="224028"/>
                  </a:lnTo>
                  <a:lnTo>
                    <a:pt x="501205" y="221932"/>
                  </a:lnTo>
                  <a:lnTo>
                    <a:pt x="514921" y="239649"/>
                  </a:lnTo>
                  <a:lnTo>
                    <a:pt x="501872" y="253555"/>
                  </a:lnTo>
                  <a:lnTo>
                    <a:pt x="527875" y="244411"/>
                  </a:lnTo>
                  <a:lnTo>
                    <a:pt x="525685" y="259175"/>
                  </a:lnTo>
                  <a:lnTo>
                    <a:pt x="535400" y="252317"/>
                  </a:lnTo>
                  <a:lnTo>
                    <a:pt x="563023" y="272129"/>
                  </a:lnTo>
                  <a:lnTo>
                    <a:pt x="554355" y="274987"/>
                  </a:lnTo>
                  <a:lnTo>
                    <a:pt x="556070" y="285274"/>
                  </a:lnTo>
                  <a:lnTo>
                    <a:pt x="533876" y="282130"/>
                  </a:lnTo>
                  <a:lnTo>
                    <a:pt x="523970" y="316230"/>
                  </a:lnTo>
                  <a:lnTo>
                    <a:pt x="506730" y="276796"/>
                  </a:lnTo>
                  <a:lnTo>
                    <a:pt x="486060" y="286607"/>
                  </a:lnTo>
                  <a:lnTo>
                    <a:pt x="481393" y="272796"/>
                  </a:lnTo>
                  <a:lnTo>
                    <a:pt x="473107" y="279654"/>
                  </a:lnTo>
                  <a:lnTo>
                    <a:pt x="455676" y="264890"/>
                  </a:lnTo>
                  <a:lnTo>
                    <a:pt x="425577" y="276130"/>
                  </a:lnTo>
                  <a:lnTo>
                    <a:pt x="448437" y="300895"/>
                  </a:lnTo>
                  <a:lnTo>
                    <a:pt x="451009" y="323659"/>
                  </a:lnTo>
                  <a:lnTo>
                    <a:pt x="462248" y="316992"/>
                  </a:lnTo>
                  <a:lnTo>
                    <a:pt x="471488" y="328327"/>
                  </a:lnTo>
                  <a:lnTo>
                    <a:pt x="482441" y="324040"/>
                  </a:lnTo>
                  <a:lnTo>
                    <a:pt x="489680" y="330803"/>
                  </a:lnTo>
                  <a:lnTo>
                    <a:pt x="482441" y="340709"/>
                  </a:lnTo>
                  <a:lnTo>
                    <a:pt x="502253" y="349282"/>
                  </a:lnTo>
                  <a:lnTo>
                    <a:pt x="502920" y="385763"/>
                  </a:lnTo>
                  <a:lnTo>
                    <a:pt x="491680" y="385763"/>
                  </a:lnTo>
                  <a:lnTo>
                    <a:pt x="474440" y="419100"/>
                  </a:lnTo>
                  <a:lnTo>
                    <a:pt x="423957" y="406241"/>
                  </a:lnTo>
                  <a:lnTo>
                    <a:pt x="408813" y="390144"/>
                  </a:lnTo>
                  <a:lnTo>
                    <a:pt x="368808" y="381000"/>
                  </a:lnTo>
                  <a:lnTo>
                    <a:pt x="353949" y="368046"/>
                  </a:lnTo>
                  <a:lnTo>
                    <a:pt x="368141" y="362236"/>
                  </a:lnTo>
                  <a:lnTo>
                    <a:pt x="332041" y="343376"/>
                  </a:lnTo>
                  <a:lnTo>
                    <a:pt x="331184" y="328803"/>
                  </a:lnTo>
                  <a:lnTo>
                    <a:pt x="317278" y="339566"/>
                  </a:lnTo>
                  <a:lnTo>
                    <a:pt x="293560" y="335851"/>
                  </a:lnTo>
                  <a:lnTo>
                    <a:pt x="264700" y="347948"/>
                  </a:lnTo>
                  <a:lnTo>
                    <a:pt x="238030" y="336899"/>
                  </a:lnTo>
                  <a:lnTo>
                    <a:pt x="253651" y="305562"/>
                  </a:lnTo>
                  <a:lnTo>
                    <a:pt x="289941" y="327184"/>
                  </a:lnTo>
                  <a:lnTo>
                    <a:pt x="282226" y="307276"/>
                  </a:lnTo>
                  <a:lnTo>
                    <a:pt x="327564" y="303562"/>
                  </a:lnTo>
                  <a:lnTo>
                    <a:pt x="308038" y="281559"/>
                  </a:lnTo>
                  <a:lnTo>
                    <a:pt x="332708" y="264509"/>
                  </a:lnTo>
                  <a:lnTo>
                    <a:pt x="371760" y="289941"/>
                  </a:lnTo>
                  <a:lnTo>
                    <a:pt x="384048" y="275082"/>
                  </a:lnTo>
                  <a:lnTo>
                    <a:pt x="412051" y="267557"/>
                  </a:lnTo>
                  <a:lnTo>
                    <a:pt x="376714" y="252508"/>
                  </a:lnTo>
                  <a:lnTo>
                    <a:pt x="368141" y="265938"/>
                  </a:lnTo>
                  <a:lnTo>
                    <a:pt x="340995" y="258509"/>
                  </a:lnTo>
                  <a:lnTo>
                    <a:pt x="352996" y="244983"/>
                  </a:lnTo>
                  <a:lnTo>
                    <a:pt x="337089" y="213836"/>
                  </a:lnTo>
                  <a:lnTo>
                    <a:pt x="320230" y="210121"/>
                  </a:lnTo>
                  <a:lnTo>
                    <a:pt x="321945" y="199358"/>
                  </a:lnTo>
                  <a:lnTo>
                    <a:pt x="306991" y="196882"/>
                  </a:lnTo>
                  <a:lnTo>
                    <a:pt x="301847" y="183451"/>
                  </a:lnTo>
                  <a:lnTo>
                    <a:pt x="294894" y="192881"/>
                  </a:lnTo>
                  <a:lnTo>
                    <a:pt x="264795" y="198787"/>
                  </a:lnTo>
                  <a:lnTo>
                    <a:pt x="265176" y="188595"/>
                  </a:lnTo>
                  <a:lnTo>
                    <a:pt x="285559" y="181546"/>
                  </a:lnTo>
                  <a:lnTo>
                    <a:pt x="261366" y="168688"/>
                  </a:lnTo>
                  <a:lnTo>
                    <a:pt x="255937" y="156115"/>
                  </a:lnTo>
                  <a:lnTo>
                    <a:pt x="248221" y="165830"/>
                  </a:lnTo>
                  <a:lnTo>
                    <a:pt x="244316" y="149257"/>
                  </a:lnTo>
                  <a:lnTo>
                    <a:pt x="213646" y="125158"/>
                  </a:lnTo>
                  <a:lnTo>
                    <a:pt x="222218" y="160687"/>
                  </a:lnTo>
                  <a:lnTo>
                    <a:pt x="170307" y="131350"/>
                  </a:lnTo>
                  <a:lnTo>
                    <a:pt x="172212" y="157829"/>
                  </a:lnTo>
                  <a:lnTo>
                    <a:pt x="82486" y="149923"/>
                  </a:lnTo>
                  <a:lnTo>
                    <a:pt x="76295" y="129826"/>
                  </a:lnTo>
                  <a:lnTo>
                    <a:pt x="64294" y="144589"/>
                  </a:lnTo>
                  <a:lnTo>
                    <a:pt x="34671" y="143351"/>
                  </a:lnTo>
                  <a:lnTo>
                    <a:pt x="0" y="81820"/>
                  </a:lnTo>
                  <a:lnTo>
                    <a:pt x="15907" y="29051"/>
                  </a:lnTo>
                  <a:lnTo>
                    <a:pt x="28289" y="40672"/>
                  </a:lnTo>
                  <a:lnTo>
                    <a:pt x="28480" y="17717"/>
                  </a:lnTo>
                  <a:lnTo>
                    <a:pt x="67627" y="0"/>
                  </a:lnTo>
                  <a:lnTo>
                    <a:pt x="102679" y="8382"/>
                  </a:lnTo>
                  <a:lnTo>
                    <a:pt x="66675" y="42767"/>
                  </a:lnTo>
                  <a:lnTo>
                    <a:pt x="71342" y="76486"/>
                  </a:lnTo>
                  <a:lnTo>
                    <a:pt x="63722" y="117538"/>
                  </a:lnTo>
                  <a:lnTo>
                    <a:pt x="82867" y="98774"/>
                  </a:lnTo>
                  <a:lnTo>
                    <a:pt x="104298" y="117538"/>
                  </a:lnTo>
                  <a:lnTo>
                    <a:pt x="82105" y="60769"/>
                  </a:lnTo>
                  <a:lnTo>
                    <a:pt x="85820" y="41434"/>
                  </a:lnTo>
                  <a:lnTo>
                    <a:pt x="109538" y="42577"/>
                  </a:lnTo>
                  <a:lnTo>
                    <a:pt x="96774" y="25527"/>
                  </a:lnTo>
                  <a:lnTo>
                    <a:pt x="115919" y="18955"/>
                  </a:lnTo>
                  <a:lnTo>
                    <a:pt x="125444" y="31718"/>
                  </a:lnTo>
                  <a:lnTo>
                    <a:pt x="124682" y="15811"/>
                  </a:lnTo>
                  <a:lnTo>
                    <a:pt x="169735" y="10382"/>
                  </a:lnTo>
                  <a:lnTo>
                    <a:pt x="193453" y="48006"/>
                  </a:lnTo>
                  <a:lnTo>
                    <a:pt x="187737" y="82486"/>
                  </a:lnTo>
                  <a:lnTo>
                    <a:pt x="214407" y="65437"/>
                  </a:lnTo>
                  <a:lnTo>
                    <a:pt x="218313" y="89440"/>
                  </a:lnTo>
                  <a:lnTo>
                    <a:pt x="227933" y="74009"/>
                  </a:lnTo>
                  <a:lnTo>
                    <a:pt x="244030" y="84392"/>
                  </a:lnTo>
                  <a:lnTo>
                    <a:pt x="259270" y="54578"/>
                  </a:lnTo>
                  <a:lnTo>
                    <a:pt x="298513" y="66580"/>
                  </a:lnTo>
                  <a:lnTo>
                    <a:pt x="295846" y="109538"/>
                  </a:lnTo>
                  <a:lnTo>
                    <a:pt x="312039" y="87725"/>
                  </a:lnTo>
                  <a:lnTo>
                    <a:pt x="329565" y="117538"/>
                  </a:lnTo>
                  <a:lnTo>
                    <a:pt x="345662" y="91059"/>
                  </a:lnTo>
                  <a:lnTo>
                    <a:pt x="358616" y="94393"/>
                  </a:lnTo>
                  <a:lnTo>
                    <a:pt x="344710" y="131445"/>
                  </a:lnTo>
                  <a:lnTo>
                    <a:pt x="366141" y="156305"/>
                  </a:lnTo>
                  <a:lnTo>
                    <a:pt x="376714" y="131445"/>
                  </a:lnTo>
                  <a:lnTo>
                    <a:pt x="399193" y="121444"/>
                  </a:lnTo>
                  <a:lnTo>
                    <a:pt x="416337" y="156877"/>
                  </a:lnTo>
                  <a:lnTo>
                    <a:pt x="396049" y="175736"/>
                  </a:lnTo>
                  <a:lnTo>
                    <a:pt x="441770" y="172307"/>
                  </a:lnTo>
                  <a:lnTo>
                    <a:pt x="461676" y="190881"/>
                  </a:lnTo>
                  <a:lnTo>
                    <a:pt x="420243" y="191834"/>
                  </a:lnTo>
                  <a:lnTo>
                    <a:pt x="452247" y="208217"/>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59" name="Freeform: Shape 2949">
              <a:extLst>
                <a:ext uri="{FF2B5EF4-FFF2-40B4-BE49-F238E27FC236}">
                  <a16:creationId xmlns:a16="http://schemas.microsoft.com/office/drawing/2014/main" id="{B434FB0D-F6EE-2051-707C-15D581A0F083}"/>
                </a:ext>
              </a:extLst>
            </p:cNvPr>
            <p:cNvSpPr/>
            <p:nvPr/>
          </p:nvSpPr>
          <p:spPr>
            <a:xfrm>
              <a:off x="7198423" y="3061081"/>
              <a:ext cx="11525" cy="11239"/>
            </a:xfrm>
            <a:custGeom>
              <a:avLst/>
              <a:gdLst>
                <a:gd name="connsiteX0" fmla="*/ 4953 w 11525"/>
                <a:gd name="connsiteY0" fmla="*/ 0 h 11239"/>
                <a:gd name="connsiteX1" fmla="*/ 4953 w 11525"/>
                <a:gd name="connsiteY1" fmla="*/ 0 h 11239"/>
                <a:gd name="connsiteX2" fmla="*/ 11525 w 11525"/>
                <a:gd name="connsiteY2" fmla="*/ 11239 h 11239"/>
                <a:gd name="connsiteX3" fmla="*/ 5620 w 11525"/>
                <a:gd name="connsiteY3" fmla="*/ 10763 h 11239"/>
                <a:gd name="connsiteX4" fmla="*/ 0 w 11525"/>
                <a:gd name="connsiteY4" fmla="*/ 571 h 11239"/>
                <a:gd name="connsiteX5" fmla="*/ 4953 w 11525"/>
                <a:gd name="connsiteY5" fmla="*/ 0 h 1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5" h="11239">
                  <a:moveTo>
                    <a:pt x="4953" y="0"/>
                  </a:moveTo>
                  <a:lnTo>
                    <a:pt x="4953" y="0"/>
                  </a:lnTo>
                  <a:lnTo>
                    <a:pt x="11525" y="11239"/>
                  </a:lnTo>
                  <a:lnTo>
                    <a:pt x="5620" y="10763"/>
                  </a:lnTo>
                  <a:lnTo>
                    <a:pt x="0" y="571"/>
                  </a:lnTo>
                  <a:lnTo>
                    <a:pt x="4953"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0" name="Freeform: Shape 2950">
              <a:extLst>
                <a:ext uri="{FF2B5EF4-FFF2-40B4-BE49-F238E27FC236}">
                  <a16:creationId xmlns:a16="http://schemas.microsoft.com/office/drawing/2014/main" id="{D31C21F9-A973-B7D7-624F-B3FA26258517}"/>
                </a:ext>
              </a:extLst>
            </p:cNvPr>
            <p:cNvSpPr/>
            <p:nvPr/>
          </p:nvSpPr>
          <p:spPr>
            <a:xfrm>
              <a:off x="7158418" y="3063747"/>
              <a:ext cx="123158" cy="90296"/>
            </a:xfrm>
            <a:custGeom>
              <a:avLst/>
              <a:gdLst>
                <a:gd name="connsiteX0" fmla="*/ 82582 w 123158"/>
                <a:gd name="connsiteY0" fmla="*/ 32290 h 90296"/>
                <a:gd name="connsiteX1" fmla="*/ 82582 w 123158"/>
                <a:gd name="connsiteY1" fmla="*/ 32290 h 90296"/>
                <a:gd name="connsiteX2" fmla="*/ 107347 w 123158"/>
                <a:gd name="connsiteY2" fmla="*/ 45720 h 90296"/>
                <a:gd name="connsiteX3" fmla="*/ 123158 w 123158"/>
                <a:gd name="connsiteY3" fmla="*/ 79534 h 90296"/>
                <a:gd name="connsiteX4" fmla="*/ 120587 w 123158"/>
                <a:gd name="connsiteY4" fmla="*/ 79534 h 90296"/>
                <a:gd name="connsiteX5" fmla="*/ 93440 w 123158"/>
                <a:gd name="connsiteY5" fmla="*/ 72009 h 90296"/>
                <a:gd name="connsiteX6" fmla="*/ 80868 w 123158"/>
                <a:gd name="connsiteY6" fmla="*/ 62865 h 90296"/>
                <a:gd name="connsiteX7" fmla="*/ 82582 w 123158"/>
                <a:gd name="connsiteY7" fmla="*/ 55912 h 90296"/>
                <a:gd name="connsiteX8" fmla="*/ 70295 w 123158"/>
                <a:gd name="connsiteY8" fmla="*/ 69342 h 90296"/>
                <a:gd name="connsiteX9" fmla="*/ 57436 w 123158"/>
                <a:gd name="connsiteY9" fmla="*/ 73628 h 90296"/>
                <a:gd name="connsiteX10" fmla="*/ 38671 w 123158"/>
                <a:gd name="connsiteY10" fmla="*/ 90297 h 90296"/>
                <a:gd name="connsiteX11" fmla="*/ 29052 w 123158"/>
                <a:gd name="connsiteY11" fmla="*/ 69342 h 90296"/>
                <a:gd name="connsiteX12" fmla="*/ 0 w 123158"/>
                <a:gd name="connsiteY12" fmla="*/ 75247 h 90296"/>
                <a:gd name="connsiteX13" fmla="*/ 19812 w 123158"/>
                <a:gd name="connsiteY13" fmla="*/ 58579 h 90296"/>
                <a:gd name="connsiteX14" fmla="*/ 15240 w 123158"/>
                <a:gd name="connsiteY14" fmla="*/ 42482 h 90296"/>
                <a:gd name="connsiteX15" fmla="*/ 23146 w 123158"/>
                <a:gd name="connsiteY15" fmla="*/ 6477 h 90296"/>
                <a:gd name="connsiteX16" fmla="*/ 31052 w 123158"/>
                <a:gd name="connsiteY16" fmla="*/ 0 h 90296"/>
                <a:gd name="connsiteX17" fmla="*/ 44958 w 123158"/>
                <a:gd name="connsiteY17" fmla="*/ 22574 h 90296"/>
                <a:gd name="connsiteX18" fmla="*/ 51531 w 123158"/>
                <a:gd name="connsiteY18" fmla="*/ 14002 h 90296"/>
                <a:gd name="connsiteX19" fmla="*/ 74962 w 123158"/>
                <a:gd name="connsiteY19" fmla="*/ 25241 h 90296"/>
                <a:gd name="connsiteX20" fmla="*/ 82582 w 123158"/>
                <a:gd name="connsiteY20" fmla="*/ 32290 h 9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8" h="90296">
                  <a:moveTo>
                    <a:pt x="82582" y="32290"/>
                  </a:moveTo>
                  <a:lnTo>
                    <a:pt x="82582" y="32290"/>
                  </a:lnTo>
                  <a:lnTo>
                    <a:pt x="107347" y="45720"/>
                  </a:lnTo>
                  <a:lnTo>
                    <a:pt x="123158" y="79534"/>
                  </a:lnTo>
                  <a:lnTo>
                    <a:pt x="120587" y="79534"/>
                  </a:lnTo>
                  <a:lnTo>
                    <a:pt x="93440" y="72009"/>
                  </a:lnTo>
                  <a:lnTo>
                    <a:pt x="80868" y="62865"/>
                  </a:lnTo>
                  <a:lnTo>
                    <a:pt x="82582" y="55912"/>
                  </a:lnTo>
                  <a:lnTo>
                    <a:pt x="70295" y="69342"/>
                  </a:lnTo>
                  <a:lnTo>
                    <a:pt x="57436" y="73628"/>
                  </a:lnTo>
                  <a:lnTo>
                    <a:pt x="38671" y="90297"/>
                  </a:lnTo>
                  <a:lnTo>
                    <a:pt x="29052" y="69342"/>
                  </a:lnTo>
                  <a:lnTo>
                    <a:pt x="0" y="75247"/>
                  </a:lnTo>
                  <a:lnTo>
                    <a:pt x="19812" y="58579"/>
                  </a:lnTo>
                  <a:lnTo>
                    <a:pt x="15240" y="42482"/>
                  </a:lnTo>
                  <a:lnTo>
                    <a:pt x="23146" y="6477"/>
                  </a:lnTo>
                  <a:lnTo>
                    <a:pt x="31052" y="0"/>
                  </a:lnTo>
                  <a:lnTo>
                    <a:pt x="44958" y="22574"/>
                  </a:lnTo>
                  <a:lnTo>
                    <a:pt x="51531" y="14002"/>
                  </a:lnTo>
                  <a:lnTo>
                    <a:pt x="74962" y="25241"/>
                  </a:lnTo>
                  <a:lnTo>
                    <a:pt x="82582" y="3229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1" name="Freeform: Shape 2951">
              <a:extLst>
                <a:ext uri="{FF2B5EF4-FFF2-40B4-BE49-F238E27FC236}">
                  <a16:creationId xmlns:a16="http://schemas.microsoft.com/office/drawing/2014/main" id="{0D353310-B97B-2A4A-A78F-5EA36BAD3E00}"/>
                </a:ext>
              </a:extLst>
            </p:cNvPr>
            <p:cNvSpPr/>
            <p:nvPr/>
          </p:nvSpPr>
          <p:spPr>
            <a:xfrm>
              <a:off x="7351585" y="3135756"/>
              <a:ext cx="17144" cy="9715"/>
            </a:xfrm>
            <a:custGeom>
              <a:avLst/>
              <a:gdLst>
                <a:gd name="connsiteX0" fmla="*/ 17145 w 17144"/>
                <a:gd name="connsiteY0" fmla="*/ 7525 h 9715"/>
                <a:gd name="connsiteX1" fmla="*/ 17145 w 17144"/>
                <a:gd name="connsiteY1" fmla="*/ 7525 h 9715"/>
                <a:gd name="connsiteX2" fmla="*/ 11525 w 17144"/>
                <a:gd name="connsiteY2" fmla="*/ 9716 h 9715"/>
                <a:gd name="connsiteX3" fmla="*/ 4000 w 17144"/>
                <a:gd name="connsiteY3" fmla="*/ 5429 h 9715"/>
                <a:gd name="connsiteX4" fmla="*/ 0 w 17144"/>
                <a:gd name="connsiteY4" fmla="*/ 2667 h 9715"/>
                <a:gd name="connsiteX5" fmla="*/ 4953 w 17144"/>
                <a:gd name="connsiteY5" fmla="*/ 0 h 9715"/>
                <a:gd name="connsiteX6" fmla="*/ 14192 w 17144"/>
                <a:gd name="connsiteY6" fmla="*/ 3715 h 9715"/>
                <a:gd name="connsiteX7" fmla="*/ 17145 w 17144"/>
                <a:gd name="connsiteY7" fmla="*/ 7525 h 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44" h="9715">
                  <a:moveTo>
                    <a:pt x="17145" y="7525"/>
                  </a:moveTo>
                  <a:lnTo>
                    <a:pt x="17145" y="7525"/>
                  </a:lnTo>
                  <a:lnTo>
                    <a:pt x="11525" y="9716"/>
                  </a:lnTo>
                  <a:lnTo>
                    <a:pt x="4000" y="5429"/>
                  </a:lnTo>
                  <a:lnTo>
                    <a:pt x="0" y="2667"/>
                  </a:lnTo>
                  <a:lnTo>
                    <a:pt x="4953" y="0"/>
                  </a:lnTo>
                  <a:lnTo>
                    <a:pt x="14192" y="3715"/>
                  </a:lnTo>
                  <a:lnTo>
                    <a:pt x="17145" y="752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2" name="Freeform: Shape 2952">
              <a:extLst>
                <a:ext uri="{FF2B5EF4-FFF2-40B4-BE49-F238E27FC236}">
                  <a16:creationId xmlns:a16="http://schemas.microsoft.com/office/drawing/2014/main" id="{E47EE123-3F5B-3BCA-D964-A14B4E5AA5E9}"/>
                </a:ext>
              </a:extLst>
            </p:cNvPr>
            <p:cNvSpPr/>
            <p:nvPr/>
          </p:nvSpPr>
          <p:spPr>
            <a:xfrm>
              <a:off x="7329106" y="3141662"/>
              <a:ext cx="21145" cy="12953"/>
            </a:xfrm>
            <a:custGeom>
              <a:avLst/>
              <a:gdLst>
                <a:gd name="connsiteX0" fmla="*/ 21145 w 21145"/>
                <a:gd name="connsiteY0" fmla="*/ 8096 h 12953"/>
                <a:gd name="connsiteX1" fmla="*/ 21145 w 21145"/>
                <a:gd name="connsiteY1" fmla="*/ 8096 h 12953"/>
                <a:gd name="connsiteX2" fmla="*/ 13239 w 21145"/>
                <a:gd name="connsiteY2" fmla="*/ 12954 h 12953"/>
                <a:gd name="connsiteX3" fmla="*/ 10573 w 21145"/>
                <a:gd name="connsiteY3" fmla="*/ 12382 h 12953"/>
                <a:gd name="connsiteX4" fmla="*/ 0 w 21145"/>
                <a:gd name="connsiteY4" fmla="*/ 3238 h 12953"/>
                <a:gd name="connsiteX5" fmla="*/ 6953 w 21145"/>
                <a:gd name="connsiteY5" fmla="*/ 0 h 12953"/>
                <a:gd name="connsiteX6" fmla="*/ 18479 w 21145"/>
                <a:gd name="connsiteY6" fmla="*/ 3810 h 12953"/>
                <a:gd name="connsiteX7" fmla="*/ 21145 w 21145"/>
                <a:gd name="connsiteY7" fmla="*/ 8096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45" h="12953">
                  <a:moveTo>
                    <a:pt x="21145" y="8096"/>
                  </a:moveTo>
                  <a:lnTo>
                    <a:pt x="21145" y="8096"/>
                  </a:lnTo>
                  <a:lnTo>
                    <a:pt x="13239" y="12954"/>
                  </a:lnTo>
                  <a:lnTo>
                    <a:pt x="10573" y="12382"/>
                  </a:lnTo>
                  <a:lnTo>
                    <a:pt x="0" y="3238"/>
                  </a:lnTo>
                  <a:lnTo>
                    <a:pt x="6953" y="0"/>
                  </a:lnTo>
                  <a:lnTo>
                    <a:pt x="18479" y="3810"/>
                  </a:lnTo>
                  <a:lnTo>
                    <a:pt x="21145" y="8096"/>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3" name="Freeform: Shape 2953">
              <a:extLst>
                <a:ext uri="{FF2B5EF4-FFF2-40B4-BE49-F238E27FC236}">
                  <a16:creationId xmlns:a16="http://schemas.microsoft.com/office/drawing/2014/main" id="{17A9F4E1-5DFC-6F35-593F-37D7E9BC803C}"/>
                </a:ext>
              </a:extLst>
            </p:cNvPr>
            <p:cNvSpPr/>
            <p:nvPr/>
          </p:nvSpPr>
          <p:spPr>
            <a:xfrm>
              <a:off x="6297263" y="3415792"/>
              <a:ext cx="5333" cy="6476"/>
            </a:xfrm>
            <a:custGeom>
              <a:avLst/>
              <a:gdLst>
                <a:gd name="connsiteX0" fmla="*/ 5334 w 5333"/>
                <a:gd name="connsiteY0" fmla="*/ 0 h 6476"/>
                <a:gd name="connsiteX1" fmla="*/ 5334 w 5333"/>
                <a:gd name="connsiteY1" fmla="*/ 0 h 6476"/>
                <a:gd name="connsiteX2" fmla="*/ 4953 w 5333"/>
                <a:gd name="connsiteY2" fmla="*/ 6477 h 6476"/>
                <a:gd name="connsiteX3" fmla="*/ 0 w 5333"/>
                <a:gd name="connsiteY3" fmla="*/ 3238 h 6476"/>
                <a:gd name="connsiteX4" fmla="*/ 5334 w 5333"/>
                <a:gd name="connsiteY4" fmla="*/ 0 h 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 h="6476">
                  <a:moveTo>
                    <a:pt x="5334" y="0"/>
                  </a:moveTo>
                  <a:lnTo>
                    <a:pt x="5334" y="0"/>
                  </a:lnTo>
                  <a:lnTo>
                    <a:pt x="4953" y="6477"/>
                  </a:lnTo>
                  <a:lnTo>
                    <a:pt x="0" y="3238"/>
                  </a:lnTo>
                  <a:lnTo>
                    <a:pt x="5334"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4" name="Freeform: Shape 2954">
              <a:extLst>
                <a:ext uri="{FF2B5EF4-FFF2-40B4-BE49-F238E27FC236}">
                  <a16:creationId xmlns:a16="http://schemas.microsoft.com/office/drawing/2014/main" id="{C6A99331-7C34-F4D5-7667-C8E435316B20}"/>
                </a:ext>
              </a:extLst>
            </p:cNvPr>
            <p:cNvSpPr/>
            <p:nvPr/>
          </p:nvSpPr>
          <p:spPr>
            <a:xfrm>
              <a:off x="6302692" y="3425317"/>
              <a:ext cx="8191" cy="8858"/>
            </a:xfrm>
            <a:custGeom>
              <a:avLst/>
              <a:gdLst>
                <a:gd name="connsiteX0" fmla="*/ 0 w 8191"/>
                <a:gd name="connsiteY0" fmla="*/ 571 h 8858"/>
                <a:gd name="connsiteX1" fmla="*/ 2191 w 8191"/>
                <a:gd name="connsiteY1" fmla="*/ 0 h 8858"/>
                <a:gd name="connsiteX2" fmla="*/ 8191 w 8191"/>
                <a:gd name="connsiteY2" fmla="*/ 7048 h 8858"/>
                <a:gd name="connsiteX3" fmla="*/ 1238 w 8191"/>
                <a:gd name="connsiteY3" fmla="*/ 8858 h 8858"/>
                <a:gd name="connsiteX4" fmla="*/ 0 w 8191"/>
                <a:gd name="connsiteY4" fmla="*/ 571 h 8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 h="8858">
                  <a:moveTo>
                    <a:pt x="0" y="571"/>
                  </a:moveTo>
                  <a:lnTo>
                    <a:pt x="2191" y="0"/>
                  </a:lnTo>
                  <a:lnTo>
                    <a:pt x="8191" y="7048"/>
                  </a:lnTo>
                  <a:lnTo>
                    <a:pt x="1238" y="8858"/>
                  </a:lnTo>
                  <a:lnTo>
                    <a:pt x="0" y="571"/>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5" name="Freeform: Shape 2955">
              <a:extLst>
                <a:ext uri="{FF2B5EF4-FFF2-40B4-BE49-F238E27FC236}">
                  <a16:creationId xmlns:a16="http://schemas.microsoft.com/office/drawing/2014/main" id="{6CF29742-2898-CDD6-69E1-C7F1AFF29BA5}"/>
                </a:ext>
              </a:extLst>
            </p:cNvPr>
            <p:cNvSpPr/>
            <p:nvPr/>
          </p:nvSpPr>
          <p:spPr>
            <a:xfrm>
              <a:off x="6314884" y="3433698"/>
              <a:ext cx="8572" cy="14478"/>
            </a:xfrm>
            <a:custGeom>
              <a:avLst/>
              <a:gdLst>
                <a:gd name="connsiteX0" fmla="*/ 0 w 8572"/>
                <a:gd name="connsiteY0" fmla="*/ 0 h 14478"/>
                <a:gd name="connsiteX1" fmla="*/ 8573 w 8572"/>
                <a:gd name="connsiteY1" fmla="*/ 1333 h 14478"/>
                <a:gd name="connsiteX2" fmla="*/ 6763 w 8572"/>
                <a:gd name="connsiteY2" fmla="*/ 14478 h 14478"/>
                <a:gd name="connsiteX3" fmla="*/ 0 w 8572"/>
                <a:gd name="connsiteY3" fmla="*/ 0 h 14478"/>
              </a:gdLst>
              <a:ahLst/>
              <a:cxnLst>
                <a:cxn ang="0">
                  <a:pos x="connsiteX0" y="connsiteY0"/>
                </a:cxn>
                <a:cxn ang="0">
                  <a:pos x="connsiteX1" y="connsiteY1"/>
                </a:cxn>
                <a:cxn ang="0">
                  <a:pos x="connsiteX2" y="connsiteY2"/>
                </a:cxn>
                <a:cxn ang="0">
                  <a:pos x="connsiteX3" y="connsiteY3"/>
                </a:cxn>
              </a:cxnLst>
              <a:rect l="l" t="t" r="r" b="b"/>
              <a:pathLst>
                <a:path w="8572" h="14478">
                  <a:moveTo>
                    <a:pt x="0" y="0"/>
                  </a:moveTo>
                  <a:lnTo>
                    <a:pt x="8573" y="1333"/>
                  </a:lnTo>
                  <a:lnTo>
                    <a:pt x="6763" y="14478"/>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6" name="Freeform: Shape 2956">
              <a:extLst>
                <a:ext uri="{FF2B5EF4-FFF2-40B4-BE49-F238E27FC236}">
                  <a16:creationId xmlns:a16="http://schemas.microsoft.com/office/drawing/2014/main" id="{A7B5223C-B8DC-2D1B-1D3E-F89998C48CA3}"/>
                </a:ext>
              </a:extLst>
            </p:cNvPr>
            <p:cNvSpPr/>
            <p:nvPr/>
          </p:nvSpPr>
          <p:spPr>
            <a:xfrm>
              <a:off x="6327267" y="3435794"/>
              <a:ext cx="7619" cy="22574"/>
            </a:xfrm>
            <a:custGeom>
              <a:avLst/>
              <a:gdLst>
                <a:gd name="connsiteX0" fmla="*/ 0 w 7619"/>
                <a:gd name="connsiteY0" fmla="*/ 0 h 22574"/>
                <a:gd name="connsiteX1" fmla="*/ 5048 w 7619"/>
                <a:gd name="connsiteY1" fmla="*/ 3715 h 22574"/>
                <a:gd name="connsiteX2" fmla="*/ 7620 w 7619"/>
                <a:gd name="connsiteY2" fmla="*/ 22574 h 22574"/>
                <a:gd name="connsiteX3" fmla="*/ 381 w 7619"/>
                <a:gd name="connsiteY3" fmla="*/ 16574 h 22574"/>
                <a:gd name="connsiteX4" fmla="*/ 0 w 7619"/>
                <a:gd name="connsiteY4" fmla="*/ 0 h 22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9" h="22574">
                  <a:moveTo>
                    <a:pt x="0" y="0"/>
                  </a:moveTo>
                  <a:lnTo>
                    <a:pt x="5048" y="3715"/>
                  </a:lnTo>
                  <a:lnTo>
                    <a:pt x="7620" y="22574"/>
                  </a:lnTo>
                  <a:lnTo>
                    <a:pt x="381" y="16574"/>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7" name="Freeform: Shape 2957">
              <a:extLst>
                <a:ext uri="{FF2B5EF4-FFF2-40B4-BE49-F238E27FC236}">
                  <a16:creationId xmlns:a16="http://schemas.microsoft.com/office/drawing/2014/main" id="{0142AC94-3768-82D3-9298-C5576CFA97E9}"/>
                </a:ext>
              </a:extLst>
            </p:cNvPr>
            <p:cNvSpPr/>
            <p:nvPr/>
          </p:nvSpPr>
          <p:spPr>
            <a:xfrm>
              <a:off x="6406896" y="3518566"/>
              <a:ext cx="8000" cy="13334"/>
            </a:xfrm>
            <a:custGeom>
              <a:avLst/>
              <a:gdLst>
                <a:gd name="connsiteX0" fmla="*/ 0 w 8000"/>
                <a:gd name="connsiteY0" fmla="*/ 5048 h 13334"/>
                <a:gd name="connsiteX1" fmla="*/ 8001 w 8000"/>
                <a:gd name="connsiteY1" fmla="*/ 0 h 13334"/>
                <a:gd name="connsiteX2" fmla="*/ 5334 w 8000"/>
                <a:gd name="connsiteY2" fmla="*/ 13335 h 13334"/>
                <a:gd name="connsiteX3" fmla="*/ 0 w 8000"/>
                <a:gd name="connsiteY3" fmla="*/ 5048 h 13334"/>
              </a:gdLst>
              <a:ahLst/>
              <a:cxnLst>
                <a:cxn ang="0">
                  <a:pos x="connsiteX0" y="connsiteY0"/>
                </a:cxn>
                <a:cxn ang="0">
                  <a:pos x="connsiteX1" y="connsiteY1"/>
                </a:cxn>
                <a:cxn ang="0">
                  <a:pos x="connsiteX2" y="connsiteY2"/>
                </a:cxn>
                <a:cxn ang="0">
                  <a:pos x="connsiteX3" y="connsiteY3"/>
                </a:cxn>
              </a:cxnLst>
              <a:rect l="l" t="t" r="r" b="b"/>
              <a:pathLst>
                <a:path w="8000" h="13334">
                  <a:moveTo>
                    <a:pt x="0" y="5048"/>
                  </a:moveTo>
                  <a:lnTo>
                    <a:pt x="8001" y="0"/>
                  </a:lnTo>
                  <a:lnTo>
                    <a:pt x="5334" y="13335"/>
                  </a:lnTo>
                  <a:lnTo>
                    <a:pt x="0" y="5048"/>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8" name="Freeform: Shape 2958">
              <a:extLst>
                <a:ext uri="{FF2B5EF4-FFF2-40B4-BE49-F238E27FC236}">
                  <a16:creationId xmlns:a16="http://schemas.microsoft.com/office/drawing/2014/main" id="{BB645FF8-CA83-F64F-60A8-538138886939}"/>
                </a:ext>
              </a:extLst>
            </p:cNvPr>
            <p:cNvSpPr/>
            <p:nvPr/>
          </p:nvSpPr>
          <p:spPr>
            <a:xfrm>
              <a:off x="6366414" y="3538283"/>
              <a:ext cx="8477" cy="10858"/>
            </a:xfrm>
            <a:custGeom>
              <a:avLst/>
              <a:gdLst>
                <a:gd name="connsiteX0" fmla="*/ 0 w 8477"/>
                <a:gd name="connsiteY0" fmla="*/ 0 h 10858"/>
                <a:gd name="connsiteX1" fmla="*/ 8477 w 8477"/>
                <a:gd name="connsiteY1" fmla="*/ 1619 h 10858"/>
                <a:gd name="connsiteX2" fmla="*/ 7144 w 8477"/>
                <a:gd name="connsiteY2" fmla="*/ 10858 h 10858"/>
                <a:gd name="connsiteX3" fmla="*/ 285 w 8477"/>
                <a:gd name="connsiteY3" fmla="*/ 5620 h 10858"/>
                <a:gd name="connsiteX4" fmla="*/ 0 w 8477"/>
                <a:gd name="connsiteY4" fmla="*/ 0 h 10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 h="10858">
                  <a:moveTo>
                    <a:pt x="0" y="0"/>
                  </a:moveTo>
                  <a:lnTo>
                    <a:pt x="8477" y="1619"/>
                  </a:lnTo>
                  <a:lnTo>
                    <a:pt x="7144" y="10858"/>
                  </a:lnTo>
                  <a:lnTo>
                    <a:pt x="285" y="5620"/>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69" name="Freeform: Shape 2959">
              <a:extLst>
                <a:ext uri="{FF2B5EF4-FFF2-40B4-BE49-F238E27FC236}">
                  <a16:creationId xmlns:a16="http://schemas.microsoft.com/office/drawing/2014/main" id="{B635F419-059D-48B7-F817-C6D981653EF8}"/>
                </a:ext>
              </a:extLst>
            </p:cNvPr>
            <p:cNvSpPr/>
            <p:nvPr/>
          </p:nvSpPr>
          <p:spPr>
            <a:xfrm>
              <a:off x="6360985" y="3514280"/>
              <a:ext cx="76962" cy="57245"/>
            </a:xfrm>
            <a:custGeom>
              <a:avLst/>
              <a:gdLst>
                <a:gd name="connsiteX0" fmla="*/ 0 w 76962"/>
                <a:gd name="connsiteY0" fmla="*/ 0 h 57245"/>
                <a:gd name="connsiteX1" fmla="*/ 40386 w 76962"/>
                <a:gd name="connsiteY1" fmla="*/ 9430 h 57245"/>
                <a:gd name="connsiteX2" fmla="*/ 52483 w 76962"/>
                <a:gd name="connsiteY2" fmla="*/ 28766 h 57245"/>
                <a:gd name="connsiteX3" fmla="*/ 69056 w 76962"/>
                <a:gd name="connsiteY3" fmla="*/ 34385 h 57245"/>
                <a:gd name="connsiteX4" fmla="*/ 76962 w 76962"/>
                <a:gd name="connsiteY4" fmla="*/ 57245 h 57245"/>
                <a:gd name="connsiteX5" fmla="*/ 45911 w 76962"/>
                <a:gd name="connsiteY5" fmla="*/ 46672 h 57245"/>
                <a:gd name="connsiteX6" fmla="*/ 51816 w 76962"/>
                <a:gd name="connsiteY6" fmla="*/ 34385 h 57245"/>
                <a:gd name="connsiteX7" fmla="*/ 38291 w 76962"/>
                <a:gd name="connsiteY7" fmla="*/ 42196 h 57245"/>
                <a:gd name="connsiteX8" fmla="*/ 32671 w 76962"/>
                <a:gd name="connsiteY8" fmla="*/ 31147 h 57245"/>
                <a:gd name="connsiteX9" fmla="*/ 20860 w 76962"/>
                <a:gd name="connsiteY9" fmla="*/ 29813 h 57245"/>
                <a:gd name="connsiteX10" fmla="*/ 26479 w 76962"/>
                <a:gd name="connsiteY10" fmla="*/ 23431 h 57245"/>
                <a:gd name="connsiteX11" fmla="*/ 6001 w 76962"/>
                <a:gd name="connsiteY11" fmla="*/ 19336 h 57245"/>
                <a:gd name="connsiteX12" fmla="*/ 0 w 76962"/>
                <a:gd name="connsiteY12" fmla="*/ 0 h 5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962" h="57245">
                  <a:moveTo>
                    <a:pt x="0" y="0"/>
                  </a:moveTo>
                  <a:lnTo>
                    <a:pt x="40386" y="9430"/>
                  </a:lnTo>
                  <a:lnTo>
                    <a:pt x="52483" y="28766"/>
                  </a:lnTo>
                  <a:lnTo>
                    <a:pt x="69056" y="34385"/>
                  </a:lnTo>
                  <a:lnTo>
                    <a:pt x="76962" y="57245"/>
                  </a:lnTo>
                  <a:lnTo>
                    <a:pt x="45911" y="46672"/>
                  </a:lnTo>
                  <a:lnTo>
                    <a:pt x="51816" y="34385"/>
                  </a:lnTo>
                  <a:lnTo>
                    <a:pt x="38291" y="42196"/>
                  </a:lnTo>
                  <a:lnTo>
                    <a:pt x="32671" y="31147"/>
                  </a:lnTo>
                  <a:lnTo>
                    <a:pt x="20860" y="29813"/>
                  </a:lnTo>
                  <a:lnTo>
                    <a:pt x="26479" y="23431"/>
                  </a:lnTo>
                  <a:lnTo>
                    <a:pt x="6001" y="19336"/>
                  </a:lnTo>
                  <a:lnTo>
                    <a:pt x="0"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70" name="Freeform: Shape 2960">
              <a:extLst>
                <a:ext uri="{FF2B5EF4-FFF2-40B4-BE49-F238E27FC236}">
                  <a16:creationId xmlns:a16="http://schemas.microsoft.com/office/drawing/2014/main" id="{157D2A97-391B-D4A8-9D77-67259664D3C0}"/>
                </a:ext>
              </a:extLst>
            </p:cNvPr>
            <p:cNvSpPr/>
            <p:nvPr/>
          </p:nvSpPr>
          <p:spPr>
            <a:xfrm>
              <a:off x="7626000" y="3533997"/>
              <a:ext cx="34956" cy="18764"/>
            </a:xfrm>
            <a:custGeom>
              <a:avLst/>
              <a:gdLst>
                <a:gd name="connsiteX0" fmla="*/ 1619 w 34956"/>
                <a:gd name="connsiteY0" fmla="*/ 0 h 18764"/>
                <a:gd name="connsiteX1" fmla="*/ 1619 w 34956"/>
                <a:gd name="connsiteY1" fmla="*/ 0 h 18764"/>
                <a:gd name="connsiteX2" fmla="*/ 8954 w 34956"/>
                <a:gd name="connsiteY2" fmla="*/ 1238 h 18764"/>
                <a:gd name="connsiteX3" fmla="*/ 33623 w 34956"/>
                <a:gd name="connsiteY3" fmla="*/ 11811 h 18764"/>
                <a:gd name="connsiteX4" fmla="*/ 34957 w 34956"/>
                <a:gd name="connsiteY4" fmla="*/ 18764 h 18764"/>
                <a:gd name="connsiteX5" fmla="*/ 26098 w 34956"/>
                <a:gd name="connsiteY5" fmla="*/ 18764 h 18764"/>
                <a:gd name="connsiteX6" fmla="*/ 0 w 34956"/>
                <a:gd name="connsiteY6" fmla="*/ 11049 h 18764"/>
                <a:gd name="connsiteX7" fmla="*/ 1619 w 34956"/>
                <a:gd name="connsiteY7" fmla="*/ 0 h 1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56" h="18764">
                  <a:moveTo>
                    <a:pt x="1619" y="0"/>
                  </a:moveTo>
                  <a:lnTo>
                    <a:pt x="1619" y="0"/>
                  </a:lnTo>
                  <a:lnTo>
                    <a:pt x="8954" y="1238"/>
                  </a:lnTo>
                  <a:lnTo>
                    <a:pt x="33623" y="11811"/>
                  </a:lnTo>
                  <a:lnTo>
                    <a:pt x="34957" y="18764"/>
                  </a:lnTo>
                  <a:lnTo>
                    <a:pt x="26098" y="18764"/>
                  </a:lnTo>
                  <a:lnTo>
                    <a:pt x="0" y="11049"/>
                  </a:lnTo>
                  <a:lnTo>
                    <a:pt x="1619"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71" name="Freeform: Shape 2961">
              <a:extLst>
                <a:ext uri="{FF2B5EF4-FFF2-40B4-BE49-F238E27FC236}">
                  <a16:creationId xmlns:a16="http://schemas.microsoft.com/office/drawing/2014/main" id="{1466AB02-9382-C7B6-CB6D-9A0ED382A3A4}"/>
                </a:ext>
              </a:extLst>
            </p:cNvPr>
            <p:cNvSpPr/>
            <p:nvPr/>
          </p:nvSpPr>
          <p:spPr>
            <a:xfrm>
              <a:off x="7709535" y="3485896"/>
              <a:ext cx="129444" cy="126015"/>
            </a:xfrm>
            <a:custGeom>
              <a:avLst/>
              <a:gdLst>
                <a:gd name="connsiteX0" fmla="*/ 74295 w 129444"/>
                <a:gd name="connsiteY0" fmla="*/ 0 h 126015"/>
                <a:gd name="connsiteX1" fmla="*/ 74295 w 129444"/>
                <a:gd name="connsiteY1" fmla="*/ 0 h 126015"/>
                <a:gd name="connsiteX2" fmla="*/ 74580 w 129444"/>
                <a:gd name="connsiteY2" fmla="*/ 8287 h 126015"/>
                <a:gd name="connsiteX3" fmla="*/ 67341 w 129444"/>
                <a:gd name="connsiteY3" fmla="*/ 8763 h 126015"/>
                <a:gd name="connsiteX4" fmla="*/ 71342 w 129444"/>
                <a:gd name="connsiteY4" fmla="*/ 15240 h 126015"/>
                <a:gd name="connsiteX5" fmla="*/ 49816 w 129444"/>
                <a:gd name="connsiteY5" fmla="*/ 55054 h 126015"/>
                <a:gd name="connsiteX6" fmla="*/ 65532 w 129444"/>
                <a:gd name="connsiteY6" fmla="*/ 42672 h 126015"/>
                <a:gd name="connsiteX7" fmla="*/ 78962 w 129444"/>
                <a:gd name="connsiteY7" fmla="*/ 67723 h 126015"/>
                <a:gd name="connsiteX8" fmla="*/ 95726 w 129444"/>
                <a:gd name="connsiteY8" fmla="*/ 55435 h 126015"/>
                <a:gd name="connsiteX9" fmla="*/ 116586 w 129444"/>
                <a:gd name="connsiteY9" fmla="*/ 61627 h 126015"/>
                <a:gd name="connsiteX10" fmla="*/ 102394 w 129444"/>
                <a:gd name="connsiteY10" fmla="*/ 74200 h 126015"/>
                <a:gd name="connsiteX11" fmla="*/ 112966 w 129444"/>
                <a:gd name="connsiteY11" fmla="*/ 104775 h 126015"/>
                <a:gd name="connsiteX12" fmla="*/ 129444 w 129444"/>
                <a:gd name="connsiteY12" fmla="*/ 90488 h 126015"/>
                <a:gd name="connsiteX13" fmla="*/ 124491 w 129444"/>
                <a:gd name="connsiteY13" fmla="*/ 126016 h 126015"/>
                <a:gd name="connsiteX14" fmla="*/ 113919 w 129444"/>
                <a:gd name="connsiteY14" fmla="*/ 126016 h 126015"/>
                <a:gd name="connsiteX15" fmla="*/ 101346 w 129444"/>
                <a:gd name="connsiteY15" fmla="*/ 95440 h 126015"/>
                <a:gd name="connsiteX16" fmla="*/ 98393 w 129444"/>
                <a:gd name="connsiteY16" fmla="*/ 106394 h 126015"/>
                <a:gd name="connsiteX17" fmla="*/ 78962 w 129444"/>
                <a:gd name="connsiteY17" fmla="*/ 120682 h 126015"/>
                <a:gd name="connsiteX18" fmla="*/ 71342 w 129444"/>
                <a:gd name="connsiteY18" fmla="*/ 94202 h 126015"/>
                <a:gd name="connsiteX19" fmla="*/ 51149 w 129444"/>
                <a:gd name="connsiteY19" fmla="*/ 104394 h 126015"/>
                <a:gd name="connsiteX20" fmla="*/ 21812 w 129444"/>
                <a:gd name="connsiteY20" fmla="*/ 99060 h 126015"/>
                <a:gd name="connsiteX21" fmla="*/ 1333 w 129444"/>
                <a:gd name="connsiteY21" fmla="*/ 102394 h 126015"/>
                <a:gd name="connsiteX22" fmla="*/ 0 w 129444"/>
                <a:gd name="connsiteY22" fmla="*/ 96202 h 126015"/>
                <a:gd name="connsiteX23" fmla="*/ 21812 w 129444"/>
                <a:gd name="connsiteY23" fmla="*/ 80296 h 126015"/>
                <a:gd name="connsiteX24" fmla="*/ 30385 w 129444"/>
                <a:gd name="connsiteY24" fmla="*/ 48101 h 126015"/>
                <a:gd name="connsiteX25" fmla="*/ 43910 w 129444"/>
                <a:gd name="connsiteY25" fmla="*/ 27051 h 126015"/>
                <a:gd name="connsiteX26" fmla="*/ 52482 w 129444"/>
                <a:gd name="connsiteY26" fmla="*/ 7810 h 126015"/>
                <a:gd name="connsiteX27" fmla="*/ 74295 w 129444"/>
                <a:gd name="connsiteY27" fmla="*/ 0 h 12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444" h="126015">
                  <a:moveTo>
                    <a:pt x="74295" y="0"/>
                  </a:moveTo>
                  <a:lnTo>
                    <a:pt x="74295" y="0"/>
                  </a:lnTo>
                  <a:lnTo>
                    <a:pt x="74580" y="8287"/>
                  </a:lnTo>
                  <a:lnTo>
                    <a:pt x="67341" y="8763"/>
                  </a:lnTo>
                  <a:lnTo>
                    <a:pt x="71342" y="15240"/>
                  </a:lnTo>
                  <a:lnTo>
                    <a:pt x="49816" y="55054"/>
                  </a:lnTo>
                  <a:lnTo>
                    <a:pt x="65532" y="42672"/>
                  </a:lnTo>
                  <a:lnTo>
                    <a:pt x="78962" y="67723"/>
                  </a:lnTo>
                  <a:lnTo>
                    <a:pt x="95726" y="55435"/>
                  </a:lnTo>
                  <a:lnTo>
                    <a:pt x="116586" y="61627"/>
                  </a:lnTo>
                  <a:lnTo>
                    <a:pt x="102394" y="74200"/>
                  </a:lnTo>
                  <a:lnTo>
                    <a:pt x="112966" y="104775"/>
                  </a:lnTo>
                  <a:lnTo>
                    <a:pt x="129444" y="90488"/>
                  </a:lnTo>
                  <a:lnTo>
                    <a:pt x="124491" y="126016"/>
                  </a:lnTo>
                  <a:lnTo>
                    <a:pt x="113919" y="126016"/>
                  </a:lnTo>
                  <a:lnTo>
                    <a:pt x="101346" y="95440"/>
                  </a:lnTo>
                  <a:lnTo>
                    <a:pt x="98393" y="106394"/>
                  </a:lnTo>
                  <a:lnTo>
                    <a:pt x="78962" y="120682"/>
                  </a:lnTo>
                  <a:lnTo>
                    <a:pt x="71342" y="94202"/>
                  </a:lnTo>
                  <a:lnTo>
                    <a:pt x="51149" y="104394"/>
                  </a:lnTo>
                  <a:lnTo>
                    <a:pt x="21812" y="99060"/>
                  </a:lnTo>
                  <a:lnTo>
                    <a:pt x="1333" y="102394"/>
                  </a:lnTo>
                  <a:lnTo>
                    <a:pt x="0" y="96202"/>
                  </a:lnTo>
                  <a:lnTo>
                    <a:pt x="21812" y="80296"/>
                  </a:lnTo>
                  <a:lnTo>
                    <a:pt x="30385" y="48101"/>
                  </a:lnTo>
                  <a:lnTo>
                    <a:pt x="43910" y="27051"/>
                  </a:lnTo>
                  <a:lnTo>
                    <a:pt x="52482" y="7810"/>
                  </a:lnTo>
                  <a:lnTo>
                    <a:pt x="7429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72" name="Freeform: Shape 2962">
              <a:extLst>
                <a:ext uri="{FF2B5EF4-FFF2-40B4-BE49-F238E27FC236}">
                  <a16:creationId xmlns:a16="http://schemas.microsoft.com/office/drawing/2014/main" id="{805515B1-1E33-3C9E-32EC-29C058274205}"/>
                </a:ext>
              </a:extLst>
            </p:cNvPr>
            <p:cNvSpPr/>
            <p:nvPr/>
          </p:nvSpPr>
          <p:spPr>
            <a:xfrm>
              <a:off x="7670482" y="3597338"/>
              <a:ext cx="34004" cy="37528"/>
            </a:xfrm>
            <a:custGeom>
              <a:avLst/>
              <a:gdLst>
                <a:gd name="connsiteX0" fmla="*/ 23717 w 34004"/>
                <a:gd name="connsiteY0" fmla="*/ 5334 h 37528"/>
                <a:gd name="connsiteX1" fmla="*/ 23717 w 34004"/>
                <a:gd name="connsiteY1" fmla="*/ 5334 h 37528"/>
                <a:gd name="connsiteX2" fmla="*/ 13431 w 34004"/>
                <a:gd name="connsiteY2" fmla="*/ 22765 h 37528"/>
                <a:gd name="connsiteX3" fmla="*/ 34004 w 34004"/>
                <a:gd name="connsiteY3" fmla="*/ 27718 h 37528"/>
                <a:gd name="connsiteX4" fmla="*/ 4572 w 34004"/>
                <a:gd name="connsiteY4" fmla="*/ 37529 h 37528"/>
                <a:gd name="connsiteX5" fmla="*/ 0 w 34004"/>
                <a:gd name="connsiteY5" fmla="*/ 27718 h 37528"/>
                <a:gd name="connsiteX6" fmla="*/ 14574 w 34004"/>
                <a:gd name="connsiteY6" fmla="*/ 0 h 37528"/>
                <a:gd name="connsiteX7" fmla="*/ 23717 w 34004"/>
                <a:gd name="connsiteY7" fmla="*/ 5334 h 37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04" h="37528">
                  <a:moveTo>
                    <a:pt x="23717" y="5334"/>
                  </a:moveTo>
                  <a:lnTo>
                    <a:pt x="23717" y="5334"/>
                  </a:lnTo>
                  <a:lnTo>
                    <a:pt x="13431" y="22765"/>
                  </a:lnTo>
                  <a:lnTo>
                    <a:pt x="34004" y="27718"/>
                  </a:lnTo>
                  <a:lnTo>
                    <a:pt x="4572" y="37529"/>
                  </a:lnTo>
                  <a:lnTo>
                    <a:pt x="0" y="27718"/>
                  </a:lnTo>
                  <a:lnTo>
                    <a:pt x="14574" y="0"/>
                  </a:lnTo>
                  <a:lnTo>
                    <a:pt x="23717" y="5334"/>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73" name="Freeform: Shape 2963">
              <a:extLst>
                <a:ext uri="{FF2B5EF4-FFF2-40B4-BE49-F238E27FC236}">
                  <a16:creationId xmlns:a16="http://schemas.microsoft.com/office/drawing/2014/main" id="{C18F4DF9-4509-86C6-DC47-721485B4FDDF}"/>
                </a:ext>
              </a:extLst>
            </p:cNvPr>
            <p:cNvSpPr/>
            <p:nvPr/>
          </p:nvSpPr>
          <p:spPr>
            <a:xfrm>
              <a:off x="6091999" y="2852388"/>
              <a:ext cx="1691544" cy="859821"/>
            </a:xfrm>
            <a:custGeom>
              <a:avLst/>
              <a:gdLst>
                <a:gd name="connsiteX0" fmla="*/ 1688878 w 1691544"/>
                <a:gd name="connsiteY0" fmla="*/ 589883 h 859821"/>
                <a:gd name="connsiteX1" fmla="*/ 1665065 w 1691544"/>
                <a:gd name="connsiteY1" fmla="*/ 574738 h 859821"/>
                <a:gd name="connsiteX2" fmla="*/ 1657159 w 1691544"/>
                <a:gd name="connsiteY2" fmla="*/ 583025 h 859821"/>
                <a:gd name="connsiteX3" fmla="*/ 1661446 w 1691544"/>
                <a:gd name="connsiteY3" fmla="*/ 569214 h 859821"/>
                <a:gd name="connsiteX4" fmla="*/ 1643919 w 1691544"/>
                <a:gd name="connsiteY4" fmla="*/ 561023 h 859821"/>
                <a:gd name="connsiteX5" fmla="*/ 1643919 w 1691544"/>
                <a:gd name="connsiteY5" fmla="*/ 567595 h 859821"/>
                <a:gd name="connsiteX6" fmla="*/ 1607058 w 1691544"/>
                <a:gd name="connsiteY6" fmla="*/ 580263 h 859821"/>
                <a:gd name="connsiteX7" fmla="*/ 1602391 w 1691544"/>
                <a:gd name="connsiteY7" fmla="*/ 587597 h 859821"/>
                <a:gd name="connsiteX8" fmla="*/ 1596485 w 1691544"/>
                <a:gd name="connsiteY8" fmla="*/ 587597 h 859821"/>
                <a:gd name="connsiteX9" fmla="*/ 1602867 w 1691544"/>
                <a:gd name="connsiteY9" fmla="*/ 569214 h 859821"/>
                <a:gd name="connsiteX10" fmla="*/ 1631442 w 1691544"/>
                <a:gd name="connsiteY10" fmla="*/ 567595 h 859821"/>
                <a:gd name="connsiteX11" fmla="*/ 1637347 w 1691544"/>
                <a:gd name="connsiteY11" fmla="*/ 561023 h 859821"/>
                <a:gd name="connsiteX12" fmla="*/ 1657445 w 1691544"/>
                <a:gd name="connsiteY12" fmla="*/ 551498 h 859821"/>
                <a:gd name="connsiteX13" fmla="*/ 1617250 w 1691544"/>
                <a:gd name="connsiteY13" fmla="*/ 541020 h 859821"/>
                <a:gd name="connsiteX14" fmla="*/ 1621536 w 1691544"/>
                <a:gd name="connsiteY14" fmla="*/ 533591 h 859821"/>
                <a:gd name="connsiteX15" fmla="*/ 1606296 w 1691544"/>
                <a:gd name="connsiteY15" fmla="*/ 540068 h 859821"/>
                <a:gd name="connsiteX16" fmla="*/ 1609249 w 1691544"/>
                <a:gd name="connsiteY16" fmla="*/ 530543 h 859821"/>
                <a:gd name="connsiteX17" fmla="*/ 1601057 w 1691544"/>
                <a:gd name="connsiteY17" fmla="*/ 528923 h 859821"/>
                <a:gd name="connsiteX18" fmla="*/ 1591532 w 1691544"/>
                <a:gd name="connsiteY18" fmla="*/ 539687 h 859821"/>
                <a:gd name="connsiteX19" fmla="*/ 1578293 w 1691544"/>
                <a:gd name="connsiteY19" fmla="*/ 506159 h 859821"/>
                <a:gd name="connsiteX20" fmla="*/ 1565148 w 1691544"/>
                <a:gd name="connsiteY20" fmla="*/ 505682 h 859821"/>
                <a:gd name="connsiteX21" fmla="*/ 1572387 w 1691544"/>
                <a:gd name="connsiteY21" fmla="*/ 497491 h 859821"/>
                <a:gd name="connsiteX22" fmla="*/ 1561529 w 1691544"/>
                <a:gd name="connsiteY22" fmla="*/ 492442 h 859821"/>
                <a:gd name="connsiteX23" fmla="*/ 1572387 w 1691544"/>
                <a:gd name="connsiteY23" fmla="*/ 480441 h 859821"/>
                <a:gd name="connsiteX24" fmla="*/ 1556195 w 1691544"/>
                <a:gd name="connsiteY24" fmla="*/ 451866 h 859821"/>
                <a:gd name="connsiteX25" fmla="*/ 1539049 w 1691544"/>
                <a:gd name="connsiteY25" fmla="*/ 457295 h 859821"/>
                <a:gd name="connsiteX26" fmla="*/ 1546003 w 1691544"/>
                <a:gd name="connsiteY26" fmla="*/ 445580 h 859821"/>
                <a:gd name="connsiteX27" fmla="*/ 1532763 w 1691544"/>
                <a:gd name="connsiteY27" fmla="*/ 445580 h 859821"/>
                <a:gd name="connsiteX28" fmla="*/ 1542288 w 1691544"/>
                <a:gd name="connsiteY28" fmla="*/ 432435 h 859821"/>
                <a:gd name="connsiteX29" fmla="*/ 1524476 w 1691544"/>
                <a:gd name="connsiteY29" fmla="*/ 428911 h 859821"/>
                <a:gd name="connsiteX30" fmla="*/ 1532668 w 1691544"/>
                <a:gd name="connsiteY30" fmla="*/ 419386 h 859821"/>
                <a:gd name="connsiteX31" fmla="*/ 1523143 w 1691544"/>
                <a:gd name="connsiteY31" fmla="*/ 415576 h 859821"/>
                <a:gd name="connsiteX32" fmla="*/ 1522095 w 1691544"/>
                <a:gd name="connsiteY32" fmla="*/ 402622 h 859821"/>
                <a:gd name="connsiteX33" fmla="*/ 1512570 w 1691544"/>
                <a:gd name="connsiteY33" fmla="*/ 405670 h 859821"/>
                <a:gd name="connsiteX34" fmla="*/ 1517713 w 1691544"/>
                <a:gd name="connsiteY34" fmla="*/ 394049 h 859821"/>
                <a:gd name="connsiteX35" fmla="*/ 1508760 w 1691544"/>
                <a:gd name="connsiteY35" fmla="*/ 390334 h 859821"/>
                <a:gd name="connsiteX36" fmla="*/ 1499235 w 1691544"/>
                <a:gd name="connsiteY36" fmla="*/ 428434 h 859821"/>
                <a:gd name="connsiteX37" fmla="*/ 1488091 w 1691544"/>
                <a:gd name="connsiteY37" fmla="*/ 428911 h 859821"/>
                <a:gd name="connsiteX38" fmla="*/ 1484376 w 1691544"/>
                <a:gd name="connsiteY38" fmla="*/ 447961 h 859821"/>
                <a:gd name="connsiteX39" fmla="*/ 1478185 w 1691544"/>
                <a:gd name="connsiteY39" fmla="*/ 433292 h 859821"/>
                <a:gd name="connsiteX40" fmla="*/ 1456372 w 1691544"/>
                <a:gd name="connsiteY40" fmla="*/ 449294 h 859821"/>
                <a:gd name="connsiteX41" fmla="*/ 1451705 w 1691544"/>
                <a:gd name="connsiteY41" fmla="*/ 458819 h 859821"/>
                <a:gd name="connsiteX42" fmla="*/ 1447609 w 1691544"/>
                <a:gd name="connsiteY42" fmla="*/ 446913 h 859821"/>
                <a:gd name="connsiteX43" fmla="*/ 1442942 w 1691544"/>
                <a:gd name="connsiteY43" fmla="*/ 456438 h 859821"/>
                <a:gd name="connsiteX44" fmla="*/ 1419034 w 1691544"/>
                <a:gd name="connsiteY44" fmla="*/ 462820 h 859821"/>
                <a:gd name="connsiteX45" fmla="*/ 1442180 w 1691544"/>
                <a:gd name="connsiteY45" fmla="*/ 441293 h 859821"/>
                <a:gd name="connsiteX46" fmla="*/ 1421320 w 1691544"/>
                <a:gd name="connsiteY46" fmla="*/ 420148 h 859821"/>
                <a:gd name="connsiteX47" fmla="*/ 1411795 w 1691544"/>
                <a:gd name="connsiteY47" fmla="*/ 420148 h 859821"/>
                <a:gd name="connsiteX48" fmla="*/ 1411795 w 1691544"/>
                <a:gd name="connsiteY48" fmla="*/ 407384 h 859821"/>
                <a:gd name="connsiteX49" fmla="*/ 1392745 w 1691544"/>
                <a:gd name="connsiteY49" fmla="*/ 401384 h 859821"/>
                <a:gd name="connsiteX50" fmla="*/ 1414367 w 1691544"/>
                <a:gd name="connsiteY50" fmla="*/ 399479 h 859821"/>
                <a:gd name="connsiteX51" fmla="*/ 1419320 w 1691544"/>
                <a:gd name="connsiteY51" fmla="*/ 372237 h 859821"/>
                <a:gd name="connsiteX52" fmla="*/ 1404175 w 1691544"/>
                <a:gd name="connsiteY52" fmla="*/ 365284 h 859821"/>
                <a:gd name="connsiteX53" fmla="*/ 1375600 w 1691544"/>
                <a:gd name="connsiteY53" fmla="*/ 365284 h 859821"/>
                <a:gd name="connsiteX54" fmla="*/ 1375600 w 1691544"/>
                <a:gd name="connsiteY54" fmla="*/ 350711 h 859821"/>
                <a:gd name="connsiteX55" fmla="*/ 1362932 w 1691544"/>
                <a:gd name="connsiteY55" fmla="*/ 353663 h 859821"/>
                <a:gd name="connsiteX56" fmla="*/ 1365409 w 1691544"/>
                <a:gd name="connsiteY56" fmla="*/ 346424 h 859821"/>
                <a:gd name="connsiteX57" fmla="*/ 1343597 w 1691544"/>
                <a:gd name="connsiteY57" fmla="*/ 329756 h 859821"/>
                <a:gd name="connsiteX58" fmla="*/ 1334072 w 1691544"/>
                <a:gd name="connsiteY58" fmla="*/ 322231 h 859821"/>
                <a:gd name="connsiteX59" fmla="*/ 1314259 w 1691544"/>
                <a:gd name="connsiteY59" fmla="*/ 332994 h 859821"/>
                <a:gd name="connsiteX60" fmla="*/ 1289875 w 1691544"/>
                <a:gd name="connsiteY60" fmla="*/ 332994 h 859821"/>
                <a:gd name="connsiteX61" fmla="*/ 1290447 w 1691544"/>
                <a:gd name="connsiteY61" fmla="*/ 316802 h 859821"/>
                <a:gd name="connsiteX62" fmla="*/ 1258824 w 1691544"/>
                <a:gd name="connsiteY62" fmla="*/ 318516 h 859821"/>
                <a:gd name="connsiteX63" fmla="*/ 1246251 w 1691544"/>
                <a:gd name="connsiteY63" fmla="*/ 327088 h 859821"/>
                <a:gd name="connsiteX64" fmla="*/ 1258824 w 1691544"/>
                <a:gd name="connsiteY64" fmla="*/ 352901 h 859821"/>
                <a:gd name="connsiteX65" fmla="*/ 1244536 w 1691544"/>
                <a:gd name="connsiteY65" fmla="*/ 367189 h 859821"/>
                <a:gd name="connsiteX66" fmla="*/ 1257872 w 1691544"/>
                <a:gd name="connsiteY66" fmla="*/ 375475 h 859821"/>
                <a:gd name="connsiteX67" fmla="*/ 1252728 w 1691544"/>
                <a:gd name="connsiteY67" fmla="*/ 390620 h 859821"/>
                <a:gd name="connsiteX68" fmla="*/ 1264444 w 1691544"/>
                <a:gd name="connsiteY68" fmla="*/ 401003 h 859821"/>
                <a:gd name="connsiteX69" fmla="*/ 1237012 w 1691544"/>
                <a:gd name="connsiteY69" fmla="*/ 440436 h 859821"/>
                <a:gd name="connsiteX70" fmla="*/ 1276350 w 1691544"/>
                <a:gd name="connsiteY70" fmla="*/ 478536 h 859821"/>
                <a:gd name="connsiteX71" fmla="*/ 1265491 w 1691544"/>
                <a:gd name="connsiteY71" fmla="*/ 522161 h 859821"/>
                <a:gd name="connsiteX72" fmla="*/ 1213675 w 1691544"/>
                <a:gd name="connsiteY72" fmla="*/ 549497 h 859821"/>
                <a:gd name="connsiteX73" fmla="*/ 1230820 w 1691544"/>
                <a:gd name="connsiteY73" fmla="*/ 572453 h 859821"/>
                <a:gd name="connsiteX74" fmla="*/ 1226915 w 1691544"/>
                <a:gd name="connsiteY74" fmla="*/ 591503 h 859821"/>
                <a:gd name="connsiteX75" fmla="*/ 1241012 w 1691544"/>
                <a:gd name="connsiteY75" fmla="*/ 618268 h 859821"/>
                <a:gd name="connsiteX76" fmla="*/ 1230153 w 1691544"/>
                <a:gd name="connsiteY76" fmla="*/ 621792 h 859821"/>
                <a:gd name="connsiteX77" fmla="*/ 1230820 w 1691544"/>
                <a:gd name="connsiteY77" fmla="*/ 645224 h 859821"/>
                <a:gd name="connsiteX78" fmla="*/ 1219200 w 1691544"/>
                <a:gd name="connsiteY78" fmla="*/ 631412 h 859821"/>
                <a:gd name="connsiteX79" fmla="*/ 1218533 w 1691544"/>
                <a:gd name="connsiteY79" fmla="*/ 653606 h 859821"/>
                <a:gd name="connsiteX80" fmla="*/ 1171765 w 1691544"/>
                <a:gd name="connsiteY80" fmla="*/ 617601 h 859821"/>
                <a:gd name="connsiteX81" fmla="*/ 1160812 w 1691544"/>
                <a:gd name="connsiteY81" fmla="*/ 561594 h 859821"/>
                <a:gd name="connsiteX82" fmla="*/ 1170337 w 1691544"/>
                <a:gd name="connsiteY82" fmla="*/ 545497 h 859821"/>
                <a:gd name="connsiteX83" fmla="*/ 1163669 w 1691544"/>
                <a:gd name="connsiteY83" fmla="*/ 535972 h 859821"/>
                <a:gd name="connsiteX84" fmla="*/ 1116044 w 1691544"/>
                <a:gd name="connsiteY84" fmla="*/ 533305 h 859821"/>
                <a:gd name="connsiteX85" fmla="*/ 1103662 w 1691544"/>
                <a:gd name="connsiteY85" fmla="*/ 542830 h 859821"/>
                <a:gd name="connsiteX86" fmla="*/ 1102137 w 1691544"/>
                <a:gd name="connsiteY86" fmla="*/ 528923 h 859821"/>
                <a:gd name="connsiteX87" fmla="*/ 1058323 w 1691544"/>
                <a:gd name="connsiteY87" fmla="*/ 512921 h 859821"/>
                <a:gd name="connsiteX88" fmla="*/ 1034224 w 1691544"/>
                <a:gd name="connsiteY88" fmla="*/ 489966 h 859821"/>
                <a:gd name="connsiteX89" fmla="*/ 991267 w 1691544"/>
                <a:gd name="connsiteY89" fmla="*/ 478060 h 859821"/>
                <a:gd name="connsiteX90" fmla="*/ 954024 w 1691544"/>
                <a:gd name="connsiteY90" fmla="*/ 488156 h 859821"/>
                <a:gd name="connsiteX91" fmla="*/ 960787 w 1691544"/>
                <a:gd name="connsiteY91" fmla="*/ 470249 h 859821"/>
                <a:gd name="connsiteX92" fmla="*/ 946975 w 1691544"/>
                <a:gd name="connsiteY92" fmla="*/ 436626 h 859821"/>
                <a:gd name="connsiteX93" fmla="*/ 927925 w 1691544"/>
                <a:gd name="connsiteY93" fmla="*/ 436626 h 859821"/>
                <a:gd name="connsiteX94" fmla="*/ 925258 w 1691544"/>
                <a:gd name="connsiteY94" fmla="*/ 444437 h 859821"/>
                <a:gd name="connsiteX95" fmla="*/ 911352 w 1691544"/>
                <a:gd name="connsiteY95" fmla="*/ 428816 h 859821"/>
                <a:gd name="connsiteX96" fmla="*/ 915352 w 1691544"/>
                <a:gd name="connsiteY96" fmla="*/ 386525 h 859821"/>
                <a:gd name="connsiteX97" fmla="*/ 931545 w 1691544"/>
                <a:gd name="connsiteY97" fmla="*/ 355854 h 859821"/>
                <a:gd name="connsiteX98" fmla="*/ 946023 w 1691544"/>
                <a:gd name="connsiteY98" fmla="*/ 346329 h 859821"/>
                <a:gd name="connsiteX99" fmla="*/ 941070 w 1691544"/>
                <a:gd name="connsiteY99" fmla="*/ 336804 h 859821"/>
                <a:gd name="connsiteX100" fmla="*/ 955262 w 1691544"/>
                <a:gd name="connsiteY100" fmla="*/ 332613 h 859821"/>
                <a:gd name="connsiteX101" fmla="*/ 952690 w 1691544"/>
                <a:gd name="connsiteY101" fmla="*/ 322517 h 859821"/>
                <a:gd name="connsiteX102" fmla="*/ 967835 w 1691544"/>
                <a:gd name="connsiteY102" fmla="*/ 324612 h 859821"/>
                <a:gd name="connsiteX103" fmla="*/ 961930 w 1691544"/>
                <a:gd name="connsiteY103" fmla="*/ 312230 h 859821"/>
                <a:gd name="connsiteX104" fmla="*/ 983646 w 1691544"/>
                <a:gd name="connsiteY104" fmla="*/ 313277 h 859821"/>
                <a:gd name="connsiteX105" fmla="*/ 997934 w 1691544"/>
                <a:gd name="connsiteY105" fmla="*/ 303752 h 859821"/>
                <a:gd name="connsiteX106" fmla="*/ 978884 w 1691544"/>
                <a:gd name="connsiteY106" fmla="*/ 284702 h 859821"/>
                <a:gd name="connsiteX107" fmla="*/ 968597 w 1691544"/>
                <a:gd name="connsiteY107" fmla="*/ 293561 h 859821"/>
                <a:gd name="connsiteX108" fmla="*/ 945642 w 1691544"/>
                <a:gd name="connsiteY108" fmla="*/ 280130 h 859821"/>
                <a:gd name="connsiteX109" fmla="*/ 941261 w 1691544"/>
                <a:gd name="connsiteY109" fmla="*/ 265843 h 859821"/>
                <a:gd name="connsiteX110" fmla="*/ 1001363 w 1691544"/>
                <a:gd name="connsiteY110" fmla="*/ 286798 h 859821"/>
                <a:gd name="connsiteX111" fmla="*/ 1010888 w 1691544"/>
                <a:gd name="connsiteY111" fmla="*/ 269177 h 859821"/>
                <a:gd name="connsiteX112" fmla="*/ 1023556 w 1691544"/>
                <a:gd name="connsiteY112" fmla="*/ 277559 h 859821"/>
                <a:gd name="connsiteX113" fmla="*/ 1026890 w 1691544"/>
                <a:gd name="connsiteY113" fmla="*/ 268034 h 859821"/>
                <a:gd name="connsiteX114" fmla="*/ 1050893 w 1691544"/>
                <a:gd name="connsiteY114" fmla="*/ 268034 h 859821"/>
                <a:gd name="connsiteX115" fmla="*/ 1069943 w 1691544"/>
                <a:gd name="connsiteY115" fmla="*/ 234125 h 859821"/>
                <a:gd name="connsiteX116" fmla="*/ 1030033 w 1691544"/>
                <a:gd name="connsiteY116" fmla="*/ 230981 h 859821"/>
                <a:gd name="connsiteX117" fmla="*/ 981456 w 1691544"/>
                <a:gd name="connsiteY117" fmla="*/ 211074 h 859821"/>
                <a:gd name="connsiteX118" fmla="*/ 1025176 w 1691544"/>
                <a:gd name="connsiteY118" fmla="*/ 205359 h 859821"/>
                <a:gd name="connsiteX119" fmla="*/ 1063943 w 1691544"/>
                <a:gd name="connsiteY119" fmla="*/ 226600 h 859821"/>
                <a:gd name="connsiteX120" fmla="*/ 1075277 w 1691544"/>
                <a:gd name="connsiteY120" fmla="*/ 192215 h 859821"/>
                <a:gd name="connsiteX121" fmla="*/ 1100709 w 1691544"/>
                <a:gd name="connsiteY121" fmla="*/ 190691 h 859821"/>
                <a:gd name="connsiteX122" fmla="*/ 1105662 w 1691544"/>
                <a:gd name="connsiteY122" fmla="*/ 200882 h 859821"/>
                <a:gd name="connsiteX123" fmla="*/ 1122807 w 1691544"/>
                <a:gd name="connsiteY123" fmla="*/ 204597 h 859821"/>
                <a:gd name="connsiteX124" fmla="*/ 1119854 w 1691544"/>
                <a:gd name="connsiteY124" fmla="*/ 196596 h 859821"/>
                <a:gd name="connsiteX125" fmla="*/ 1136046 w 1691544"/>
                <a:gd name="connsiteY125" fmla="*/ 203549 h 859821"/>
                <a:gd name="connsiteX126" fmla="*/ 1118425 w 1691544"/>
                <a:gd name="connsiteY126" fmla="*/ 179642 h 859821"/>
                <a:gd name="connsiteX127" fmla="*/ 1131379 w 1691544"/>
                <a:gd name="connsiteY127" fmla="*/ 180213 h 859821"/>
                <a:gd name="connsiteX128" fmla="*/ 1141571 w 1691544"/>
                <a:gd name="connsiteY128" fmla="*/ 197453 h 859821"/>
                <a:gd name="connsiteX129" fmla="*/ 1166336 w 1691544"/>
                <a:gd name="connsiteY129" fmla="*/ 185547 h 859821"/>
                <a:gd name="connsiteX130" fmla="*/ 1169670 w 1691544"/>
                <a:gd name="connsiteY130" fmla="*/ 177546 h 859821"/>
                <a:gd name="connsiteX131" fmla="*/ 1179195 w 1691544"/>
                <a:gd name="connsiteY131" fmla="*/ 176403 h 859821"/>
                <a:gd name="connsiteX132" fmla="*/ 1184148 w 1691544"/>
                <a:gd name="connsiteY132" fmla="*/ 161449 h 859821"/>
                <a:gd name="connsiteX133" fmla="*/ 1158144 w 1691544"/>
                <a:gd name="connsiteY133" fmla="*/ 140303 h 859821"/>
                <a:gd name="connsiteX134" fmla="*/ 1183862 w 1691544"/>
                <a:gd name="connsiteY134" fmla="*/ 123825 h 859821"/>
                <a:gd name="connsiteX135" fmla="*/ 1174337 w 1691544"/>
                <a:gd name="connsiteY135" fmla="*/ 114300 h 859821"/>
                <a:gd name="connsiteX136" fmla="*/ 1182243 w 1691544"/>
                <a:gd name="connsiteY136" fmla="*/ 106108 h 859821"/>
                <a:gd name="connsiteX137" fmla="*/ 1163764 w 1691544"/>
                <a:gd name="connsiteY137" fmla="*/ 91535 h 859821"/>
                <a:gd name="connsiteX138" fmla="*/ 1093470 w 1691544"/>
                <a:gd name="connsiteY138" fmla="*/ 100203 h 859821"/>
                <a:gd name="connsiteX139" fmla="*/ 1096423 w 1691544"/>
                <a:gd name="connsiteY139" fmla="*/ 120587 h 859821"/>
                <a:gd name="connsiteX140" fmla="*/ 1074801 w 1691544"/>
                <a:gd name="connsiteY140" fmla="*/ 173069 h 859821"/>
                <a:gd name="connsiteX141" fmla="*/ 1054418 w 1691544"/>
                <a:gd name="connsiteY141" fmla="*/ 131350 h 859821"/>
                <a:gd name="connsiteX142" fmla="*/ 1031367 w 1691544"/>
                <a:gd name="connsiteY142" fmla="*/ 104489 h 859821"/>
                <a:gd name="connsiteX143" fmla="*/ 1005554 w 1691544"/>
                <a:gd name="connsiteY143" fmla="*/ 136684 h 859821"/>
                <a:gd name="connsiteX144" fmla="*/ 1004602 w 1691544"/>
                <a:gd name="connsiteY144" fmla="*/ 97441 h 859821"/>
                <a:gd name="connsiteX145" fmla="*/ 959739 w 1691544"/>
                <a:gd name="connsiteY145" fmla="*/ 92392 h 859821"/>
                <a:gd name="connsiteX146" fmla="*/ 941641 w 1691544"/>
                <a:gd name="connsiteY146" fmla="*/ 11335 h 859821"/>
                <a:gd name="connsiteX147" fmla="*/ 920019 w 1691544"/>
                <a:gd name="connsiteY147" fmla="*/ 0 h 859821"/>
                <a:gd name="connsiteX148" fmla="*/ 900969 w 1691544"/>
                <a:gd name="connsiteY148" fmla="*/ 28575 h 859821"/>
                <a:gd name="connsiteX149" fmla="*/ 881919 w 1691544"/>
                <a:gd name="connsiteY149" fmla="*/ 28575 h 859821"/>
                <a:gd name="connsiteX150" fmla="*/ 896398 w 1691544"/>
                <a:gd name="connsiteY150" fmla="*/ 53816 h 859821"/>
                <a:gd name="connsiteX151" fmla="*/ 881253 w 1691544"/>
                <a:gd name="connsiteY151" fmla="*/ 75533 h 859821"/>
                <a:gd name="connsiteX152" fmla="*/ 937260 w 1691544"/>
                <a:gd name="connsiteY152" fmla="*/ 94583 h 859821"/>
                <a:gd name="connsiteX153" fmla="*/ 924306 w 1691544"/>
                <a:gd name="connsiteY153" fmla="*/ 105156 h 859821"/>
                <a:gd name="connsiteX154" fmla="*/ 919258 w 1691544"/>
                <a:gd name="connsiteY154" fmla="*/ 122777 h 859821"/>
                <a:gd name="connsiteX155" fmla="*/ 935450 w 1691544"/>
                <a:gd name="connsiteY155" fmla="*/ 110300 h 859821"/>
                <a:gd name="connsiteX156" fmla="*/ 944023 w 1691544"/>
                <a:gd name="connsiteY156" fmla="*/ 124301 h 859821"/>
                <a:gd name="connsiteX157" fmla="*/ 902398 w 1691544"/>
                <a:gd name="connsiteY157" fmla="*/ 142494 h 859821"/>
                <a:gd name="connsiteX158" fmla="*/ 895445 w 1691544"/>
                <a:gd name="connsiteY158" fmla="*/ 190119 h 859821"/>
                <a:gd name="connsiteX159" fmla="*/ 885920 w 1691544"/>
                <a:gd name="connsiteY159" fmla="*/ 144780 h 859821"/>
                <a:gd name="connsiteX160" fmla="*/ 859250 w 1691544"/>
                <a:gd name="connsiteY160" fmla="*/ 135255 h 859821"/>
                <a:gd name="connsiteX161" fmla="*/ 868775 w 1691544"/>
                <a:gd name="connsiteY161" fmla="*/ 157258 h 859821"/>
                <a:gd name="connsiteX162" fmla="*/ 769048 w 1691544"/>
                <a:gd name="connsiteY162" fmla="*/ 155067 h 859821"/>
                <a:gd name="connsiteX163" fmla="*/ 744855 w 1691544"/>
                <a:gd name="connsiteY163" fmla="*/ 138589 h 859821"/>
                <a:gd name="connsiteX164" fmla="*/ 723329 w 1691544"/>
                <a:gd name="connsiteY164" fmla="*/ 142875 h 859821"/>
                <a:gd name="connsiteX165" fmla="*/ 689324 w 1691544"/>
                <a:gd name="connsiteY165" fmla="*/ 114300 h 859821"/>
                <a:gd name="connsiteX166" fmla="*/ 647033 w 1691544"/>
                <a:gd name="connsiteY166" fmla="*/ 125063 h 859821"/>
                <a:gd name="connsiteX167" fmla="*/ 645509 w 1691544"/>
                <a:gd name="connsiteY167" fmla="*/ 146399 h 859821"/>
                <a:gd name="connsiteX168" fmla="*/ 657320 w 1691544"/>
                <a:gd name="connsiteY168" fmla="*/ 133636 h 859821"/>
                <a:gd name="connsiteX169" fmla="*/ 685038 w 1691544"/>
                <a:gd name="connsiteY169" fmla="*/ 139541 h 859821"/>
                <a:gd name="connsiteX170" fmla="*/ 665988 w 1691544"/>
                <a:gd name="connsiteY170" fmla="*/ 157639 h 859821"/>
                <a:gd name="connsiteX171" fmla="*/ 669227 w 1691544"/>
                <a:gd name="connsiteY171" fmla="*/ 197644 h 859821"/>
                <a:gd name="connsiteX172" fmla="*/ 645890 w 1691544"/>
                <a:gd name="connsiteY172" fmla="*/ 157067 h 859821"/>
                <a:gd name="connsiteX173" fmla="*/ 633889 w 1691544"/>
                <a:gd name="connsiteY173" fmla="*/ 170879 h 859821"/>
                <a:gd name="connsiteX174" fmla="*/ 613124 w 1691544"/>
                <a:gd name="connsiteY174" fmla="*/ 144399 h 859821"/>
                <a:gd name="connsiteX175" fmla="*/ 577310 w 1691544"/>
                <a:gd name="connsiteY175" fmla="*/ 159544 h 859821"/>
                <a:gd name="connsiteX176" fmla="*/ 514255 w 1691544"/>
                <a:gd name="connsiteY176" fmla="*/ 143828 h 859821"/>
                <a:gd name="connsiteX177" fmla="*/ 504730 w 1691544"/>
                <a:gd name="connsiteY177" fmla="*/ 111062 h 859821"/>
                <a:gd name="connsiteX178" fmla="*/ 472726 w 1691544"/>
                <a:gd name="connsiteY178" fmla="*/ 115919 h 859821"/>
                <a:gd name="connsiteX179" fmla="*/ 410813 w 1691544"/>
                <a:gd name="connsiteY179" fmla="*/ 103537 h 859821"/>
                <a:gd name="connsiteX180" fmla="*/ 389191 w 1691544"/>
                <a:gd name="connsiteY180" fmla="*/ 82582 h 859821"/>
                <a:gd name="connsiteX181" fmla="*/ 357473 w 1691544"/>
                <a:gd name="connsiteY181" fmla="*/ 85344 h 859821"/>
                <a:gd name="connsiteX182" fmla="*/ 349282 w 1691544"/>
                <a:gd name="connsiteY182" fmla="*/ 98774 h 859821"/>
                <a:gd name="connsiteX183" fmla="*/ 330232 w 1691544"/>
                <a:gd name="connsiteY183" fmla="*/ 100870 h 859821"/>
                <a:gd name="connsiteX184" fmla="*/ 325945 w 1691544"/>
                <a:gd name="connsiteY184" fmla="*/ 73628 h 859821"/>
                <a:gd name="connsiteX185" fmla="*/ 308420 w 1691544"/>
                <a:gd name="connsiteY185" fmla="*/ 102203 h 859821"/>
                <a:gd name="connsiteX186" fmla="*/ 274129 w 1691544"/>
                <a:gd name="connsiteY186" fmla="*/ 69247 h 859821"/>
                <a:gd name="connsiteX187" fmla="*/ 257556 w 1691544"/>
                <a:gd name="connsiteY187" fmla="*/ 56674 h 859821"/>
                <a:gd name="connsiteX188" fmla="*/ 237077 w 1691544"/>
                <a:gd name="connsiteY188" fmla="*/ 87440 h 859821"/>
                <a:gd name="connsiteX189" fmla="*/ 213550 w 1691544"/>
                <a:gd name="connsiteY189" fmla="*/ 90964 h 859821"/>
                <a:gd name="connsiteX190" fmla="*/ 206693 w 1691544"/>
                <a:gd name="connsiteY190" fmla="*/ 110014 h 859821"/>
                <a:gd name="connsiteX191" fmla="*/ 189929 w 1691544"/>
                <a:gd name="connsiteY191" fmla="*/ 105251 h 859821"/>
                <a:gd name="connsiteX192" fmla="*/ 176879 w 1691544"/>
                <a:gd name="connsiteY192" fmla="*/ 114776 h 859821"/>
                <a:gd name="connsiteX193" fmla="*/ 175736 w 1691544"/>
                <a:gd name="connsiteY193" fmla="*/ 128207 h 859821"/>
                <a:gd name="connsiteX194" fmla="*/ 157924 w 1691544"/>
                <a:gd name="connsiteY194" fmla="*/ 121920 h 859821"/>
                <a:gd name="connsiteX195" fmla="*/ 178403 w 1691544"/>
                <a:gd name="connsiteY195" fmla="*/ 94488 h 859821"/>
                <a:gd name="connsiteX196" fmla="*/ 199549 w 1691544"/>
                <a:gd name="connsiteY196" fmla="*/ 93440 h 859821"/>
                <a:gd name="connsiteX197" fmla="*/ 226600 w 1691544"/>
                <a:gd name="connsiteY197" fmla="*/ 76676 h 859821"/>
                <a:gd name="connsiteX198" fmla="*/ 224694 w 1691544"/>
                <a:gd name="connsiteY198" fmla="*/ 68485 h 859821"/>
                <a:gd name="connsiteX199" fmla="*/ 199358 w 1691544"/>
                <a:gd name="connsiteY199" fmla="*/ 72676 h 859821"/>
                <a:gd name="connsiteX200" fmla="*/ 193929 w 1691544"/>
                <a:gd name="connsiteY200" fmla="*/ 84773 h 859821"/>
                <a:gd name="connsiteX201" fmla="*/ 171259 w 1691544"/>
                <a:gd name="connsiteY201" fmla="*/ 83153 h 859821"/>
                <a:gd name="connsiteX202" fmla="*/ 132493 w 1691544"/>
                <a:gd name="connsiteY202" fmla="*/ 121920 h 859821"/>
                <a:gd name="connsiteX203" fmla="*/ 106775 w 1691544"/>
                <a:gd name="connsiteY203" fmla="*/ 115443 h 859821"/>
                <a:gd name="connsiteX204" fmla="*/ 102394 w 1691544"/>
                <a:gd name="connsiteY204" fmla="*/ 124968 h 859821"/>
                <a:gd name="connsiteX205" fmla="*/ 96869 w 1691544"/>
                <a:gd name="connsiteY205" fmla="*/ 115443 h 859821"/>
                <a:gd name="connsiteX206" fmla="*/ 47625 w 1691544"/>
                <a:gd name="connsiteY206" fmla="*/ 104204 h 859821"/>
                <a:gd name="connsiteX207" fmla="*/ 37147 w 1691544"/>
                <a:gd name="connsiteY207" fmla="*/ 95536 h 859821"/>
                <a:gd name="connsiteX208" fmla="*/ 0 w 1691544"/>
                <a:gd name="connsiteY208" fmla="*/ 88773 h 859821"/>
                <a:gd name="connsiteX209" fmla="*/ 0 w 1691544"/>
                <a:gd name="connsiteY209" fmla="*/ 88773 h 859821"/>
                <a:gd name="connsiteX210" fmla="*/ 0 w 1691544"/>
                <a:gd name="connsiteY210" fmla="*/ 381476 h 859821"/>
                <a:gd name="connsiteX211" fmla="*/ 41434 w 1691544"/>
                <a:gd name="connsiteY211" fmla="*/ 381476 h 859821"/>
                <a:gd name="connsiteX212" fmla="*/ 37338 w 1691544"/>
                <a:gd name="connsiteY212" fmla="*/ 393763 h 859821"/>
                <a:gd name="connsiteX213" fmla="*/ 74676 w 1691544"/>
                <a:gd name="connsiteY213" fmla="*/ 415290 h 859821"/>
                <a:gd name="connsiteX214" fmla="*/ 106775 w 1691544"/>
                <a:gd name="connsiteY214" fmla="*/ 401574 h 859821"/>
                <a:gd name="connsiteX215" fmla="*/ 154400 w 1691544"/>
                <a:gd name="connsiteY215" fmla="*/ 436245 h 859821"/>
                <a:gd name="connsiteX216" fmla="*/ 183832 w 1691544"/>
                <a:gd name="connsiteY216" fmla="*/ 491681 h 859821"/>
                <a:gd name="connsiteX217" fmla="*/ 217551 w 1691544"/>
                <a:gd name="connsiteY217" fmla="*/ 507683 h 859821"/>
                <a:gd name="connsiteX218" fmla="*/ 215265 w 1691544"/>
                <a:gd name="connsiteY218" fmla="*/ 521494 h 859821"/>
                <a:gd name="connsiteX219" fmla="*/ 219265 w 1691544"/>
                <a:gd name="connsiteY219" fmla="*/ 530447 h 859821"/>
                <a:gd name="connsiteX220" fmla="*/ 214217 w 1691544"/>
                <a:gd name="connsiteY220" fmla="*/ 537401 h 859821"/>
                <a:gd name="connsiteX221" fmla="*/ 214217 w 1691544"/>
                <a:gd name="connsiteY221" fmla="*/ 537401 h 859821"/>
                <a:gd name="connsiteX222" fmla="*/ 208693 w 1691544"/>
                <a:gd name="connsiteY222" fmla="*/ 557117 h 859821"/>
                <a:gd name="connsiteX223" fmla="*/ 228790 w 1691544"/>
                <a:gd name="connsiteY223" fmla="*/ 553974 h 859821"/>
                <a:gd name="connsiteX224" fmla="*/ 217361 w 1691544"/>
                <a:gd name="connsiteY224" fmla="*/ 564737 h 859821"/>
                <a:gd name="connsiteX225" fmla="*/ 217361 w 1691544"/>
                <a:gd name="connsiteY225" fmla="*/ 570452 h 859821"/>
                <a:gd name="connsiteX226" fmla="*/ 241839 w 1691544"/>
                <a:gd name="connsiteY226" fmla="*/ 579977 h 859821"/>
                <a:gd name="connsiteX227" fmla="*/ 251364 w 1691544"/>
                <a:gd name="connsiteY227" fmla="*/ 612362 h 859821"/>
                <a:gd name="connsiteX228" fmla="*/ 283083 w 1691544"/>
                <a:gd name="connsiteY228" fmla="*/ 612362 h 859821"/>
                <a:gd name="connsiteX229" fmla="*/ 260318 w 1691544"/>
                <a:gd name="connsiteY229" fmla="*/ 631412 h 859821"/>
                <a:gd name="connsiteX230" fmla="*/ 262223 w 1691544"/>
                <a:gd name="connsiteY230" fmla="*/ 645128 h 859821"/>
                <a:gd name="connsiteX231" fmla="*/ 285369 w 1691544"/>
                <a:gd name="connsiteY231" fmla="*/ 651415 h 859821"/>
                <a:gd name="connsiteX232" fmla="*/ 290417 w 1691544"/>
                <a:gd name="connsiteY232" fmla="*/ 657892 h 859821"/>
                <a:gd name="connsiteX233" fmla="*/ 301657 w 1691544"/>
                <a:gd name="connsiteY233" fmla="*/ 650653 h 859821"/>
                <a:gd name="connsiteX234" fmla="*/ 298704 w 1691544"/>
                <a:gd name="connsiteY234" fmla="*/ 661130 h 859821"/>
                <a:gd name="connsiteX235" fmla="*/ 305562 w 1691544"/>
                <a:gd name="connsiteY235" fmla="*/ 665702 h 859821"/>
                <a:gd name="connsiteX236" fmla="*/ 309181 w 1691544"/>
                <a:gd name="connsiteY236" fmla="*/ 656177 h 859821"/>
                <a:gd name="connsiteX237" fmla="*/ 313754 w 1691544"/>
                <a:gd name="connsiteY237" fmla="*/ 665702 h 859821"/>
                <a:gd name="connsiteX238" fmla="*/ 320993 w 1691544"/>
                <a:gd name="connsiteY238" fmla="*/ 651986 h 859821"/>
                <a:gd name="connsiteX239" fmla="*/ 337471 w 1691544"/>
                <a:gd name="connsiteY239" fmla="*/ 679513 h 859821"/>
                <a:gd name="connsiteX240" fmla="*/ 337471 w 1691544"/>
                <a:gd name="connsiteY240" fmla="*/ 689038 h 859821"/>
                <a:gd name="connsiteX241" fmla="*/ 346424 w 1691544"/>
                <a:gd name="connsiteY241" fmla="*/ 692277 h 859821"/>
                <a:gd name="connsiteX242" fmla="*/ 356711 w 1691544"/>
                <a:gd name="connsiteY242" fmla="*/ 687800 h 859821"/>
                <a:gd name="connsiteX243" fmla="*/ 352330 w 1691544"/>
                <a:gd name="connsiteY243" fmla="*/ 698373 h 859821"/>
                <a:gd name="connsiteX244" fmla="*/ 361855 w 1691544"/>
                <a:gd name="connsiteY244" fmla="*/ 701612 h 859821"/>
                <a:gd name="connsiteX245" fmla="*/ 908875 w 1691544"/>
                <a:gd name="connsiteY245" fmla="*/ 701612 h 859821"/>
                <a:gd name="connsiteX246" fmla="*/ 908875 w 1691544"/>
                <a:gd name="connsiteY246" fmla="*/ 692087 h 859821"/>
                <a:gd name="connsiteX247" fmla="*/ 915162 w 1691544"/>
                <a:gd name="connsiteY247" fmla="*/ 693706 h 859821"/>
                <a:gd name="connsiteX248" fmla="*/ 918114 w 1691544"/>
                <a:gd name="connsiteY248" fmla="*/ 707136 h 859821"/>
                <a:gd name="connsiteX249" fmla="*/ 934022 w 1691544"/>
                <a:gd name="connsiteY249" fmla="*/ 710470 h 859821"/>
                <a:gd name="connsiteX250" fmla="*/ 938689 w 1691544"/>
                <a:gd name="connsiteY250" fmla="*/ 715613 h 859821"/>
                <a:gd name="connsiteX251" fmla="*/ 946499 w 1691544"/>
                <a:gd name="connsiteY251" fmla="*/ 710470 h 859821"/>
                <a:gd name="connsiteX252" fmla="*/ 961358 w 1691544"/>
                <a:gd name="connsiteY252" fmla="*/ 714851 h 859821"/>
                <a:gd name="connsiteX253" fmla="*/ 964882 w 1691544"/>
                <a:gd name="connsiteY253" fmla="*/ 722567 h 859821"/>
                <a:gd name="connsiteX254" fmla="*/ 972312 w 1691544"/>
                <a:gd name="connsiteY254" fmla="*/ 718471 h 859821"/>
                <a:gd name="connsiteX255" fmla="*/ 982503 w 1691544"/>
                <a:gd name="connsiteY255" fmla="*/ 724662 h 859821"/>
                <a:gd name="connsiteX256" fmla="*/ 993362 w 1691544"/>
                <a:gd name="connsiteY256" fmla="*/ 717899 h 859821"/>
                <a:gd name="connsiteX257" fmla="*/ 996410 w 1691544"/>
                <a:gd name="connsiteY257" fmla="*/ 723900 h 859821"/>
                <a:gd name="connsiteX258" fmla="*/ 1007936 w 1691544"/>
                <a:gd name="connsiteY258" fmla="*/ 723043 h 859821"/>
                <a:gd name="connsiteX259" fmla="*/ 1024033 w 1691544"/>
                <a:gd name="connsiteY259" fmla="*/ 727424 h 859821"/>
                <a:gd name="connsiteX260" fmla="*/ 1059180 w 1691544"/>
                <a:gd name="connsiteY260" fmla="*/ 700659 h 859821"/>
                <a:gd name="connsiteX261" fmla="*/ 1086517 w 1691544"/>
                <a:gd name="connsiteY261" fmla="*/ 703136 h 859821"/>
                <a:gd name="connsiteX262" fmla="*/ 1100899 w 1691544"/>
                <a:gd name="connsiteY262" fmla="*/ 725519 h 859821"/>
                <a:gd name="connsiteX263" fmla="*/ 1117949 w 1691544"/>
                <a:gd name="connsiteY263" fmla="*/ 726758 h 859821"/>
                <a:gd name="connsiteX264" fmla="*/ 1130618 w 1691544"/>
                <a:gd name="connsiteY264" fmla="*/ 758666 h 859821"/>
                <a:gd name="connsiteX265" fmla="*/ 1197959 w 1691544"/>
                <a:gd name="connsiteY265" fmla="*/ 773240 h 859821"/>
                <a:gd name="connsiteX266" fmla="*/ 1219581 w 1691544"/>
                <a:gd name="connsiteY266" fmla="*/ 801243 h 859821"/>
                <a:gd name="connsiteX267" fmla="*/ 1211866 w 1691544"/>
                <a:gd name="connsiteY267" fmla="*/ 814673 h 859821"/>
                <a:gd name="connsiteX268" fmla="*/ 1186053 w 1691544"/>
                <a:gd name="connsiteY268" fmla="*/ 792385 h 859821"/>
                <a:gd name="connsiteX269" fmla="*/ 1181386 w 1691544"/>
                <a:gd name="connsiteY269" fmla="*/ 836962 h 859821"/>
                <a:gd name="connsiteX270" fmla="*/ 1167003 w 1691544"/>
                <a:gd name="connsiteY270" fmla="*/ 847154 h 859821"/>
                <a:gd name="connsiteX271" fmla="*/ 1176528 w 1691544"/>
                <a:gd name="connsiteY271" fmla="*/ 859822 h 859821"/>
                <a:gd name="connsiteX272" fmla="*/ 1187386 w 1691544"/>
                <a:gd name="connsiteY272" fmla="*/ 850297 h 859821"/>
                <a:gd name="connsiteX273" fmla="*/ 1219390 w 1691544"/>
                <a:gd name="connsiteY273" fmla="*/ 845630 h 859821"/>
                <a:gd name="connsiteX274" fmla="*/ 1235487 w 1691544"/>
                <a:gd name="connsiteY274" fmla="*/ 824389 h 859821"/>
                <a:gd name="connsiteX275" fmla="*/ 1275874 w 1691544"/>
                <a:gd name="connsiteY275" fmla="*/ 819722 h 859821"/>
                <a:gd name="connsiteX276" fmla="*/ 1279779 w 1691544"/>
                <a:gd name="connsiteY276" fmla="*/ 821341 h 859821"/>
                <a:gd name="connsiteX277" fmla="*/ 1279779 w 1691544"/>
                <a:gd name="connsiteY277" fmla="*/ 821341 h 859821"/>
                <a:gd name="connsiteX278" fmla="*/ 1290923 w 1691544"/>
                <a:gd name="connsiteY278" fmla="*/ 814388 h 859821"/>
                <a:gd name="connsiteX279" fmla="*/ 1307687 w 1691544"/>
                <a:gd name="connsiteY279" fmla="*/ 799052 h 859821"/>
                <a:gd name="connsiteX280" fmla="*/ 1377029 w 1691544"/>
                <a:gd name="connsiteY280" fmla="*/ 799052 h 859821"/>
                <a:gd name="connsiteX281" fmla="*/ 1379411 w 1691544"/>
                <a:gd name="connsiteY281" fmla="*/ 792385 h 859821"/>
                <a:gd name="connsiteX282" fmla="*/ 1384554 w 1691544"/>
                <a:gd name="connsiteY282" fmla="*/ 792385 h 859821"/>
                <a:gd name="connsiteX283" fmla="*/ 1387602 w 1691544"/>
                <a:gd name="connsiteY283" fmla="*/ 788860 h 859821"/>
                <a:gd name="connsiteX284" fmla="*/ 1393317 w 1691544"/>
                <a:gd name="connsiteY284" fmla="*/ 791813 h 859821"/>
                <a:gd name="connsiteX285" fmla="*/ 1393317 w 1691544"/>
                <a:gd name="connsiteY285" fmla="*/ 785432 h 859821"/>
                <a:gd name="connsiteX286" fmla="*/ 1402842 w 1691544"/>
                <a:gd name="connsiteY286" fmla="*/ 779717 h 859821"/>
                <a:gd name="connsiteX287" fmla="*/ 1400270 w 1691544"/>
                <a:gd name="connsiteY287" fmla="*/ 772954 h 859821"/>
                <a:gd name="connsiteX288" fmla="*/ 1402842 w 1691544"/>
                <a:gd name="connsiteY288" fmla="*/ 765334 h 859821"/>
                <a:gd name="connsiteX289" fmla="*/ 1405890 w 1691544"/>
                <a:gd name="connsiteY289" fmla="*/ 764096 h 859821"/>
                <a:gd name="connsiteX290" fmla="*/ 1406461 w 1691544"/>
                <a:gd name="connsiteY290" fmla="*/ 758000 h 859821"/>
                <a:gd name="connsiteX291" fmla="*/ 1421702 w 1691544"/>
                <a:gd name="connsiteY291" fmla="*/ 738950 h 859821"/>
                <a:gd name="connsiteX292" fmla="*/ 1425797 w 1691544"/>
                <a:gd name="connsiteY292" fmla="*/ 738950 h 859821"/>
                <a:gd name="connsiteX293" fmla="*/ 1425797 w 1691544"/>
                <a:gd name="connsiteY293" fmla="*/ 743426 h 859821"/>
                <a:gd name="connsiteX294" fmla="*/ 1428845 w 1691544"/>
                <a:gd name="connsiteY294" fmla="*/ 745617 h 859821"/>
                <a:gd name="connsiteX295" fmla="*/ 1440275 w 1691544"/>
                <a:gd name="connsiteY295" fmla="*/ 741521 h 859821"/>
                <a:gd name="connsiteX296" fmla="*/ 1450562 w 1691544"/>
                <a:gd name="connsiteY296" fmla="*/ 748856 h 859821"/>
                <a:gd name="connsiteX297" fmla="*/ 1450562 w 1691544"/>
                <a:gd name="connsiteY297" fmla="*/ 782288 h 859821"/>
                <a:gd name="connsiteX298" fmla="*/ 1457801 w 1691544"/>
                <a:gd name="connsiteY298" fmla="*/ 785146 h 859821"/>
                <a:gd name="connsiteX299" fmla="*/ 1457801 w 1691544"/>
                <a:gd name="connsiteY299" fmla="*/ 793433 h 859821"/>
                <a:gd name="connsiteX300" fmla="*/ 1462468 w 1691544"/>
                <a:gd name="connsiteY300" fmla="*/ 794861 h 859821"/>
                <a:gd name="connsiteX301" fmla="*/ 1491806 w 1691544"/>
                <a:gd name="connsiteY301" fmla="*/ 792861 h 859821"/>
                <a:gd name="connsiteX302" fmla="*/ 1510856 w 1691544"/>
                <a:gd name="connsiteY302" fmla="*/ 772859 h 859821"/>
                <a:gd name="connsiteX303" fmla="*/ 1507236 w 1691544"/>
                <a:gd name="connsiteY303" fmla="*/ 790766 h 859821"/>
                <a:gd name="connsiteX304" fmla="*/ 1516189 w 1691544"/>
                <a:gd name="connsiteY304" fmla="*/ 791242 h 859821"/>
                <a:gd name="connsiteX305" fmla="*/ 1497139 w 1691544"/>
                <a:gd name="connsiteY305" fmla="*/ 804672 h 859821"/>
                <a:gd name="connsiteX306" fmla="*/ 1482281 w 1691544"/>
                <a:gd name="connsiteY306" fmla="*/ 813626 h 859821"/>
                <a:gd name="connsiteX307" fmla="*/ 1496473 w 1691544"/>
                <a:gd name="connsiteY307" fmla="*/ 836867 h 859821"/>
                <a:gd name="connsiteX308" fmla="*/ 1520571 w 1691544"/>
                <a:gd name="connsiteY308" fmla="*/ 817340 h 859821"/>
                <a:gd name="connsiteX309" fmla="*/ 1518761 w 1691544"/>
                <a:gd name="connsiteY309" fmla="*/ 804386 h 859821"/>
                <a:gd name="connsiteX310" fmla="*/ 1548669 w 1691544"/>
                <a:gd name="connsiteY310" fmla="*/ 806291 h 859821"/>
                <a:gd name="connsiteX311" fmla="*/ 1571149 w 1691544"/>
                <a:gd name="connsiteY311" fmla="*/ 794861 h 859821"/>
                <a:gd name="connsiteX312" fmla="*/ 1585627 w 1691544"/>
                <a:gd name="connsiteY312" fmla="*/ 792861 h 859821"/>
                <a:gd name="connsiteX313" fmla="*/ 1566577 w 1691544"/>
                <a:gd name="connsiteY313" fmla="*/ 777716 h 859821"/>
                <a:gd name="connsiteX314" fmla="*/ 1550003 w 1691544"/>
                <a:gd name="connsiteY314" fmla="*/ 784289 h 859821"/>
                <a:gd name="connsiteX315" fmla="*/ 1511427 w 1691544"/>
                <a:gd name="connsiteY315" fmla="*/ 767144 h 859821"/>
                <a:gd name="connsiteX316" fmla="*/ 1509427 w 1691544"/>
                <a:gd name="connsiteY316" fmla="*/ 748094 h 859821"/>
                <a:gd name="connsiteX317" fmla="*/ 1498187 w 1691544"/>
                <a:gd name="connsiteY317" fmla="*/ 748094 h 859821"/>
                <a:gd name="connsiteX318" fmla="*/ 1511712 w 1691544"/>
                <a:gd name="connsiteY318" fmla="*/ 732282 h 859821"/>
                <a:gd name="connsiteX319" fmla="*/ 1488948 w 1691544"/>
                <a:gd name="connsiteY319" fmla="*/ 727805 h 859821"/>
                <a:gd name="connsiteX320" fmla="*/ 1468755 w 1691544"/>
                <a:gd name="connsiteY320" fmla="*/ 725710 h 859821"/>
                <a:gd name="connsiteX321" fmla="*/ 1487805 w 1691544"/>
                <a:gd name="connsiteY321" fmla="*/ 720376 h 859821"/>
                <a:gd name="connsiteX322" fmla="*/ 1499711 w 1691544"/>
                <a:gd name="connsiteY322" fmla="*/ 725710 h 859821"/>
                <a:gd name="connsiteX323" fmla="*/ 1521143 w 1691544"/>
                <a:gd name="connsiteY323" fmla="*/ 713518 h 859821"/>
                <a:gd name="connsiteX324" fmla="*/ 1522952 w 1691544"/>
                <a:gd name="connsiteY324" fmla="*/ 698563 h 859821"/>
                <a:gd name="connsiteX325" fmla="*/ 1496758 w 1691544"/>
                <a:gd name="connsiteY325" fmla="*/ 694754 h 859821"/>
                <a:gd name="connsiteX326" fmla="*/ 1473327 w 1691544"/>
                <a:gd name="connsiteY326" fmla="*/ 698373 h 859821"/>
                <a:gd name="connsiteX327" fmla="*/ 1420749 w 1691544"/>
                <a:gd name="connsiteY327" fmla="*/ 725329 h 859821"/>
                <a:gd name="connsiteX328" fmla="*/ 1393412 w 1691544"/>
                <a:gd name="connsiteY328" fmla="*/ 753904 h 859821"/>
                <a:gd name="connsiteX329" fmla="*/ 1417701 w 1691544"/>
                <a:gd name="connsiteY329" fmla="*/ 711899 h 859821"/>
                <a:gd name="connsiteX330" fmla="*/ 1458753 w 1691544"/>
                <a:gd name="connsiteY330" fmla="*/ 692849 h 859821"/>
                <a:gd name="connsiteX331" fmla="*/ 1476565 w 1691544"/>
                <a:gd name="connsiteY331" fmla="*/ 669131 h 859821"/>
                <a:gd name="connsiteX332" fmla="*/ 1538383 w 1691544"/>
                <a:gd name="connsiteY332" fmla="*/ 662654 h 859821"/>
                <a:gd name="connsiteX333" fmla="*/ 1598676 w 1691544"/>
                <a:gd name="connsiteY333" fmla="*/ 674751 h 859821"/>
                <a:gd name="connsiteX334" fmla="*/ 1624203 w 1691544"/>
                <a:gd name="connsiteY334" fmla="*/ 655701 h 859821"/>
                <a:gd name="connsiteX335" fmla="*/ 1631156 w 1691544"/>
                <a:gd name="connsiteY335" fmla="*/ 641890 h 859821"/>
                <a:gd name="connsiteX336" fmla="*/ 1665161 w 1691544"/>
                <a:gd name="connsiteY336" fmla="*/ 637318 h 859821"/>
                <a:gd name="connsiteX337" fmla="*/ 1688211 w 1691544"/>
                <a:gd name="connsiteY337" fmla="*/ 615315 h 859821"/>
                <a:gd name="connsiteX338" fmla="*/ 1691544 w 1691544"/>
                <a:gd name="connsiteY338" fmla="*/ 615315 h 85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1691544" h="859821">
                  <a:moveTo>
                    <a:pt x="1688878" y="589883"/>
                  </a:moveTo>
                  <a:lnTo>
                    <a:pt x="1665065" y="574738"/>
                  </a:lnTo>
                  <a:lnTo>
                    <a:pt x="1657159" y="583025"/>
                  </a:lnTo>
                  <a:lnTo>
                    <a:pt x="1661446" y="569214"/>
                  </a:lnTo>
                  <a:lnTo>
                    <a:pt x="1643919" y="561023"/>
                  </a:lnTo>
                  <a:lnTo>
                    <a:pt x="1643919" y="567595"/>
                  </a:lnTo>
                  <a:lnTo>
                    <a:pt x="1607058" y="580263"/>
                  </a:lnTo>
                  <a:lnTo>
                    <a:pt x="1602391" y="587597"/>
                  </a:lnTo>
                  <a:lnTo>
                    <a:pt x="1596485" y="587597"/>
                  </a:lnTo>
                  <a:lnTo>
                    <a:pt x="1602867" y="569214"/>
                  </a:lnTo>
                  <a:lnTo>
                    <a:pt x="1631442" y="567595"/>
                  </a:lnTo>
                  <a:lnTo>
                    <a:pt x="1637347" y="561023"/>
                  </a:lnTo>
                  <a:lnTo>
                    <a:pt x="1657445" y="551498"/>
                  </a:lnTo>
                  <a:lnTo>
                    <a:pt x="1617250" y="541020"/>
                  </a:lnTo>
                  <a:lnTo>
                    <a:pt x="1621536" y="533591"/>
                  </a:lnTo>
                  <a:lnTo>
                    <a:pt x="1606296" y="540068"/>
                  </a:lnTo>
                  <a:lnTo>
                    <a:pt x="1609249" y="530543"/>
                  </a:lnTo>
                  <a:lnTo>
                    <a:pt x="1601057" y="528923"/>
                  </a:lnTo>
                  <a:lnTo>
                    <a:pt x="1591532" y="539687"/>
                  </a:lnTo>
                  <a:lnTo>
                    <a:pt x="1578293" y="506159"/>
                  </a:lnTo>
                  <a:lnTo>
                    <a:pt x="1565148" y="505682"/>
                  </a:lnTo>
                  <a:lnTo>
                    <a:pt x="1572387" y="497491"/>
                  </a:lnTo>
                  <a:lnTo>
                    <a:pt x="1561529" y="492442"/>
                  </a:lnTo>
                  <a:lnTo>
                    <a:pt x="1572387" y="480441"/>
                  </a:lnTo>
                  <a:lnTo>
                    <a:pt x="1556195" y="451866"/>
                  </a:lnTo>
                  <a:lnTo>
                    <a:pt x="1539049" y="457295"/>
                  </a:lnTo>
                  <a:lnTo>
                    <a:pt x="1546003" y="445580"/>
                  </a:lnTo>
                  <a:lnTo>
                    <a:pt x="1532763" y="445580"/>
                  </a:lnTo>
                  <a:lnTo>
                    <a:pt x="1542288" y="432435"/>
                  </a:lnTo>
                  <a:lnTo>
                    <a:pt x="1524476" y="428911"/>
                  </a:lnTo>
                  <a:lnTo>
                    <a:pt x="1532668" y="419386"/>
                  </a:lnTo>
                  <a:lnTo>
                    <a:pt x="1523143" y="415576"/>
                  </a:lnTo>
                  <a:lnTo>
                    <a:pt x="1522095" y="402622"/>
                  </a:lnTo>
                  <a:lnTo>
                    <a:pt x="1512570" y="405670"/>
                  </a:lnTo>
                  <a:lnTo>
                    <a:pt x="1517713" y="394049"/>
                  </a:lnTo>
                  <a:lnTo>
                    <a:pt x="1508760" y="390334"/>
                  </a:lnTo>
                  <a:lnTo>
                    <a:pt x="1499235" y="428434"/>
                  </a:lnTo>
                  <a:lnTo>
                    <a:pt x="1488091" y="428911"/>
                  </a:lnTo>
                  <a:lnTo>
                    <a:pt x="1484376" y="447961"/>
                  </a:lnTo>
                  <a:lnTo>
                    <a:pt x="1478185" y="433292"/>
                  </a:lnTo>
                  <a:lnTo>
                    <a:pt x="1456372" y="449294"/>
                  </a:lnTo>
                  <a:lnTo>
                    <a:pt x="1451705" y="458819"/>
                  </a:lnTo>
                  <a:lnTo>
                    <a:pt x="1447609" y="446913"/>
                  </a:lnTo>
                  <a:lnTo>
                    <a:pt x="1442942" y="456438"/>
                  </a:lnTo>
                  <a:lnTo>
                    <a:pt x="1419034" y="462820"/>
                  </a:lnTo>
                  <a:lnTo>
                    <a:pt x="1442180" y="441293"/>
                  </a:lnTo>
                  <a:lnTo>
                    <a:pt x="1421320" y="420148"/>
                  </a:lnTo>
                  <a:lnTo>
                    <a:pt x="1411795" y="420148"/>
                  </a:lnTo>
                  <a:lnTo>
                    <a:pt x="1411795" y="407384"/>
                  </a:lnTo>
                  <a:lnTo>
                    <a:pt x="1392745" y="401384"/>
                  </a:lnTo>
                  <a:lnTo>
                    <a:pt x="1414367" y="399479"/>
                  </a:lnTo>
                  <a:lnTo>
                    <a:pt x="1419320" y="372237"/>
                  </a:lnTo>
                  <a:lnTo>
                    <a:pt x="1404175" y="365284"/>
                  </a:lnTo>
                  <a:lnTo>
                    <a:pt x="1375600" y="365284"/>
                  </a:lnTo>
                  <a:lnTo>
                    <a:pt x="1375600" y="350711"/>
                  </a:lnTo>
                  <a:lnTo>
                    <a:pt x="1362932" y="353663"/>
                  </a:lnTo>
                  <a:lnTo>
                    <a:pt x="1365409" y="346424"/>
                  </a:lnTo>
                  <a:lnTo>
                    <a:pt x="1343597" y="329756"/>
                  </a:lnTo>
                  <a:lnTo>
                    <a:pt x="1334072" y="322231"/>
                  </a:lnTo>
                  <a:lnTo>
                    <a:pt x="1314259" y="332994"/>
                  </a:lnTo>
                  <a:lnTo>
                    <a:pt x="1289875" y="332994"/>
                  </a:lnTo>
                  <a:lnTo>
                    <a:pt x="1290447" y="316802"/>
                  </a:lnTo>
                  <a:lnTo>
                    <a:pt x="1258824" y="318516"/>
                  </a:lnTo>
                  <a:lnTo>
                    <a:pt x="1246251" y="327088"/>
                  </a:lnTo>
                  <a:lnTo>
                    <a:pt x="1258824" y="352901"/>
                  </a:lnTo>
                  <a:lnTo>
                    <a:pt x="1244536" y="367189"/>
                  </a:lnTo>
                  <a:lnTo>
                    <a:pt x="1257872" y="375475"/>
                  </a:lnTo>
                  <a:lnTo>
                    <a:pt x="1252728" y="390620"/>
                  </a:lnTo>
                  <a:lnTo>
                    <a:pt x="1264444" y="401003"/>
                  </a:lnTo>
                  <a:lnTo>
                    <a:pt x="1237012" y="440436"/>
                  </a:lnTo>
                  <a:lnTo>
                    <a:pt x="1276350" y="478536"/>
                  </a:lnTo>
                  <a:lnTo>
                    <a:pt x="1265491" y="522161"/>
                  </a:lnTo>
                  <a:lnTo>
                    <a:pt x="1213675" y="549497"/>
                  </a:lnTo>
                  <a:lnTo>
                    <a:pt x="1230820" y="572453"/>
                  </a:lnTo>
                  <a:lnTo>
                    <a:pt x="1226915" y="591503"/>
                  </a:lnTo>
                  <a:lnTo>
                    <a:pt x="1241012" y="618268"/>
                  </a:lnTo>
                  <a:lnTo>
                    <a:pt x="1230153" y="621792"/>
                  </a:lnTo>
                  <a:lnTo>
                    <a:pt x="1230820" y="645224"/>
                  </a:lnTo>
                  <a:lnTo>
                    <a:pt x="1219200" y="631412"/>
                  </a:lnTo>
                  <a:lnTo>
                    <a:pt x="1218533" y="653606"/>
                  </a:lnTo>
                  <a:lnTo>
                    <a:pt x="1171765" y="617601"/>
                  </a:lnTo>
                  <a:lnTo>
                    <a:pt x="1160812" y="561594"/>
                  </a:lnTo>
                  <a:lnTo>
                    <a:pt x="1170337" y="545497"/>
                  </a:lnTo>
                  <a:lnTo>
                    <a:pt x="1163669" y="535972"/>
                  </a:lnTo>
                  <a:lnTo>
                    <a:pt x="1116044" y="533305"/>
                  </a:lnTo>
                  <a:lnTo>
                    <a:pt x="1103662" y="542830"/>
                  </a:lnTo>
                  <a:lnTo>
                    <a:pt x="1102137" y="528923"/>
                  </a:lnTo>
                  <a:lnTo>
                    <a:pt x="1058323" y="512921"/>
                  </a:lnTo>
                  <a:lnTo>
                    <a:pt x="1034224" y="489966"/>
                  </a:lnTo>
                  <a:lnTo>
                    <a:pt x="991267" y="478060"/>
                  </a:lnTo>
                  <a:lnTo>
                    <a:pt x="954024" y="488156"/>
                  </a:lnTo>
                  <a:lnTo>
                    <a:pt x="960787" y="470249"/>
                  </a:lnTo>
                  <a:lnTo>
                    <a:pt x="946975" y="436626"/>
                  </a:lnTo>
                  <a:lnTo>
                    <a:pt x="927925" y="436626"/>
                  </a:lnTo>
                  <a:lnTo>
                    <a:pt x="925258" y="444437"/>
                  </a:lnTo>
                  <a:lnTo>
                    <a:pt x="911352" y="428816"/>
                  </a:lnTo>
                  <a:lnTo>
                    <a:pt x="915352" y="386525"/>
                  </a:lnTo>
                  <a:lnTo>
                    <a:pt x="931545" y="355854"/>
                  </a:lnTo>
                  <a:lnTo>
                    <a:pt x="946023" y="346329"/>
                  </a:lnTo>
                  <a:lnTo>
                    <a:pt x="941070" y="336804"/>
                  </a:lnTo>
                  <a:lnTo>
                    <a:pt x="955262" y="332613"/>
                  </a:lnTo>
                  <a:lnTo>
                    <a:pt x="952690" y="322517"/>
                  </a:lnTo>
                  <a:lnTo>
                    <a:pt x="967835" y="324612"/>
                  </a:lnTo>
                  <a:lnTo>
                    <a:pt x="961930" y="312230"/>
                  </a:lnTo>
                  <a:lnTo>
                    <a:pt x="983646" y="313277"/>
                  </a:lnTo>
                  <a:lnTo>
                    <a:pt x="997934" y="303752"/>
                  </a:lnTo>
                  <a:lnTo>
                    <a:pt x="978884" y="284702"/>
                  </a:lnTo>
                  <a:lnTo>
                    <a:pt x="968597" y="293561"/>
                  </a:lnTo>
                  <a:lnTo>
                    <a:pt x="945642" y="280130"/>
                  </a:lnTo>
                  <a:lnTo>
                    <a:pt x="941261" y="265843"/>
                  </a:lnTo>
                  <a:lnTo>
                    <a:pt x="1001363" y="286798"/>
                  </a:lnTo>
                  <a:lnTo>
                    <a:pt x="1010888" y="269177"/>
                  </a:lnTo>
                  <a:lnTo>
                    <a:pt x="1023556" y="277559"/>
                  </a:lnTo>
                  <a:lnTo>
                    <a:pt x="1026890" y="268034"/>
                  </a:lnTo>
                  <a:lnTo>
                    <a:pt x="1050893" y="268034"/>
                  </a:lnTo>
                  <a:lnTo>
                    <a:pt x="1069943" y="234125"/>
                  </a:lnTo>
                  <a:lnTo>
                    <a:pt x="1030033" y="230981"/>
                  </a:lnTo>
                  <a:lnTo>
                    <a:pt x="981456" y="211074"/>
                  </a:lnTo>
                  <a:lnTo>
                    <a:pt x="1025176" y="205359"/>
                  </a:lnTo>
                  <a:lnTo>
                    <a:pt x="1063943" y="226600"/>
                  </a:lnTo>
                  <a:lnTo>
                    <a:pt x="1075277" y="192215"/>
                  </a:lnTo>
                  <a:lnTo>
                    <a:pt x="1100709" y="190691"/>
                  </a:lnTo>
                  <a:lnTo>
                    <a:pt x="1105662" y="200882"/>
                  </a:lnTo>
                  <a:lnTo>
                    <a:pt x="1122807" y="204597"/>
                  </a:lnTo>
                  <a:lnTo>
                    <a:pt x="1119854" y="196596"/>
                  </a:lnTo>
                  <a:lnTo>
                    <a:pt x="1136046" y="203549"/>
                  </a:lnTo>
                  <a:lnTo>
                    <a:pt x="1118425" y="179642"/>
                  </a:lnTo>
                  <a:lnTo>
                    <a:pt x="1131379" y="180213"/>
                  </a:lnTo>
                  <a:lnTo>
                    <a:pt x="1141571" y="197453"/>
                  </a:lnTo>
                  <a:lnTo>
                    <a:pt x="1166336" y="185547"/>
                  </a:lnTo>
                  <a:lnTo>
                    <a:pt x="1169670" y="177546"/>
                  </a:lnTo>
                  <a:lnTo>
                    <a:pt x="1179195" y="176403"/>
                  </a:lnTo>
                  <a:lnTo>
                    <a:pt x="1184148" y="161449"/>
                  </a:lnTo>
                  <a:lnTo>
                    <a:pt x="1158144" y="140303"/>
                  </a:lnTo>
                  <a:lnTo>
                    <a:pt x="1183862" y="123825"/>
                  </a:lnTo>
                  <a:lnTo>
                    <a:pt x="1174337" y="114300"/>
                  </a:lnTo>
                  <a:lnTo>
                    <a:pt x="1182243" y="106108"/>
                  </a:lnTo>
                  <a:lnTo>
                    <a:pt x="1163764" y="91535"/>
                  </a:lnTo>
                  <a:lnTo>
                    <a:pt x="1093470" y="100203"/>
                  </a:lnTo>
                  <a:lnTo>
                    <a:pt x="1096423" y="120587"/>
                  </a:lnTo>
                  <a:lnTo>
                    <a:pt x="1074801" y="173069"/>
                  </a:lnTo>
                  <a:lnTo>
                    <a:pt x="1054418" y="131350"/>
                  </a:lnTo>
                  <a:lnTo>
                    <a:pt x="1031367" y="104489"/>
                  </a:lnTo>
                  <a:lnTo>
                    <a:pt x="1005554" y="136684"/>
                  </a:lnTo>
                  <a:lnTo>
                    <a:pt x="1004602" y="97441"/>
                  </a:lnTo>
                  <a:lnTo>
                    <a:pt x="959739" y="92392"/>
                  </a:lnTo>
                  <a:lnTo>
                    <a:pt x="941641" y="11335"/>
                  </a:lnTo>
                  <a:lnTo>
                    <a:pt x="920019" y="0"/>
                  </a:lnTo>
                  <a:lnTo>
                    <a:pt x="900969" y="28575"/>
                  </a:lnTo>
                  <a:lnTo>
                    <a:pt x="881919" y="28575"/>
                  </a:lnTo>
                  <a:lnTo>
                    <a:pt x="896398" y="53816"/>
                  </a:lnTo>
                  <a:lnTo>
                    <a:pt x="881253" y="75533"/>
                  </a:lnTo>
                  <a:lnTo>
                    <a:pt x="937260" y="94583"/>
                  </a:lnTo>
                  <a:lnTo>
                    <a:pt x="924306" y="105156"/>
                  </a:lnTo>
                  <a:lnTo>
                    <a:pt x="919258" y="122777"/>
                  </a:lnTo>
                  <a:lnTo>
                    <a:pt x="935450" y="110300"/>
                  </a:lnTo>
                  <a:lnTo>
                    <a:pt x="944023" y="124301"/>
                  </a:lnTo>
                  <a:lnTo>
                    <a:pt x="902398" y="142494"/>
                  </a:lnTo>
                  <a:lnTo>
                    <a:pt x="895445" y="190119"/>
                  </a:lnTo>
                  <a:lnTo>
                    <a:pt x="885920" y="144780"/>
                  </a:lnTo>
                  <a:lnTo>
                    <a:pt x="859250" y="135255"/>
                  </a:lnTo>
                  <a:lnTo>
                    <a:pt x="868775" y="157258"/>
                  </a:lnTo>
                  <a:lnTo>
                    <a:pt x="769048" y="155067"/>
                  </a:lnTo>
                  <a:lnTo>
                    <a:pt x="744855" y="138589"/>
                  </a:lnTo>
                  <a:lnTo>
                    <a:pt x="723329" y="142875"/>
                  </a:lnTo>
                  <a:lnTo>
                    <a:pt x="689324" y="114300"/>
                  </a:lnTo>
                  <a:lnTo>
                    <a:pt x="647033" y="125063"/>
                  </a:lnTo>
                  <a:lnTo>
                    <a:pt x="645509" y="146399"/>
                  </a:lnTo>
                  <a:lnTo>
                    <a:pt x="657320" y="133636"/>
                  </a:lnTo>
                  <a:lnTo>
                    <a:pt x="685038" y="139541"/>
                  </a:lnTo>
                  <a:lnTo>
                    <a:pt x="665988" y="157639"/>
                  </a:lnTo>
                  <a:lnTo>
                    <a:pt x="669227" y="197644"/>
                  </a:lnTo>
                  <a:lnTo>
                    <a:pt x="645890" y="157067"/>
                  </a:lnTo>
                  <a:lnTo>
                    <a:pt x="633889" y="170879"/>
                  </a:lnTo>
                  <a:lnTo>
                    <a:pt x="613124" y="144399"/>
                  </a:lnTo>
                  <a:lnTo>
                    <a:pt x="577310" y="159544"/>
                  </a:lnTo>
                  <a:lnTo>
                    <a:pt x="514255" y="143828"/>
                  </a:lnTo>
                  <a:lnTo>
                    <a:pt x="504730" y="111062"/>
                  </a:lnTo>
                  <a:lnTo>
                    <a:pt x="472726" y="115919"/>
                  </a:lnTo>
                  <a:lnTo>
                    <a:pt x="410813" y="103537"/>
                  </a:lnTo>
                  <a:lnTo>
                    <a:pt x="389191" y="82582"/>
                  </a:lnTo>
                  <a:lnTo>
                    <a:pt x="357473" y="85344"/>
                  </a:lnTo>
                  <a:lnTo>
                    <a:pt x="349282" y="98774"/>
                  </a:lnTo>
                  <a:lnTo>
                    <a:pt x="330232" y="100870"/>
                  </a:lnTo>
                  <a:lnTo>
                    <a:pt x="325945" y="73628"/>
                  </a:lnTo>
                  <a:lnTo>
                    <a:pt x="308420" y="102203"/>
                  </a:lnTo>
                  <a:lnTo>
                    <a:pt x="274129" y="69247"/>
                  </a:lnTo>
                  <a:lnTo>
                    <a:pt x="257556" y="56674"/>
                  </a:lnTo>
                  <a:lnTo>
                    <a:pt x="237077" y="87440"/>
                  </a:lnTo>
                  <a:lnTo>
                    <a:pt x="213550" y="90964"/>
                  </a:lnTo>
                  <a:lnTo>
                    <a:pt x="206693" y="110014"/>
                  </a:lnTo>
                  <a:lnTo>
                    <a:pt x="189929" y="105251"/>
                  </a:lnTo>
                  <a:lnTo>
                    <a:pt x="176879" y="114776"/>
                  </a:lnTo>
                  <a:lnTo>
                    <a:pt x="175736" y="128207"/>
                  </a:lnTo>
                  <a:lnTo>
                    <a:pt x="157924" y="121920"/>
                  </a:lnTo>
                  <a:lnTo>
                    <a:pt x="178403" y="94488"/>
                  </a:lnTo>
                  <a:lnTo>
                    <a:pt x="199549" y="93440"/>
                  </a:lnTo>
                  <a:lnTo>
                    <a:pt x="226600" y="76676"/>
                  </a:lnTo>
                  <a:lnTo>
                    <a:pt x="224694" y="68485"/>
                  </a:lnTo>
                  <a:lnTo>
                    <a:pt x="199358" y="72676"/>
                  </a:lnTo>
                  <a:lnTo>
                    <a:pt x="193929" y="84773"/>
                  </a:lnTo>
                  <a:lnTo>
                    <a:pt x="171259" y="83153"/>
                  </a:lnTo>
                  <a:lnTo>
                    <a:pt x="132493" y="121920"/>
                  </a:lnTo>
                  <a:lnTo>
                    <a:pt x="106775" y="115443"/>
                  </a:lnTo>
                  <a:lnTo>
                    <a:pt x="102394" y="124968"/>
                  </a:lnTo>
                  <a:lnTo>
                    <a:pt x="96869" y="115443"/>
                  </a:lnTo>
                  <a:lnTo>
                    <a:pt x="47625" y="104204"/>
                  </a:lnTo>
                  <a:lnTo>
                    <a:pt x="37147" y="95536"/>
                  </a:lnTo>
                  <a:lnTo>
                    <a:pt x="0" y="88773"/>
                  </a:lnTo>
                  <a:lnTo>
                    <a:pt x="0" y="88773"/>
                  </a:lnTo>
                  <a:lnTo>
                    <a:pt x="0" y="381476"/>
                  </a:lnTo>
                  <a:lnTo>
                    <a:pt x="41434" y="381476"/>
                  </a:lnTo>
                  <a:lnTo>
                    <a:pt x="37338" y="393763"/>
                  </a:lnTo>
                  <a:lnTo>
                    <a:pt x="74676" y="415290"/>
                  </a:lnTo>
                  <a:lnTo>
                    <a:pt x="106775" y="401574"/>
                  </a:lnTo>
                  <a:lnTo>
                    <a:pt x="154400" y="436245"/>
                  </a:lnTo>
                  <a:lnTo>
                    <a:pt x="183832" y="491681"/>
                  </a:lnTo>
                  <a:lnTo>
                    <a:pt x="217551" y="507683"/>
                  </a:lnTo>
                  <a:lnTo>
                    <a:pt x="215265" y="521494"/>
                  </a:lnTo>
                  <a:lnTo>
                    <a:pt x="219265" y="530447"/>
                  </a:lnTo>
                  <a:lnTo>
                    <a:pt x="214217" y="537401"/>
                  </a:lnTo>
                  <a:lnTo>
                    <a:pt x="214217" y="537401"/>
                  </a:lnTo>
                  <a:lnTo>
                    <a:pt x="208693" y="557117"/>
                  </a:lnTo>
                  <a:lnTo>
                    <a:pt x="228790" y="553974"/>
                  </a:lnTo>
                  <a:lnTo>
                    <a:pt x="217361" y="564737"/>
                  </a:lnTo>
                  <a:lnTo>
                    <a:pt x="217361" y="570452"/>
                  </a:lnTo>
                  <a:lnTo>
                    <a:pt x="241839" y="579977"/>
                  </a:lnTo>
                  <a:lnTo>
                    <a:pt x="251364" y="612362"/>
                  </a:lnTo>
                  <a:lnTo>
                    <a:pt x="283083" y="612362"/>
                  </a:lnTo>
                  <a:lnTo>
                    <a:pt x="260318" y="631412"/>
                  </a:lnTo>
                  <a:lnTo>
                    <a:pt x="262223" y="645128"/>
                  </a:lnTo>
                  <a:lnTo>
                    <a:pt x="285369" y="651415"/>
                  </a:lnTo>
                  <a:lnTo>
                    <a:pt x="290417" y="657892"/>
                  </a:lnTo>
                  <a:lnTo>
                    <a:pt x="301657" y="650653"/>
                  </a:lnTo>
                  <a:lnTo>
                    <a:pt x="298704" y="661130"/>
                  </a:lnTo>
                  <a:lnTo>
                    <a:pt x="305562" y="665702"/>
                  </a:lnTo>
                  <a:lnTo>
                    <a:pt x="309181" y="656177"/>
                  </a:lnTo>
                  <a:lnTo>
                    <a:pt x="313754" y="665702"/>
                  </a:lnTo>
                  <a:lnTo>
                    <a:pt x="320993" y="651986"/>
                  </a:lnTo>
                  <a:lnTo>
                    <a:pt x="337471" y="679513"/>
                  </a:lnTo>
                  <a:lnTo>
                    <a:pt x="337471" y="689038"/>
                  </a:lnTo>
                  <a:lnTo>
                    <a:pt x="346424" y="692277"/>
                  </a:lnTo>
                  <a:lnTo>
                    <a:pt x="356711" y="687800"/>
                  </a:lnTo>
                  <a:lnTo>
                    <a:pt x="352330" y="698373"/>
                  </a:lnTo>
                  <a:lnTo>
                    <a:pt x="361855" y="701612"/>
                  </a:lnTo>
                  <a:lnTo>
                    <a:pt x="908875" y="701612"/>
                  </a:lnTo>
                  <a:lnTo>
                    <a:pt x="908875" y="692087"/>
                  </a:lnTo>
                  <a:lnTo>
                    <a:pt x="915162" y="693706"/>
                  </a:lnTo>
                  <a:lnTo>
                    <a:pt x="918114" y="707136"/>
                  </a:lnTo>
                  <a:lnTo>
                    <a:pt x="934022" y="710470"/>
                  </a:lnTo>
                  <a:lnTo>
                    <a:pt x="938689" y="715613"/>
                  </a:lnTo>
                  <a:lnTo>
                    <a:pt x="946499" y="710470"/>
                  </a:lnTo>
                  <a:lnTo>
                    <a:pt x="961358" y="714851"/>
                  </a:lnTo>
                  <a:lnTo>
                    <a:pt x="964882" y="722567"/>
                  </a:lnTo>
                  <a:lnTo>
                    <a:pt x="972312" y="718471"/>
                  </a:lnTo>
                  <a:lnTo>
                    <a:pt x="982503" y="724662"/>
                  </a:lnTo>
                  <a:lnTo>
                    <a:pt x="993362" y="717899"/>
                  </a:lnTo>
                  <a:lnTo>
                    <a:pt x="996410" y="723900"/>
                  </a:lnTo>
                  <a:lnTo>
                    <a:pt x="1007936" y="723043"/>
                  </a:lnTo>
                  <a:lnTo>
                    <a:pt x="1024033" y="727424"/>
                  </a:lnTo>
                  <a:lnTo>
                    <a:pt x="1059180" y="700659"/>
                  </a:lnTo>
                  <a:lnTo>
                    <a:pt x="1086517" y="703136"/>
                  </a:lnTo>
                  <a:lnTo>
                    <a:pt x="1100899" y="725519"/>
                  </a:lnTo>
                  <a:lnTo>
                    <a:pt x="1117949" y="726758"/>
                  </a:lnTo>
                  <a:lnTo>
                    <a:pt x="1130618" y="758666"/>
                  </a:lnTo>
                  <a:lnTo>
                    <a:pt x="1197959" y="773240"/>
                  </a:lnTo>
                  <a:lnTo>
                    <a:pt x="1219581" y="801243"/>
                  </a:lnTo>
                  <a:lnTo>
                    <a:pt x="1211866" y="814673"/>
                  </a:lnTo>
                  <a:lnTo>
                    <a:pt x="1186053" y="792385"/>
                  </a:lnTo>
                  <a:lnTo>
                    <a:pt x="1181386" y="836962"/>
                  </a:lnTo>
                  <a:lnTo>
                    <a:pt x="1167003" y="847154"/>
                  </a:lnTo>
                  <a:lnTo>
                    <a:pt x="1176528" y="859822"/>
                  </a:lnTo>
                  <a:lnTo>
                    <a:pt x="1187386" y="850297"/>
                  </a:lnTo>
                  <a:lnTo>
                    <a:pt x="1219390" y="845630"/>
                  </a:lnTo>
                  <a:lnTo>
                    <a:pt x="1235487" y="824389"/>
                  </a:lnTo>
                  <a:lnTo>
                    <a:pt x="1275874" y="819722"/>
                  </a:lnTo>
                  <a:lnTo>
                    <a:pt x="1279779" y="821341"/>
                  </a:lnTo>
                  <a:lnTo>
                    <a:pt x="1279779" y="821341"/>
                  </a:lnTo>
                  <a:lnTo>
                    <a:pt x="1290923" y="814388"/>
                  </a:lnTo>
                  <a:lnTo>
                    <a:pt x="1307687" y="799052"/>
                  </a:lnTo>
                  <a:lnTo>
                    <a:pt x="1377029" y="799052"/>
                  </a:lnTo>
                  <a:lnTo>
                    <a:pt x="1379411" y="792385"/>
                  </a:lnTo>
                  <a:lnTo>
                    <a:pt x="1384554" y="792385"/>
                  </a:lnTo>
                  <a:lnTo>
                    <a:pt x="1387602" y="788860"/>
                  </a:lnTo>
                  <a:lnTo>
                    <a:pt x="1393317" y="791813"/>
                  </a:lnTo>
                  <a:lnTo>
                    <a:pt x="1393317" y="785432"/>
                  </a:lnTo>
                  <a:lnTo>
                    <a:pt x="1402842" y="779717"/>
                  </a:lnTo>
                  <a:lnTo>
                    <a:pt x="1400270" y="772954"/>
                  </a:lnTo>
                  <a:lnTo>
                    <a:pt x="1402842" y="765334"/>
                  </a:lnTo>
                  <a:lnTo>
                    <a:pt x="1405890" y="764096"/>
                  </a:lnTo>
                  <a:lnTo>
                    <a:pt x="1406461" y="758000"/>
                  </a:lnTo>
                  <a:lnTo>
                    <a:pt x="1421702" y="738950"/>
                  </a:lnTo>
                  <a:lnTo>
                    <a:pt x="1425797" y="738950"/>
                  </a:lnTo>
                  <a:lnTo>
                    <a:pt x="1425797" y="743426"/>
                  </a:lnTo>
                  <a:lnTo>
                    <a:pt x="1428845" y="745617"/>
                  </a:lnTo>
                  <a:lnTo>
                    <a:pt x="1440275" y="741521"/>
                  </a:lnTo>
                  <a:lnTo>
                    <a:pt x="1450562" y="748856"/>
                  </a:lnTo>
                  <a:lnTo>
                    <a:pt x="1450562" y="782288"/>
                  </a:lnTo>
                  <a:lnTo>
                    <a:pt x="1457801" y="785146"/>
                  </a:lnTo>
                  <a:lnTo>
                    <a:pt x="1457801" y="793433"/>
                  </a:lnTo>
                  <a:lnTo>
                    <a:pt x="1462468" y="794861"/>
                  </a:lnTo>
                  <a:lnTo>
                    <a:pt x="1491806" y="792861"/>
                  </a:lnTo>
                  <a:lnTo>
                    <a:pt x="1510856" y="772859"/>
                  </a:lnTo>
                  <a:lnTo>
                    <a:pt x="1507236" y="790766"/>
                  </a:lnTo>
                  <a:lnTo>
                    <a:pt x="1516189" y="791242"/>
                  </a:lnTo>
                  <a:lnTo>
                    <a:pt x="1497139" y="804672"/>
                  </a:lnTo>
                  <a:lnTo>
                    <a:pt x="1482281" y="813626"/>
                  </a:lnTo>
                  <a:lnTo>
                    <a:pt x="1496473" y="836867"/>
                  </a:lnTo>
                  <a:lnTo>
                    <a:pt x="1520571" y="817340"/>
                  </a:lnTo>
                  <a:lnTo>
                    <a:pt x="1518761" y="804386"/>
                  </a:lnTo>
                  <a:lnTo>
                    <a:pt x="1548669" y="806291"/>
                  </a:lnTo>
                  <a:lnTo>
                    <a:pt x="1571149" y="794861"/>
                  </a:lnTo>
                  <a:lnTo>
                    <a:pt x="1585627" y="792861"/>
                  </a:lnTo>
                  <a:lnTo>
                    <a:pt x="1566577" y="777716"/>
                  </a:lnTo>
                  <a:lnTo>
                    <a:pt x="1550003" y="784289"/>
                  </a:lnTo>
                  <a:lnTo>
                    <a:pt x="1511427" y="767144"/>
                  </a:lnTo>
                  <a:lnTo>
                    <a:pt x="1509427" y="748094"/>
                  </a:lnTo>
                  <a:lnTo>
                    <a:pt x="1498187" y="748094"/>
                  </a:lnTo>
                  <a:lnTo>
                    <a:pt x="1511712" y="732282"/>
                  </a:lnTo>
                  <a:lnTo>
                    <a:pt x="1488948" y="727805"/>
                  </a:lnTo>
                  <a:lnTo>
                    <a:pt x="1468755" y="725710"/>
                  </a:lnTo>
                  <a:lnTo>
                    <a:pt x="1487805" y="720376"/>
                  </a:lnTo>
                  <a:lnTo>
                    <a:pt x="1499711" y="725710"/>
                  </a:lnTo>
                  <a:lnTo>
                    <a:pt x="1521143" y="713518"/>
                  </a:lnTo>
                  <a:lnTo>
                    <a:pt x="1522952" y="698563"/>
                  </a:lnTo>
                  <a:lnTo>
                    <a:pt x="1496758" y="694754"/>
                  </a:lnTo>
                  <a:lnTo>
                    <a:pt x="1473327" y="698373"/>
                  </a:lnTo>
                  <a:lnTo>
                    <a:pt x="1420749" y="725329"/>
                  </a:lnTo>
                  <a:lnTo>
                    <a:pt x="1393412" y="753904"/>
                  </a:lnTo>
                  <a:lnTo>
                    <a:pt x="1417701" y="711899"/>
                  </a:lnTo>
                  <a:lnTo>
                    <a:pt x="1458753" y="692849"/>
                  </a:lnTo>
                  <a:lnTo>
                    <a:pt x="1476565" y="669131"/>
                  </a:lnTo>
                  <a:lnTo>
                    <a:pt x="1538383" y="662654"/>
                  </a:lnTo>
                  <a:lnTo>
                    <a:pt x="1598676" y="674751"/>
                  </a:lnTo>
                  <a:lnTo>
                    <a:pt x="1624203" y="655701"/>
                  </a:lnTo>
                  <a:lnTo>
                    <a:pt x="1631156" y="641890"/>
                  </a:lnTo>
                  <a:lnTo>
                    <a:pt x="1665161" y="637318"/>
                  </a:lnTo>
                  <a:lnTo>
                    <a:pt x="1688211" y="615315"/>
                  </a:lnTo>
                  <a:lnTo>
                    <a:pt x="1691544" y="615315"/>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74" name="Freeform: Shape 2964">
              <a:extLst>
                <a:ext uri="{FF2B5EF4-FFF2-40B4-BE49-F238E27FC236}">
                  <a16:creationId xmlns:a16="http://schemas.microsoft.com/office/drawing/2014/main" id="{88EEBBD9-1A18-4FE8-23A8-B1E526E41F05}"/>
                </a:ext>
              </a:extLst>
            </p:cNvPr>
            <p:cNvSpPr/>
            <p:nvPr/>
          </p:nvSpPr>
          <p:spPr>
            <a:xfrm>
              <a:off x="7666101" y="3339496"/>
              <a:ext cx="5905" cy="8191"/>
            </a:xfrm>
            <a:custGeom>
              <a:avLst/>
              <a:gdLst>
                <a:gd name="connsiteX0" fmla="*/ 5905 w 5905"/>
                <a:gd name="connsiteY0" fmla="*/ 0 h 8191"/>
                <a:gd name="connsiteX1" fmla="*/ 5905 w 5905"/>
                <a:gd name="connsiteY1" fmla="*/ 0 h 8191"/>
                <a:gd name="connsiteX2" fmla="*/ 5239 w 5905"/>
                <a:gd name="connsiteY2" fmla="*/ 8192 h 8191"/>
                <a:gd name="connsiteX3" fmla="*/ 0 w 5905"/>
                <a:gd name="connsiteY3" fmla="*/ 5048 h 8191"/>
                <a:gd name="connsiteX4" fmla="*/ 5905 w 5905"/>
                <a:gd name="connsiteY4" fmla="*/ 0 h 8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 h="8191">
                  <a:moveTo>
                    <a:pt x="5905" y="0"/>
                  </a:moveTo>
                  <a:lnTo>
                    <a:pt x="5905" y="0"/>
                  </a:lnTo>
                  <a:lnTo>
                    <a:pt x="5239" y="8192"/>
                  </a:lnTo>
                  <a:lnTo>
                    <a:pt x="0" y="5048"/>
                  </a:lnTo>
                  <a:lnTo>
                    <a:pt x="5905" y="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sp>
          <p:nvSpPr>
            <p:cNvPr id="222975" name="Freeform: Shape 2965">
              <a:extLst>
                <a:ext uri="{FF2B5EF4-FFF2-40B4-BE49-F238E27FC236}">
                  <a16:creationId xmlns:a16="http://schemas.microsoft.com/office/drawing/2014/main" id="{AAA181BD-355B-2852-4906-9493DDCEA432}"/>
                </a:ext>
              </a:extLst>
            </p:cNvPr>
            <p:cNvSpPr/>
            <p:nvPr/>
          </p:nvSpPr>
          <p:spPr>
            <a:xfrm>
              <a:off x="7119937" y="4239894"/>
              <a:ext cx="20669" cy="52197"/>
            </a:xfrm>
            <a:custGeom>
              <a:avLst/>
              <a:gdLst>
                <a:gd name="connsiteX0" fmla="*/ 18383 w 20669"/>
                <a:gd name="connsiteY0" fmla="*/ 30480 h 52197"/>
                <a:gd name="connsiteX1" fmla="*/ 20669 w 20669"/>
                <a:gd name="connsiteY1" fmla="*/ 7048 h 52197"/>
                <a:gd name="connsiteX2" fmla="*/ 15050 w 20669"/>
                <a:gd name="connsiteY2" fmla="*/ 3524 h 52197"/>
                <a:gd name="connsiteX3" fmla="*/ 16573 w 20669"/>
                <a:gd name="connsiteY3" fmla="*/ 0 h 52197"/>
                <a:gd name="connsiteX4" fmla="*/ 11811 w 20669"/>
                <a:gd name="connsiteY4" fmla="*/ 0 h 52197"/>
                <a:gd name="connsiteX5" fmla="*/ 5620 w 20669"/>
                <a:gd name="connsiteY5" fmla="*/ 12097 h 52197"/>
                <a:gd name="connsiteX6" fmla="*/ 1524 w 20669"/>
                <a:gd name="connsiteY6" fmla="*/ 9716 h 52197"/>
                <a:gd name="connsiteX7" fmla="*/ 0 w 20669"/>
                <a:gd name="connsiteY7" fmla="*/ 13430 h 52197"/>
                <a:gd name="connsiteX8" fmla="*/ 0 w 20669"/>
                <a:gd name="connsiteY8" fmla="*/ 52197 h 52197"/>
                <a:gd name="connsiteX9" fmla="*/ 13145 w 20669"/>
                <a:gd name="connsiteY9" fmla="*/ 52197 h 52197"/>
                <a:gd name="connsiteX10" fmla="*/ 13145 w 20669"/>
                <a:gd name="connsiteY10" fmla="*/ 52197 h 52197"/>
                <a:gd name="connsiteX11" fmla="*/ 5905 w 20669"/>
                <a:gd name="connsiteY11" fmla="*/ 46768 h 52197"/>
                <a:gd name="connsiteX12" fmla="*/ 18383 w 20669"/>
                <a:gd name="connsiteY12" fmla="*/ 30480 h 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669" h="52197">
                  <a:moveTo>
                    <a:pt x="18383" y="30480"/>
                  </a:moveTo>
                  <a:lnTo>
                    <a:pt x="20669" y="7048"/>
                  </a:lnTo>
                  <a:lnTo>
                    <a:pt x="15050" y="3524"/>
                  </a:lnTo>
                  <a:lnTo>
                    <a:pt x="16573" y="0"/>
                  </a:lnTo>
                  <a:lnTo>
                    <a:pt x="11811" y="0"/>
                  </a:lnTo>
                  <a:lnTo>
                    <a:pt x="5620" y="12097"/>
                  </a:lnTo>
                  <a:lnTo>
                    <a:pt x="1524" y="9716"/>
                  </a:lnTo>
                  <a:lnTo>
                    <a:pt x="0" y="13430"/>
                  </a:lnTo>
                  <a:lnTo>
                    <a:pt x="0" y="52197"/>
                  </a:lnTo>
                  <a:lnTo>
                    <a:pt x="13145" y="52197"/>
                  </a:lnTo>
                  <a:lnTo>
                    <a:pt x="13145" y="52197"/>
                  </a:lnTo>
                  <a:lnTo>
                    <a:pt x="5905" y="46768"/>
                  </a:lnTo>
                  <a:lnTo>
                    <a:pt x="18383" y="30480"/>
                  </a:lnTo>
                  <a:close/>
                </a:path>
              </a:pathLst>
            </a:custGeom>
            <a:grpFill/>
            <a:ln w="9525" cap="flat">
              <a:solidFill>
                <a:schemeClr val="bg1">
                  <a:lumMod val="85000"/>
                  <a:alpha val="18000"/>
                </a:schemeClr>
              </a:solidFill>
              <a:prstDash val="solid"/>
              <a:miter/>
            </a:ln>
          </p:spPr>
          <p:txBody>
            <a:bodyPr wrap="none" lIns="0" tIns="0" rIns="0" bIns="0" rtlCol="0" anchor="ctr"/>
            <a:lstStyle/>
            <a:p>
              <a:endParaRPr lang="en-GB"/>
            </a:p>
          </p:txBody>
        </p:sp>
      </p:grpSp>
      <p:sp>
        <p:nvSpPr>
          <p:cNvPr id="222635" name="楕円 222634">
            <a:extLst>
              <a:ext uri="{FF2B5EF4-FFF2-40B4-BE49-F238E27FC236}">
                <a16:creationId xmlns:a16="http://schemas.microsoft.com/office/drawing/2014/main" id="{F8D8658D-0722-370E-97C7-45BA69FA6116}"/>
              </a:ext>
            </a:extLst>
          </p:cNvPr>
          <p:cNvSpPr/>
          <p:nvPr/>
        </p:nvSpPr>
        <p:spPr>
          <a:xfrm>
            <a:off x="4331949" y="3772313"/>
            <a:ext cx="145803" cy="152100"/>
          </a:xfrm>
          <a:prstGeom prst="ellipse">
            <a:avLst/>
          </a:prstGeom>
          <a:noFill/>
          <a:ln>
            <a:solidFill>
              <a:srgbClr val="00B0F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四角形: 角を丸くする 7">
            <a:extLst>
              <a:ext uri="{FF2B5EF4-FFF2-40B4-BE49-F238E27FC236}">
                <a16:creationId xmlns:a16="http://schemas.microsoft.com/office/drawing/2014/main" id="{DB8633B3-27DE-BDC3-2273-C2088C8B136C}"/>
              </a:ext>
            </a:extLst>
          </p:cNvPr>
          <p:cNvSpPr/>
          <p:nvPr/>
        </p:nvSpPr>
        <p:spPr bwMode="auto">
          <a:xfrm>
            <a:off x="4769054" y="1479104"/>
            <a:ext cx="5066815" cy="2697078"/>
          </a:xfrm>
          <a:prstGeom prst="roundRect">
            <a:avLst>
              <a:gd name="adj" fmla="val 8177"/>
            </a:avLst>
          </a:prstGeom>
          <a:solidFill>
            <a:schemeClr val="tx2">
              <a:lumMod val="20000"/>
              <a:lumOff val="80000"/>
              <a:alpha val="32000"/>
            </a:schemeClr>
          </a:solidFill>
          <a:ln w="9525">
            <a:noFill/>
            <a:miter lim="800000"/>
            <a:headEnd/>
            <a:tailEnd/>
          </a:ln>
          <a:effectLst/>
        </p:spPr>
        <p:txBody>
          <a:bodyPr wrap="square" rtlCol="0" anchor="t" anchorCtr="0"/>
          <a:lstStyle/>
          <a:p>
            <a:endParaRPr kumimoji="0" lang="ja-JP" altLang="en-US" sz="800" dirty="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A5880634-A468-E696-3A13-A201F226B8D0}"/>
              </a:ext>
            </a:extLst>
          </p:cNvPr>
          <p:cNvSpPr txBox="1"/>
          <p:nvPr/>
        </p:nvSpPr>
        <p:spPr>
          <a:xfrm>
            <a:off x="4792195" y="1342658"/>
            <a:ext cx="4890074" cy="169445"/>
          </a:xfrm>
          <a:prstGeom prst="roundRect">
            <a:avLst>
              <a:gd name="adj" fmla="val 50000"/>
            </a:avLst>
          </a:prstGeom>
          <a:solidFill>
            <a:srgbClr val="00B0F0">
              <a:alpha val="1000"/>
            </a:srgbClr>
          </a:solidFill>
          <a:ln>
            <a:noFill/>
          </a:ln>
          <a:effectLst>
            <a:glow rad="101600">
              <a:schemeClr val="accent1">
                <a:satMod val="175000"/>
                <a:alpha val="40000"/>
              </a:schemeClr>
            </a:glow>
          </a:effectLst>
        </p:spPr>
        <p:txBody>
          <a:bodyPr wrap="none" rtlCol="0" anchor="ctr" anchorCtr="1">
            <a:noAutofit/>
          </a:bodyPr>
          <a:lstStyle>
            <a:defPPr>
              <a:defRPr lang="ja-JP"/>
            </a:defPPr>
            <a:lvl1pPr algn="ctr">
              <a:defRPr sz="1050" b="1">
                <a:solidFill>
                  <a:srgbClr val="00B0F0"/>
                </a:solidFill>
              </a:defRPr>
            </a:lvl1pPr>
          </a:lstStyle>
          <a:p>
            <a:r>
              <a:rPr lang="ja-JP" altLang="en-US" sz="1100" dirty="0">
                <a:solidFill>
                  <a:srgbClr val="002060"/>
                </a:solidFill>
                <a:latin typeface="Meiryo UI" panose="020B0604030504040204" pitchFamily="50" charset="-128"/>
                <a:ea typeface="Meiryo UI" panose="020B0604030504040204" pitchFamily="50" charset="-128"/>
              </a:rPr>
              <a:t>海外</a:t>
            </a:r>
            <a:r>
              <a:rPr lang="en-US" altLang="ja-JP" sz="1100" dirty="0">
                <a:solidFill>
                  <a:srgbClr val="002060"/>
                </a:solidFill>
                <a:latin typeface="Meiryo UI" panose="020B0604030504040204" pitchFamily="50" charset="-128"/>
                <a:ea typeface="Meiryo UI" panose="020B0604030504040204" pitchFamily="50" charset="-128"/>
              </a:rPr>
              <a:t>VC</a:t>
            </a:r>
            <a:r>
              <a:rPr lang="ja-JP" altLang="en-US" sz="1100" dirty="0">
                <a:solidFill>
                  <a:srgbClr val="002060"/>
                </a:solidFill>
                <a:latin typeface="Meiryo UI" panose="020B0604030504040204" pitchFamily="50" charset="-128"/>
                <a:ea typeface="Meiryo UI" panose="020B0604030504040204" pitchFamily="50" charset="-128"/>
              </a:rPr>
              <a:t>、アクセラレーター等との連携</a:t>
            </a:r>
          </a:p>
        </p:txBody>
      </p:sp>
      <p:sp>
        <p:nvSpPr>
          <p:cNvPr id="30" name="四角形: 角を丸くする 29">
            <a:extLst>
              <a:ext uri="{FF2B5EF4-FFF2-40B4-BE49-F238E27FC236}">
                <a16:creationId xmlns:a16="http://schemas.microsoft.com/office/drawing/2014/main" id="{635C521B-6B73-3F8F-5C9B-F25EB1F55B5B}"/>
              </a:ext>
            </a:extLst>
          </p:cNvPr>
          <p:cNvSpPr/>
          <p:nvPr/>
        </p:nvSpPr>
        <p:spPr bwMode="auto">
          <a:xfrm>
            <a:off x="267127" y="1457602"/>
            <a:ext cx="4090476" cy="2736603"/>
          </a:xfrm>
          <a:prstGeom prst="roundRect">
            <a:avLst>
              <a:gd name="adj" fmla="val 8177"/>
            </a:avLst>
          </a:prstGeom>
          <a:solidFill>
            <a:schemeClr val="tx2">
              <a:lumMod val="20000"/>
              <a:lumOff val="80000"/>
              <a:alpha val="32000"/>
            </a:schemeClr>
          </a:solidFill>
          <a:ln w="9525">
            <a:noFill/>
            <a:miter lim="800000"/>
            <a:headEnd/>
            <a:tailEnd/>
          </a:ln>
          <a:effectLst/>
        </p:spPr>
        <p:txBody>
          <a:bodyPr wrap="square" tIns="288000" rtlCol="0" anchor="t" anchorCtr="1"/>
          <a:lstStyle/>
          <a:p>
            <a:pPr marL="171450" indent="-171450" algn="l">
              <a:buFont typeface="Wingdings" panose="05000000000000000000" pitchFamily="2" charset="2"/>
              <a:buChar char="n"/>
            </a:pPr>
            <a:endParaRPr kumimoji="0" lang="en-US" altLang="ja-JP" sz="1000" dirty="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5153C449-5B9A-3E01-85DF-9537DDA18EDD}"/>
              </a:ext>
            </a:extLst>
          </p:cNvPr>
          <p:cNvSpPr txBox="1"/>
          <p:nvPr/>
        </p:nvSpPr>
        <p:spPr>
          <a:xfrm>
            <a:off x="290248" y="1265555"/>
            <a:ext cx="4064120" cy="189503"/>
          </a:xfrm>
          <a:prstGeom prst="roundRect">
            <a:avLst>
              <a:gd name="adj" fmla="val 50000"/>
            </a:avLst>
          </a:prstGeom>
          <a:solidFill>
            <a:srgbClr val="00B0F0">
              <a:alpha val="1000"/>
            </a:srgbClr>
          </a:solidFill>
          <a:ln>
            <a:noFill/>
          </a:ln>
          <a:effectLst>
            <a:glow rad="101600">
              <a:schemeClr val="accent1">
                <a:satMod val="175000"/>
                <a:alpha val="40000"/>
              </a:schemeClr>
            </a:glow>
          </a:effectLst>
        </p:spPr>
        <p:txBody>
          <a:bodyPr wrap="none" rtlCol="0" anchor="ctr" anchorCtr="1">
            <a:noAutofit/>
          </a:bodyPr>
          <a:lstStyle>
            <a:defPPr>
              <a:defRPr lang="ja-JP"/>
            </a:defPPr>
            <a:lvl1pPr algn="ctr">
              <a:defRPr sz="1050" b="1">
                <a:solidFill>
                  <a:srgbClr val="00B0F0"/>
                </a:solidFill>
              </a:defRPr>
            </a:lvl1pPr>
          </a:lstStyle>
          <a:p>
            <a:r>
              <a:rPr lang="ja-JP" altLang="en-US" sz="1100" dirty="0">
                <a:solidFill>
                  <a:srgbClr val="002060"/>
                </a:solidFill>
                <a:latin typeface="Meiryo UI" panose="020B0604030504040204" pitchFamily="50" charset="-128"/>
                <a:ea typeface="Meiryo UI" panose="020B0604030504040204" pitchFamily="50" charset="-128"/>
              </a:rPr>
              <a:t>関西域内関係機関、有識者のネットワーク</a:t>
            </a:r>
          </a:p>
        </p:txBody>
      </p:sp>
      <p:sp>
        <p:nvSpPr>
          <p:cNvPr id="394" name="テキスト ボックス 393">
            <a:extLst>
              <a:ext uri="{FF2B5EF4-FFF2-40B4-BE49-F238E27FC236}">
                <a16:creationId xmlns:a16="http://schemas.microsoft.com/office/drawing/2014/main" id="{6C27017E-6D1A-4336-A59C-AF6FAEC19958}"/>
              </a:ext>
            </a:extLst>
          </p:cNvPr>
          <p:cNvSpPr txBox="1"/>
          <p:nvPr/>
        </p:nvSpPr>
        <p:spPr>
          <a:xfrm>
            <a:off x="4841343" y="2714468"/>
            <a:ext cx="4896000" cy="208050"/>
          </a:xfrm>
          <a:prstGeom prst="roundRect">
            <a:avLst>
              <a:gd name="adj" fmla="val 50000"/>
            </a:avLst>
          </a:prstGeom>
          <a:solidFill>
            <a:srgbClr val="00B0F0">
              <a:alpha val="1000"/>
            </a:srgbClr>
          </a:solidFill>
          <a:ln>
            <a:noFill/>
          </a:ln>
          <a:effectLst>
            <a:glow rad="101600">
              <a:schemeClr val="accent1">
                <a:satMod val="175000"/>
                <a:alpha val="40000"/>
              </a:schemeClr>
            </a:glow>
          </a:effectLst>
        </p:spPr>
        <p:txBody>
          <a:bodyPr wrap="none" rtlCol="0" anchor="ctr" anchorCtr="1">
            <a:noAutofit/>
          </a:bodyPr>
          <a:lstStyle>
            <a:defPPr>
              <a:defRPr lang="ja-JP"/>
            </a:defPPr>
            <a:lvl1pPr algn="ctr">
              <a:defRPr sz="1050" b="1">
                <a:solidFill>
                  <a:srgbClr val="00B0F0"/>
                </a:solidFill>
              </a:defRPr>
            </a:lvl1pPr>
          </a:lstStyle>
          <a:p>
            <a:r>
              <a:rPr lang="ja-JP" altLang="en-US" sz="1100" dirty="0">
                <a:solidFill>
                  <a:srgbClr val="002060"/>
                </a:solidFill>
                <a:latin typeface="Meiryo UI" panose="020B0604030504040204" pitchFamily="50" charset="-128"/>
                <a:ea typeface="Meiryo UI" panose="020B0604030504040204" pitchFamily="50" charset="-128"/>
              </a:rPr>
              <a:t>グローバルサイエンスネットワーク</a:t>
            </a:r>
          </a:p>
        </p:txBody>
      </p:sp>
      <p:sp>
        <p:nvSpPr>
          <p:cNvPr id="395" name="四角形: 角を丸くする 394">
            <a:extLst>
              <a:ext uri="{FF2B5EF4-FFF2-40B4-BE49-F238E27FC236}">
                <a16:creationId xmlns:a16="http://schemas.microsoft.com/office/drawing/2014/main" id="{AE5F6899-47AC-459C-920A-CEADB7A0575A}"/>
              </a:ext>
            </a:extLst>
          </p:cNvPr>
          <p:cNvSpPr/>
          <p:nvPr/>
        </p:nvSpPr>
        <p:spPr bwMode="auto">
          <a:xfrm>
            <a:off x="257923" y="4612353"/>
            <a:ext cx="9483651" cy="2149615"/>
          </a:xfrm>
          <a:prstGeom prst="roundRect">
            <a:avLst>
              <a:gd name="adj" fmla="val 8177"/>
            </a:avLst>
          </a:prstGeom>
          <a:solidFill>
            <a:schemeClr val="tx2">
              <a:lumMod val="20000"/>
              <a:lumOff val="80000"/>
              <a:alpha val="32000"/>
            </a:schemeClr>
          </a:solidFill>
          <a:ln w="9525">
            <a:noFill/>
            <a:miter lim="800000"/>
            <a:headEnd/>
            <a:tailEnd/>
          </a:ln>
          <a:effectLst/>
        </p:spPr>
        <p:txBody>
          <a:bodyPr wrap="square" tIns="288000" rtlCol="0" anchor="t" anchorCtr="1"/>
          <a:lstStyle/>
          <a:p>
            <a:pPr marL="171450" indent="-171450" algn="l">
              <a:buFont typeface="Wingdings" panose="05000000000000000000" pitchFamily="2" charset="2"/>
              <a:buChar char="n"/>
            </a:pPr>
            <a:endParaRPr kumimoji="0" lang="en-US" altLang="ja-JP" sz="1000" dirty="0">
              <a:latin typeface="Meiryo UI" panose="020B0604030504040204" pitchFamily="50" charset="-128"/>
              <a:ea typeface="Meiryo UI" panose="020B0604030504040204" pitchFamily="50" charset="-128"/>
            </a:endParaRPr>
          </a:p>
        </p:txBody>
      </p:sp>
      <p:sp>
        <p:nvSpPr>
          <p:cNvPr id="396" name="テキスト ボックス 395">
            <a:extLst>
              <a:ext uri="{FF2B5EF4-FFF2-40B4-BE49-F238E27FC236}">
                <a16:creationId xmlns:a16="http://schemas.microsoft.com/office/drawing/2014/main" id="{4ECD77E5-9E46-47E2-B843-CBFC4E7ECF3A}"/>
              </a:ext>
            </a:extLst>
          </p:cNvPr>
          <p:cNvSpPr txBox="1"/>
          <p:nvPr/>
        </p:nvSpPr>
        <p:spPr>
          <a:xfrm>
            <a:off x="257923" y="4336442"/>
            <a:ext cx="9424345" cy="261239"/>
          </a:xfrm>
          <a:prstGeom prst="roundRect">
            <a:avLst>
              <a:gd name="adj" fmla="val 50000"/>
            </a:avLst>
          </a:prstGeom>
          <a:solidFill>
            <a:srgbClr val="00B0F0">
              <a:alpha val="1000"/>
            </a:srgbClr>
          </a:solidFill>
          <a:ln>
            <a:noFill/>
          </a:ln>
          <a:effectLst>
            <a:glow rad="101600">
              <a:schemeClr val="accent1">
                <a:satMod val="175000"/>
                <a:alpha val="40000"/>
              </a:schemeClr>
            </a:glow>
          </a:effectLst>
        </p:spPr>
        <p:txBody>
          <a:bodyPr wrap="none" rtlCol="0" anchor="ctr" anchorCtr="1">
            <a:noAutofit/>
          </a:bodyPr>
          <a:lstStyle>
            <a:defPPr>
              <a:defRPr lang="ja-JP"/>
            </a:defPPr>
            <a:lvl1pPr algn="ctr">
              <a:defRPr sz="1050" b="1">
                <a:solidFill>
                  <a:srgbClr val="00B0F0"/>
                </a:solidFill>
              </a:defRPr>
            </a:lvl1pPr>
          </a:lstStyle>
          <a:p>
            <a:r>
              <a:rPr lang="ja-JP" altLang="en-US" sz="1100" dirty="0">
                <a:solidFill>
                  <a:srgbClr val="002060"/>
                </a:solidFill>
                <a:latin typeface="Meiryo UI" panose="020B0604030504040204" pitchFamily="50" charset="-128"/>
                <a:ea typeface="Meiryo UI" panose="020B0604030504040204" pitchFamily="50" charset="-128"/>
              </a:rPr>
              <a:t>万博開催を通じたネットワーク</a:t>
            </a:r>
          </a:p>
        </p:txBody>
      </p:sp>
      <p:sp>
        <p:nvSpPr>
          <p:cNvPr id="38" name="テキスト ボックス 37">
            <a:extLst>
              <a:ext uri="{FF2B5EF4-FFF2-40B4-BE49-F238E27FC236}">
                <a16:creationId xmlns:a16="http://schemas.microsoft.com/office/drawing/2014/main" id="{D650A20E-0F9B-44A6-9B88-3218AB7328C7}"/>
              </a:ext>
            </a:extLst>
          </p:cNvPr>
          <p:cNvSpPr txBox="1"/>
          <p:nvPr/>
        </p:nvSpPr>
        <p:spPr>
          <a:xfrm>
            <a:off x="4781920" y="3097502"/>
            <a:ext cx="5005918" cy="523220"/>
          </a:xfrm>
          <a:prstGeom prst="rect">
            <a:avLst/>
          </a:prstGeom>
          <a:noFill/>
        </p:spPr>
        <p:txBody>
          <a:bodyPr wrap="square" rtlCol="0">
            <a:spAutoFit/>
          </a:bodyPr>
          <a:lstStyle/>
          <a:p>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各分野の第一人者、海外でも注目される研究者のグローバルサイエンスネットワークを通じた招聘者、</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参加者の開拓</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36" name="テキスト ボックス 435">
            <a:extLst>
              <a:ext uri="{FF2B5EF4-FFF2-40B4-BE49-F238E27FC236}">
                <a16:creationId xmlns:a16="http://schemas.microsoft.com/office/drawing/2014/main" id="{B2580F8D-C849-4BB4-BF52-E0BE5477370D}"/>
              </a:ext>
            </a:extLst>
          </p:cNvPr>
          <p:cNvSpPr txBox="1"/>
          <p:nvPr/>
        </p:nvSpPr>
        <p:spPr>
          <a:xfrm>
            <a:off x="387087" y="1521644"/>
            <a:ext cx="3919350" cy="954107"/>
          </a:xfrm>
          <a:prstGeom prst="rect">
            <a:avLst/>
          </a:prstGeom>
          <a:noFill/>
        </p:spPr>
        <p:txBody>
          <a:bodyPr wrap="square" rtlCol="0">
            <a:spAutoFit/>
          </a:bodyPr>
          <a:lstStyle/>
          <a:p>
            <a:r>
              <a:rPr lang="ja-JP" altLang="en-US" sz="1400" dirty="0">
                <a:latin typeface="Meiryo UI" panose="020B0604030504040204" pitchFamily="50" charset="-128"/>
                <a:ea typeface="Meiryo UI" panose="020B0604030504040204" pitchFamily="50" charset="-128"/>
                <a:cs typeface="Meiryo UI" panose="020B0604030504040204" pitchFamily="50" charset="-128"/>
              </a:rPr>
              <a:t>自治体、大学、経済団体、支援機関による姉妹都市、提携、海外拠点開設等を通じた海外ネットワークおよび有識者のもつ海外エコシステム関係者との繋がりを用いた招聘者、参加者の開拓</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38" name="テキスト ボックス 437">
            <a:extLst>
              <a:ext uri="{FF2B5EF4-FFF2-40B4-BE49-F238E27FC236}">
                <a16:creationId xmlns:a16="http://schemas.microsoft.com/office/drawing/2014/main" id="{43F3ED25-6AD4-4A42-8BB9-3F8EBA186F80}"/>
              </a:ext>
            </a:extLst>
          </p:cNvPr>
          <p:cNvSpPr txBox="1"/>
          <p:nvPr/>
        </p:nvSpPr>
        <p:spPr>
          <a:xfrm>
            <a:off x="4858208" y="1642884"/>
            <a:ext cx="4929630" cy="523220"/>
          </a:xfrm>
          <a:prstGeom prst="rect">
            <a:avLst/>
          </a:prstGeom>
          <a:noFill/>
        </p:spPr>
        <p:txBody>
          <a:bodyPr wrap="square" rtlCol="0">
            <a:spAutoFit/>
          </a:bodyPr>
          <a:lstStyle/>
          <a:p>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グローバル拠点都市形成の活動で築いた海外</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VC</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アクセラレーター等とのネットワークを通じた招聘者、参加者の開拓</a:t>
            </a:r>
          </a:p>
        </p:txBody>
      </p:sp>
      <p:sp>
        <p:nvSpPr>
          <p:cNvPr id="443" name="テキスト ボックス 442">
            <a:extLst>
              <a:ext uri="{FF2B5EF4-FFF2-40B4-BE49-F238E27FC236}">
                <a16:creationId xmlns:a16="http://schemas.microsoft.com/office/drawing/2014/main" id="{8E319478-A0FF-4FC7-B6C5-3D0BA3B64E7A}"/>
              </a:ext>
            </a:extLst>
          </p:cNvPr>
          <p:cNvSpPr txBox="1"/>
          <p:nvPr/>
        </p:nvSpPr>
        <p:spPr>
          <a:xfrm>
            <a:off x="270841" y="4766563"/>
            <a:ext cx="9483651" cy="1600438"/>
          </a:xfrm>
          <a:prstGeom prst="rect">
            <a:avLst/>
          </a:prstGeom>
          <a:noFill/>
        </p:spPr>
        <p:txBody>
          <a:bodyPr wrap="square" rtlCol="0">
            <a:spAutoFit/>
          </a:bodyPr>
          <a:lstStyle/>
          <a:p>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　大阪・関西万博を契機に、企業視察等をワンストップでサポートする窓口を開設。</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海外視察団等に対し、ビジネスイベント（セミナー・商談会等）の開催等を支援。</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solidFill>
                  <a:schemeClr val="tx1"/>
                </a:solidFill>
                <a:latin typeface="+mn-ea"/>
                <a:ea typeface="+mn-ea"/>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総問合せ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119</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件　府市で海外からの視察受入に繋げた件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32</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件（</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692</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名）</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　英国グレーター・マンチェスター合同行政機構との姉妹都市提携など、</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主に経済交流を促進することを目的として</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32</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の国・都市等と</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MOU</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を締結。</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　海外公的機関主催のセミナー等の共催・広報協力等を実施。</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solidFill>
                  <a:schemeClr val="tx1"/>
                </a:solidFill>
                <a:latin typeface="+mn-ea"/>
                <a:ea typeface="+mn-ea"/>
              </a:rPr>
              <a:t>　　▶　</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大阪</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府</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市ビジネス支援実績：延べ</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510</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件</a:t>
            </a:r>
          </a:p>
        </p:txBody>
      </p:sp>
      <p:sp>
        <p:nvSpPr>
          <p:cNvPr id="482" name="テキスト ボックス 481">
            <a:extLst>
              <a:ext uri="{FF2B5EF4-FFF2-40B4-BE49-F238E27FC236}">
                <a16:creationId xmlns:a16="http://schemas.microsoft.com/office/drawing/2014/main" id="{9D07706B-27AF-461C-96BF-B0238918A5AD}"/>
              </a:ext>
            </a:extLst>
          </p:cNvPr>
          <p:cNvSpPr txBox="1"/>
          <p:nvPr/>
        </p:nvSpPr>
        <p:spPr>
          <a:xfrm>
            <a:off x="3709194" y="1072454"/>
            <a:ext cx="999279" cy="369332"/>
          </a:xfrm>
          <a:prstGeom prst="rect">
            <a:avLst/>
          </a:prstGeom>
          <a:solidFill>
            <a:schemeClr val="bg1"/>
          </a:solidFill>
          <a:ln>
            <a:solidFill>
              <a:schemeClr val="bg2">
                <a:lumMod val="90000"/>
              </a:schemeClr>
            </a:solidFill>
          </a:ln>
        </p:spPr>
        <p:txBody>
          <a:bodyPr wrap="square" rtlCol="0">
            <a:spAutoFit/>
          </a:bodyPr>
          <a:lstStyle/>
          <a:p>
            <a:pPr algn="ctr"/>
            <a:r>
              <a:rPr kumimoji="1" lang="en-US" altLang="ja-JP" b="1" dirty="0">
                <a:latin typeface="Meiryo UI" panose="020B0604030504040204" pitchFamily="50" charset="-128"/>
                <a:ea typeface="Meiryo UI" panose="020B0604030504040204" pitchFamily="50" charset="-128"/>
                <a:cs typeface="Meiryo UI" panose="020B0604030504040204" pitchFamily="50" charset="-128"/>
              </a:rPr>
              <a:t>90</a:t>
            </a:r>
            <a:r>
              <a:rPr kumimoji="1" lang="ja-JP" altLang="en-US" b="1"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483" name="テキスト ボックス 482">
            <a:extLst>
              <a:ext uri="{FF2B5EF4-FFF2-40B4-BE49-F238E27FC236}">
                <a16:creationId xmlns:a16="http://schemas.microsoft.com/office/drawing/2014/main" id="{65E02666-6373-44B3-95E2-4D08432E1781}"/>
              </a:ext>
            </a:extLst>
          </p:cNvPr>
          <p:cNvSpPr txBox="1"/>
          <p:nvPr/>
        </p:nvSpPr>
        <p:spPr>
          <a:xfrm>
            <a:off x="8834086" y="1127388"/>
            <a:ext cx="864087" cy="369332"/>
          </a:xfrm>
          <a:prstGeom prst="rect">
            <a:avLst/>
          </a:prstGeom>
          <a:solidFill>
            <a:schemeClr val="bg1"/>
          </a:solidFill>
          <a:ln>
            <a:solidFill>
              <a:schemeClr val="bg2">
                <a:lumMod val="90000"/>
              </a:schemeClr>
            </a:solidFill>
          </a:ln>
        </p:spPr>
        <p:txBody>
          <a:bodyPr wrap="square" rtlCol="0">
            <a:spAutoFit/>
          </a:bodyPr>
          <a:lstStyle/>
          <a:p>
            <a:pPr algn="ctr"/>
            <a:r>
              <a:rPr kumimoji="1" lang="en-US" altLang="ja-JP" b="1" dirty="0">
                <a:latin typeface="Meiryo UI" panose="020B0604030504040204" pitchFamily="50" charset="-128"/>
                <a:ea typeface="Meiryo UI" panose="020B0604030504040204" pitchFamily="50" charset="-128"/>
                <a:cs typeface="Meiryo UI" panose="020B0604030504040204" pitchFamily="50" charset="-128"/>
              </a:rPr>
              <a:t>80</a:t>
            </a:r>
            <a:r>
              <a:rPr kumimoji="1" lang="ja-JP" altLang="en-US" b="1"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484" name="テキスト ボックス 483">
            <a:extLst>
              <a:ext uri="{FF2B5EF4-FFF2-40B4-BE49-F238E27FC236}">
                <a16:creationId xmlns:a16="http://schemas.microsoft.com/office/drawing/2014/main" id="{4FEECC19-4387-4C25-B2EB-876DA38084F9}"/>
              </a:ext>
            </a:extLst>
          </p:cNvPr>
          <p:cNvSpPr txBox="1"/>
          <p:nvPr/>
        </p:nvSpPr>
        <p:spPr>
          <a:xfrm>
            <a:off x="8705018" y="4184001"/>
            <a:ext cx="999279" cy="369332"/>
          </a:xfrm>
          <a:prstGeom prst="rect">
            <a:avLst/>
          </a:prstGeom>
          <a:solidFill>
            <a:schemeClr val="bg1"/>
          </a:solidFill>
          <a:ln>
            <a:solidFill>
              <a:schemeClr val="bg2">
                <a:lumMod val="90000"/>
              </a:schemeClr>
            </a:solidFill>
          </a:ln>
        </p:spPr>
        <p:txBody>
          <a:bodyPr wrap="square" rtlCol="0">
            <a:spAutoFit/>
          </a:bodyPr>
          <a:lstStyle/>
          <a:p>
            <a:pPr algn="ctr"/>
            <a:r>
              <a:rPr kumimoji="1" lang="en-US" altLang="ja-JP" b="1" dirty="0">
                <a:latin typeface="Meiryo UI" panose="020B0604030504040204" pitchFamily="50" charset="-128"/>
                <a:ea typeface="Meiryo UI" panose="020B0604030504040204" pitchFamily="50" charset="-128"/>
                <a:cs typeface="Meiryo UI" panose="020B0604030504040204" pitchFamily="50" charset="-128"/>
              </a:rPr>
              <a:t>120</a:t>
            </a:r>
            <a:r>
              <a:rPr kumimoji="1" lang="ja-JP" altLang="en-US" b="1"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486" name="テキスト ボックス 485">
            <a:extLst>
              <a:ext uri="{FF2B5EF4-FFF2-40B4-BE49-F238E27FC236}">
                <a16:creationId xmlns:a16="http://schemas.microsoft.com/office/drawing/2014/main" id="{B1F7A0C1-0706-4E3A-9524-5C8ADAB8BC15}"/>
              </a:ext>
            </a:extLst>
          </p:cNvPr>
          <p:cNvSpPr txBox="1"/>
          <p:nvPr/>
        </p:nvSpPr>
        <p:spPr>
          <a:xfrm>
            <a:off x="282095" y="6293867"/>
            <a:ext cx="9416078" cy="307777"/>
          </a:xfrm>
          <a:prstGeom prst="rect">
            <a:avLst/>
          </a:prstGeom>
          <a:noFill/>
        </p:spPr>
        <p:txBody>
          <a:bodyPr wrap="square" rtlCol="0">
            <a:spAutoFit/>
          </a:bodyPr>
          <a:lstStyle/>
          <a:p>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GSE</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関連イベントを通じて海外</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VC</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アクセラレーター等の活動を招致、ネットワークを構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9" name="テキスト ボックス 358">
            <a:extLst>
              <a:ext uri="{FF2B5EF4-FFF2-40B4-BE49-F238E27FC236}">
                <a16:creationId xmlns:a16="http://schemas.microsoft.com/office/drawing/2014/main" id="{038A0912-7BB2-4A86-8877-AE10A180C844}"/>
              </a:ext>
            </a:extLst>
          </p:cNvPr>
          <p:cNvSpPr txBox="1"/>
          <p:nvPr/>
        </p:nvSpPr>
        <p:spPr>
          <a:xfrm>
            <a:off x="342575" y="2542686"/>
            <a:ext cx="3976747" cy="1600438"/>
          </a:xfrm>
          <a:prstGeom prst="rect">
            <a:avLst/>
          </a:prstGeom>
          <a:noFill/>
        </p:spPr>
        <p:txBody>
          <a:bodyPr wrap="square" rtlCol="0">
            <a:spAutoFit/>
          </a:bodyPr>
          <a:lstStyle/>
          <a:p>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一例</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a:t>
            </a:r>
          </a:p>
          <a:p>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err="1">
                <a:latin typeface="Meiryo UI" panose="020B0604030504040204" pitchFamily="50" charset="-128"/>
                <a:ea typeface="Meiryo UI" panose="020B0604030504040204" pitchFamily="50" charset="-128"/>
                <a:cs typeface="Meiryo UI" panose="020B0604030504040204" pitchFamily="50" charset="-128"/>
              </a:rPr>
              <a:t>OsakaInnovationHub</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で海外</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の国、都市、官民支援機関と関係を構築</a:t>
            </a:r>
            <a:endParaRPr kumimoji="1"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700" dirty="0">
                <a:latin typeface="Meiryo UI" panose="020B0604030504040204" pitchFamily="50" charset="-128"/>
                <a:ea typeface="Meiryo UI" panose="020B0604030504040204" pitchFamily="50" charset="-128"/>
                <a:cs typeface="Meiryo UI" panose="020B0604030504040204" pitchFamily="50" charset="-128"/>
              </a:rPr>
              <a:t>・けいはんな学研都市が海外イノベーション支援機関（</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28</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機関）と</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MOU</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締結</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zh-TW" altLang="en-US" sz="700" dirty="0">
                <a:latin typeface="Meiryo UI" panose="020B0604030504040204" pitchFamily="50" charset="-128"/>
                <a:ea typeface="Meiryo UI" panose="020B0604030504040204" pitchFamily="50" charset="-128"/>
                <a:cs typeface="Meiryo UI" panose="020B0604030504040204" pitchFamily="50" charset="-128"/>
              </a:rPr>
              <a:t>国際電気通信基礎技術研究所</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で</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42</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のグローバルイノベーション中核連携機関との</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ネットワークを構築</a:t>
            </a:r>
            <a:endParaRPr kumimoji="1"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700" dirty="0">
                <a:latin typeface="Meiryo UI" panose="020B0604030504040204" pitchFamily="50" charset="-128"/>
                <a:ea typeface="Meiryo UI" panose="020B0604030504040204" pitchFamily="50" charset="-128"/>
                <a:cs typeface="Meiryo UI" panose="020B0604030504040204" pitchFamily="50" charset="-128"/>
              </a:rPr>
              <a:t>・経済団体による海外商工会議所、各国経済団体のネットワーク</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アンバサダー（候補）が持つ海外エコシステムのネットワーク</a:t>
            </a:r>
            <a:endParaRPr kumimoji="1"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Osaka Landing Pad</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阪急）で海外スタートアップ、</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VC</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アクセラレーター等を誘致</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ABC</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プラットフォーム（関経連）でアジアの経済団体と協力して、各国の企業・団体間における人材・技術・サービス等の連携を促進</a:t>
            </a:r>
            <a:endParaRPr kumimoji="1"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GLOBAL INNOVATION FORUM OSAKA</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大商）による海外展示会への出展支援や、海外展開に関するセミナーの開催、情報発信等</a:t>
            </a:r>
            <a:endParaRPr kumimoji="1"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海外アクセラレーター（</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500</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err="1">
                <a:latin typeface="Meiryo UI" panose="020B0604030504040204" pitchFamily="50" charset="-128"/>
                <a:ea typeface="Meiryo UI" panose="020B0604030504040204" pitchFamily="50" charset="-128"/>
                <a:cs typeface="Meiryo UI" panose="020B0604030504040204" pitchFamily="50" charset="-128"/>
              </a:rPr>
              <a:t>Plug&amp;Play</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Rainmaking Innovation</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err="1">
                <a:latin typeface="Meiryo UI" panose="020B0604030504040204" pitchFamily="50" charset="-128"/>
                <a:ea typeface="Meiryo UI" panose="020B0604030504040204" pitchFamily="50" charset="-128"/>
                <a:cs typeface="Meiryo UI" panose="020B0604030504040204" pitchFamily="50" charset="-128"/>
              </a:rPr>
              <a:t>MedTechActuator</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a:latin typeface="Meiryo UI" panose="020B0604030504040204" pitchFamily="50" charset="-128"/>
                <a:ea typeface="Meiryo UI" panose="020B0604030504040204" pitchFamily="50" charset="-128"/>
                <a:cs typeface="Meiryo UI" panose="020B0604030504040204" pitchFamily="50" charset="-128"/>
              </a:rPr>
              <a:t>CIC</a:t>
            </a:r>
            <a:r>
              <a:rPr kumimoji="1" lang="ja-JP" altLang="en-US" sz="700" dirty="0">
                <a:latin typeface="Meiryo UI" panose="020B0604030504040204" pitchFamily="50" charset="-128"/>
                <a:ea typeface="Meiryo UI" panose="020B0604030504040204" pitchFamily="50" charset="-128"/>
                <a:cs typeface="Meiryo UI" panose="020B0604030504040204" pitchFamily="50" charset="-128"/>
              </a:rPr>
              <a:t>等）を招致</a:t>
            </a:r>
            <a:endParaRPr kumimoji="1" lang="en-US" altLang="ja-JP" sz="7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700" dirty="0">
                <a:latin typeface="Meiryo UI" panose="020B0604030504040204" pitchFamily="50" charset="-128"/>
                <a:ea typeface="Meiryo UI" panose="020B0604030504040204" pitchFamily="50" charset="-128"/>
                <a:cs typeface="Meiryo UI" panose="020B0604030504040204" pitchFamily="50" charset="-128"/>
              </a:rPr>
              <a:t>・関西のエコシステム形成に参画するメガバンクの全世界に広まるネットワークを活用</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299317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タイトル 1">
            <a:extLst>
              <a:ext uri="{FF2B5EF4-FFF2-40B4-BE49-F238E27FC236}">
                <a16:creationId xmlns:a16="http://schemas.microsoft.com/office/drawing/2014/main" id="{FF8DA0F7-BB59-D643-D2B2-F13D01CA9849}"/>
              </a:ext>
            </a:extLst>
          </p:cNvPr>
          <p:cNvSpPr txBox="1">
            <a:spLocks/>
          </p:cNvSpPr>
          <p:nvPr/>
        </p:nvSpPr>
        <p:spPr bwMode="gray">
          <a:xfrm>
            <a:off x="181744" y="160143"/>
            <a:ext cx="9505503" cy="307777"/>
          </a:xfrm>
          <a:prstGeom prst="rect">
            <a:avLst/>
          </a:prstGeom>
        </p:spPr>
        <p:txBody>
          <a:bodyPr vert="horz" lIns="91440" tIns="45720" rIns="91440" bIns="45720" rtlCol="0" anchor="ctr">
            <a:normAutofit/>
          </a:bodyPr>
          <a:lst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２</a:t>
            </a:r>
            <a:r>
              <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rPr>
              <a:t>-3.</a:t>
            </a:r>
            <a:r>
              <a:rPr lang="ja-JP" altLang="en-US" sz="1400" u="sng" dirty="0">
                <a:latin typeface="メイリオ" panose="020B0604030504040204" pitchFamily="50" charset="-128"/>
                <a:ea typeface="メイリオ" panose="020B0604030504040204" pitchFamily="50" charset="-128"/>
                <a:cs typeface="メイリオ" panose="020B0604030504040204" pitchFamily="50" charset="-128"/>
              </a:rPr>
              <a:t>ディープテック・スタートアップの創出、成長、海外展開に向けた活動</a:t>
            </a:r>
            <a:endParaRPr lang="en-US" altLang="ja-JP" sz="1400"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0" name="正方形/長方形 39">
            <a:extLst>
              <a:ext uri="{FF2B5EF4-FFF2-40B4-BE49-F238E27FC236}">
                <a16:creationId xmlns:a16="http://schemas.microsoft.com/office/drawing/2014/main" id="{29CA3A73-64F3-EF6B-C6FE-F92AFE5094C0}"/>
              </a:ext>
            </a:extLst>
          </p:cNvPr>
          <p:cNvSpPr/>
          <p:nvPr/>
        </p:nvSpPr>
        <p:spPr bwMode="auto">
          <a:xfrm>
            <a:off x="0" y="565532"/>
            <a:ext cx="9906000" cy="504694"/>
          </a:xfrm>
          <a:prstGeom prst="rect">
            <a:avLst/>
          </a:prstGeom>
          <a:noFill/>
          <a:ln w="9525">
            <a:solidFill>
              <a:schemeClr val="bg1">
                <a:lumMod val="75000"/>
              </a:schemeClr>
            </a:solidFill>
            <a:miter lim="800000"/>
            <a:headEnd/>
            <a:tailEnd/>
          </a:ln>
          <a:effectLst/>
        </p:spPr>
        <p:txBody>
          <a:bodyPr wrap="square" rtlCol="0" anchor="ctr"/>
          <a:lstStyle/>
          <a:p>
            <a:r>
              <a:rPr kumimoji="0" lang="en-US" altLang="ja-JP" sz="1200" b="1" dirty="0">
                <a:latin typeface="Meiryo UI" panose="020B0604030504040204" pitchFamily="50" charset="-128"/>
                <a:ea typeface="Meiryo UI" panose="020B0604030504040204" pitchFamily="50" charset="-128"/>
              </a:rPr>
              <a:t>GSE2026</a:t>
            </a:r>
            <a:r>
              <a:rPr kumimoji="0" lang="ja-JP" altLang="en-US" sz="1200" b="1" dirty="0">
                <a:latin typeface="Meiryo UI" panose="020B0604030504040204" pitchFamily="50" charset="-128"/>
                <a:ea typeface="Meiryo UI" panose="020B0604030504040204" pitchFamily="50" charset="-128"/>
              </a:rPr>
              <a:t>をイベント単体の活動とせず、「エコシステム構築」を目標に定め、大学の研究シーズの発掘・披露やアクセラレーション等を内容とするプレ活動、国内有力の研究機関の視察、ノーベル賞受賞者、関連企業との意見交換を通じた共創・事業連携の促進等を内容とするフォローアップ活動も展開します！</a:t>
            </a:r>
          </a:p>
        </p:txBody>
      </p:sp>
      <p:sp>
        <p:nvSpPr>
          <p:cNvPr id="2" name="正方形/長方形 1">
            <a:extLst>
              <a:ext uri="{FF2B5EF4-FFF2-40B4-BE49-F238E27FC236}">
                <a16:creationId xmlns:a16="http://schemas.microsoft.com/office/drawing/2014/main" id="{0177B560-C384-456F-B92A-4496B85EA86F}"/>
              </a:ext>
            </a:extLst>
          </p:cNvPr>
          <p:cNvSpPr/>
          <p:nvPr/>
        </p:nvSpPr>
        <p:spPr bwMode="auto">
          <a:xfrm>
            <a:off x="313522" y="2082182"/>
            <a:ext cx="3182370" cy="1641860"/>
          </a:xfrm>
          <a:prstGeom prst="rect">
            <a:avLst/>
          </a:prstGeom>
          <a:noFill/>
          <a:ln w="9525">
            <a:noFill/>
            <a:miter lim="800000"/>
            <a:headEnd/>
            <a:tailEnd/>
          </a:ln>
          <a:effectLst/>
        </p:spPr>
        <p:txBody>
          <a:bodyPr wrap="square" rtlCol="0" anchor="t" anchorCtr="0"/>
          <a:lstStyle/>
          <a:p>
            <a:r>
              <a:rPr kumimoji="0" lang="ja-JP" altLang="en-US" sz="1050" dirty="0">
                <a:latin typeface="Meiryo UI" panose="020B0604030504040204" pitchFamily="50" charset="-128"/>
                <a:ea typeface="Meiryo UI" panose="020B0604030504040204" pitchFamily="50" charset="-128"/>
              </a:rPr>
              <a:t>・全国各県と連携したプロモーションイベント等によるグローバルマインド醸成、グローバルピッチイベントに向けた国内セレクション</a:t>
            </a:r>
            <a:endParaRPr kumimoji="0" lang="en-US" altLang="ja-JP" sz="1050" dirty="0">
              <a:latin typeface="Meiryo UI" panose="020B0604030504040204" pitchFamily="50" charset="-128"/>
              <a:ea typeface="Meiryo UI" panose="020B0604030504040204" pitchFamily="50" charset="-128"/>
            </a:endParaRPr>
          </a:p>
          <a:p>
            <a:endParaRPr kumimoji="0" lang="en-US" altLang="ja-JP" sz="8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国内トップクラスの</a:t>
            </a:r>
            <a:r>
              <a:rPr kumimoji="0" lang="en-US" altLang="ja-JP" sz="1050" dirty="0">
                <a:latin typeface="Meiryo UI" panose="020B0604030504040204" pitchFamily="50" charset="-128"/>
                <a:ea typeface="Meiryo UI" panose="020B0604030504040204" pitchFamily="50" charset="-128"/>
              </a:rPr>
              <a:t>VC</a:t>
            </a:r>
            <a:r>
              <a:rPr kumimoji="0" lang="ja-JP" altLang="en-US" sz="1050" dirty="0">
                <a:latin typeface="Meiryo UI" panose="020B0604030504040204" pitchFamily="50" charset="-128"/>
                <a:ea typeface="Meiryo UI" panose="020B0604030504040204" pitchFamily="50" charset="-128"/>
              </a:rPr>
              <a:t>と連携した海外に通じる有力なスタートアップの開拓</a:t>
            </a:r>
            <a:endParaRPr kumimoji="0" lang="en-US" altLang="ja-JP" sz="1050" dirty="0">
              <a:latin typeface="Meiryo UI" panose="020B0604030504040204" pitchFamily="50" charset="-128"/>
              <a:ea typeface="Meiryo UI" panose="020B0604030504040204" pitchFamily="50" charset="-128"/>
            </a:endParaRPr>
          </a:p>
          <a:p>
            <a:endParaRPr kumimoji="0" lang="en-US" altLang="ja-JP" sz="8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a:t>
            </a:r>
            <a:r>
              <a:rPr kumimoji="0" lang="en-US" altLang="ja-JP" sz="1050" dirty="0">
                <a:latin typeface="Meiryo UI" panose="020B0604030504040204" pitchFamily="50" charset="-128"/>
                <a:ea typeface="Meiryo UI" panose="020B0604030504040204" pitchFamily="50" charset="-128"/>
              </a:rPr>
              <a:t>NINE-JP</a:t>
            </a:r>
            <a:r>
              <a:rPr kumimoji="0" lang="ja-JP" altLang="en-US" sz="1050" dirty="0">
                <a:latin typeface="Meiryo UI" panose="020B0604030504040204" pitchFamily="50" charset="-128"/>
                <a:ea typeface="Meiryo UI" panose="020B0604030504040204" pitchFamily="50" charset="-128"/>
              </a:rPr>
              <a:t>と連携した全国の大学発スタートアップと研究シーズの披露</a:t>
            </a:r>
          </a:p>
          <a:p>
            <a:endParaRPr kumimoji="0" lang="ja-JP" altLang="en-US" sz="105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CB945EEC-9446-40FD-8DE9-E189035C7FE2}"/>
              </a:ext>
            </a:extLst>
          </p:cNvPr>
          <p:cNvSpPr/>
          <p:nvPr/>
        </p:nvSpPr>
        <p:spPr bwMode="auto">
          <a:xfrm>
            <a:off x="316531" y="4032182"/>
            <a:ext cx="3182370" cy="1112644"/>
          </a:xfrm>
          <a:prstGeom prst="rect">
            <a:avLst/>
          </a:prstGeom>
          <a:noFill/>
          <a:ln w="9525">
            <a:noFill/>
            <a:miter lim="800000"/>
            <a:headEnd/>
            <a:tailEnd/>
          </a:ln>
          <a:effectLst/>
        </p:spPr>
        <p:txBody>
          <a:bodyPr wrap="square" rtlCol="0" anchor="ctr"/>
          <a:lstStyle/>
          <a:p>
            <a:r>
              <a:rPr kumimoji="0" lang="ja-JP" altLang="en-US" sz="1050" dirty="0">
                <a:latin typeface="Meiryo UI" panose="020B0604030504040204" pitchFamily="50" charset="-128"/>
                <a:ea typeface="Meiryo UI" panose="020B0604030504040204" pitchFamily="50" charset="-128"/>
              </a:rPr>
              <a:t>・海外アクセラレーター等と連携した、海外向けのピッチ資料のブラッシュアップ、プレゼンテーション強化</a:t>
            </a:r>
            <a:endParaRPr kumimoji="0" lang="en-US" altLang="ja-JP" sz="1050" dirty="0">
              <a:latin typeface="Meiryo UI" panose="020B0604030504040204" pitchFamily="50" charset="-128"/>
              <a:ea typeface="Meiryo UI" panose="020B0604030504040204" pitchFamily="50" charset="-128"/>
            </a:endParaRPr>
          </a:p>
          <a:p>
            <a:endParaRPr kumimoji="0" lang="en-US" altLang="ja-JP" sz="8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バイオ、ヘルスケアを対象とした</a:t>
            </a:r>
            <a:r>
              <a:rPr kumimoji="0" lang="en-US" altLang="ja-JP" sz="1050" dirty="0">
                <a:latin typeface="Meiryo UI" panose="020B0604030504040204" pitchFamily="50" charset="-128"/>
                <a:ea typeface="Meiryo UI" panose="020B0604030504040204" pitchFamily="50" charset="-128"/>
              </a:rPr>
              <a:t>COO</a:t>
            </a:r>
            <a:r>
              <a:rPr kumimoji="0" lang="ja-JP" altLang="en-US" sz="1050" dirty="0">
                <a:latin typeface="Meiryo UI" panose="020B0604030504040204" pitchFamily="50" charset="-128"/>
                <a:ea typeface="Meiryo UI" panose="020B0604030504040204" pitchFamily="50" charset="-128"/>
              </a:rPr>
              <a:t>人材育成プログラム</a:t>
            </a:r>
            <a:endParaRPr kumimoji="0" lang="en-US" altLang="ja-JP" sz="1050" dirty="0">
              <a:latin typeface="Meiryo UI" panose="020B0604030504040204" pitchFamily="50" charset="-128"/>
              <a:ea typeface="Meiryo UI" panose="020B0604030504040204" pitchFamily="50" charset="-128"/>
            </a:endParaRPr>
          </a:p>
          <a:p>
            <a:endParaRPr kumimoji="0" lang="en-US" altLang="ja-JP" sz="8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a:t>
            </a:r>
            <a:r>
              <a:rPr kumimoji="0" lang="en-US" altLang="ja-JP" sz="1050" dirty="0">
                <a:latin typeface="Meiryo UI" panose="020B0604030504040204" pitchFamily="50" charset="-128"/>
                <a:ea typeface="Meiryo UI" panose="020B0604030504040204" pitchFamily="50" charset="-128"/>
              </a:rPr>
              <a:t>VIVATECH</a:t>
            </a:r>
            <a:r>
              <a:rPr kumimoji="0" lang="ja-JP" altLang="en-US" sz="1050" dirty="0">
                <a:latin typeface="Meiryo UI" panose="020B0604030504040204" pitchFamily="50" charset="-128"/>
                <a:ea typeface="Meiryo UI" panose="020B0604030504040204" pitchFamily="50" charset="-128"/>
              </a:rPr>
              <a:t>等海外展示会を通じたマーケティング支援</a:t>
            </a:r>
            <a:endParaRPr kumimoji="0" lang="en-US" altLang="ja-JP" sz="105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D97400E3-4CDD-4E37-B6D2-EEF0A50F5488}"/>
              </a:ext>
            </a:extLst>
          </p:cNvPr>
          <p:cNvSpPr/>
          <p:nvPr/>
        </p:nvSpPr>
        <p:spPr bwMode="auto">
          <a:xfrm>
            <a:off x="6728279" y="1859809"/>
            <a:ext cx="3172293" cy="2079322"/>
          </a:xfrm>
          <a:prstGeom prst="rect">
            <a:avLst/>
          </a:prstGeom>
          <a:noFill/>
          <a:ln w="9525">
            <a:noFill/>
            <a:miter lim="800000"/>
            <a:headEnd/>
            <a:tailEnd/>
          </a:ln>
          <a:effectLst/>
        </p:spPr>
        <p:txBody>
          <a:bodyPr wrap="square" rtlCol="0" anchor="t" anchorCtr="0"/>
          <a:lstStyle/>
          <a:p>
            <a:r>
              <a:rPr kumimoji="0" lang="ja-JP" altLang="en-US" sz="1050" dirty="0">
                <a:latin typeface="Meiryo UI" panose="020B0604030504040204" pitchFamily="50" charset="-128"/>
                <a:ea typeface="Meiryo UI" panose="020B0604030504040204" pitchFamily="50" charset="-128"/>
              </a:rPr>
              <a:t>・関西独自のグローバルピッチ、海外展開支援プログラム及び</a:t>
            </a:r>
            <a:r>
              <a:rPr kumimoji="0" lang="en-US" altLang="ja-JP" sz="1050" dirty="0">
                <a:latin typeface="Meiryo UI" panose="020B0604030504040204" pitchFamily="50" charset="-128"/>
                <a:ea typeface="Meiryo UI" panose="020B0604030504040204" pitchFamily="50" charset="-128"/>
              </a:rPr>
              <a:t>JETRO GSAP</a:t>
            </a:r>
            <a:r>
              <a:rPr kumimoji="0" lang="ja-JP" altLang="en-US" sz="1050" dirty="0">
                <a:latin typeface="Meiryo UI" panose="020B0604030504040204" pitchFamily="50" charset="-128"/>
                <a:ea typeface="Meiryo UI" panose="020B0604030504040204" pitchFamily="50" charset="-128"/>
              </a:rPr>
              <a:t>を通じたスタートアップの海外進出支援</a:t>
            </a:r>
            <a:endParaRPr kumimoji="0" lang="en-US" altLang="ja-JP" sz="1050" dirty="0">
              <a:latin typeface="Meiryo UI" panose="020B0604030504040204" pitchFamily="50" charset="-128"/>
              <a:ea typeface="Meiryo UI" panose="020B0604030504040204" pitchFamily="50" charset="-128"/>
            </a:endParaRPr>
          </a:p>
          <a:p>
            <a:endParaRPr kumimoji="0" lang="en-US" altLang="ja-JP" sz="7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関西で活動する海外</a:t>
            </a:r>
            <a:r>
              <a:rPr kumimoji="0" lang="en-US" altLang="ja-JP" sz="1050" dirty="0">
                <a:latin typeface="Meiryo UI" panose="020B0604030504040204" pitchFamily="50" charset="-128"/>
                <a:ea typeface="Meiryo UI" panose="020B0604030504040204" pitchFamily="50" charset="-128"/>
              </a:rPr>
              <a:t>VC</a:t>
            </a:r>
            <a:r>
              <a:rPr kumimoji="0" lang="ja-JP" altLang="en-US" sz="1050" dirty="0">
                <a:latin typeface="Meiryo UI" panose="020B0604030504040204" pitchFamily="50" charset="-128"/>
                <a:ea typeface="Meiryo UI" panose="020B0604030504040204" pitchFamily="50" charset="-128"/>
              </a:rPr>
              <a:t>等による支援プログラム</a:t>
            </a:r>
            <a:endParaRPr kumimoji="0" lang="en-US" altLang="ja-JP" sz="1050" dirty="0">
              <a:latin typeface="Meiryo UI" panose="020B0604030504040204" pitchFamily="50" charset="-128"/>
              <a:ea typeface="Meiryo UI" panose="020B0604030504040204" pitchFamily="50" charset="-128"/>
            </a:endParaRPr>
          </a:p>
          <a:p>
            <a:endParaRPr kumimoji="0" lang="en-US" altLang="ja-JP" sz="6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ライフサイエンススタートアップに対する海外イマージョンプログラム</a:t>
            </a:r>
            <a:endParaRPr kumimoji="0" lang="en-US" altLang="ja-JP" sz="1050" dirty="0">
              <a:latin typeface="Meiryo UI" panose="020B0604030504040204" pitchFamily="50" charset="-128"/>
              <a:ea typeface="Meiryo UI" panose="020B0604030504040204" pitchFamily="50" charset="-128"/>
            </a:endParaRPr>
          </a:p>
          <a:p>
            <a:endParaRPr kumimoji="0" lang="en-US" altLang="ja-JP" sz="6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国内外薬事承認に対応した</a:t>
            </a:r>
            <a:r>
              <a:rPr kumimoji="0" lang="en-US" altLang="ja-JP" sz="1050" dirty="0">
                <a:latin typeface="Meiryo UI" panose="020B0604030504040204" pitchFamily="50" charset="-128"/>
                <a:ea typeface="Meiryo UI" panose="020B0604030504040204" pitchFamily="50" charset="-128"/>
              </a:rPr>
              <a:t>AI</a:t>
            </a:r>
            <a:r>
              <a:rPr kumimoji="0" lang="ja-JP" altLang="en-US" sz="1050" dirty="0">
                <a:latin typeface="Meiryo UI" panose="020B0604030504040204" pitchFamily="50" charset="-128"/>
                <a:ea typeface="Meiryo UI" panose="020B0604030504040204" pitchFamily="50" charset="-128"/>
              </a:rPr>
              <a:t>創薬支援プログラム</a:t>
            </a:r>
            <a:endParaRPr kumimoji="0" lang="en-US" altLang="ja-JP" sz="1050" dirty="0">
              <a:latin typeface="Meiryo UI" panose="020B0604030504040204" pitchFamily="50" charset="-128"/>
              <a:ea typeface="Meiryo UI" panose="020B0604030504040204" pitchFamily="50" charset="-128"/>
            </a:endParaRPr>
          </a:p>
          <a:p>
            <a:endParaRPr kumimoji="0" lang="en-US" altLang="ja-JP" sz="6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国内研究シーズと海外経営人材のマッチングで生まれたスタートアップの事業化支援</a:t>
            </a:r>
          </a:p>
        </p:txBody>
      </p:sp>
      <p:sp>
        <p:nvSpPr>
          <p:cNvPr id="3" name="テキスト ボックス 2">
            <a:extLst>
              <a:ext uri="{FF2B5EF4-FFF2-40B4-BE49-F238E27FC236}">
                <a16:creationId xmlns:a16="http://schemas.microsoft.com/office/drawing/2014/main" id="{1E6BA8E2-B268-4DAF-911C-75E79DD4AD35}"/>
              </a:ext>
            </a:extLst>
          </p:cNvPr>
          <p:cNvSpPr txBox="1"/>
          <p:nvPr/>
        </p:nvSpPr>
        <p:spPr>
          <a:xfrm>
            <a:off x="7241823" y="1181969"/>
            <a:ext cx="2216400" cy="338554"/>
          </a:xfrm>
          <a:prstGeom prst="rect">
            <a:avLst/>
          </a:prstGeom>
          <a:noFill/>
        </p:spPr>
        <p:txBody>
          <a:bodyPr wrap="square" rtlCol="0">
            <a:spAutoFit/>
          </a:bodyPr>
          <a:lstStyle/>
          <a:p>
            <a:r>
              <a:rPr kumimoji="1" lang="en-US" altLang="ja-JP" sz="1600" b="1"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1" dirty="0">
                <a:latin typeface="Meiryo UI" panose="020B0604030504040204" pitchFamily="50" charset="-128"/>
                <a:ea typeface="Meiryo UI" panose="020B0604030504040204" pitchFamily="50" charset="-128"/>
                <a:cs typeface="Meiryo UI" panose="020B0604030504040204" pitchFamily="50" charset="-128"/>
              </a:rPr>
              <a:t>フォローアップ活動</a:t>
            </a:r>
            <a:r>
              <a:rPr kumimoji="1" lang="en-US" altLang="ja-JP" sz="16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4">
            <a:extLst>
              <a:ext uri="{FF2B5EF4-FFF2-40B4-BE49-F238E27FC236}">
                <a16:creationId xmlns:a16="http://schemas.microsoft.com/office/drawing/2014/main" id="{1A8ABAB5-76B6-4EF1-9792-68312DB1230E}"/>
              </a:ext>
            </a:extLst>
          </p:cNvPr>
          <p:cNvSpPr/>
          <p:nvPr/>
        </p:nvSpPr>
        <p:spPr bwMode="auto">
          <a:xfrm>
            <a:off x="3522197" y="1702404"/>
            <a:ext cx="2843298" cy="4699651"/>
          </a:xfrm>
          <a:prstGeom prst="rect">
            <a:avLst/>
          </a:prstGeom>
          <a:solidFill>
            <a:schemeClr val="accent1">
              <a:lumMod val="20000"/>
              <a:lumOff val="80000"/>
            </a:schemeClr>
          </a:solidFill>
          <a:ln w="9525">
            <a:solidFill>
              <a:srgbClr val="B2B2B2"/>
            </a:solidFill>
            <a:miter lim="800000"/>
            <a:headEnd/>
            <a:tailEnd/>
          </a:ln>
          <a:effectLst/>
        </p:spPr>
        <p:txBody>
          <a:bodyPr wrap="none" rtlCol="0" anchor="ctr"/>
          <a:lstStyle/>
          <a:p>
            <a:pPr algn="ctr"/>
            <a:r>
              <a:rPr kumimoji="0" lang="en-US" altLang="ja-JP" sz="2000" b="1" dirty="0">
                <a:latin typeface="Meiryo UI" panose="020B0604030504040204" pitchFamily="50" charset="-128"/>
                <a:ea typeface="Meiryo UI" panose="020B0604030504040204" pitchFamily="50" charset="-128"/>
              </a:rPr>
              <a:t>GSE2026</a:t>
            </a:r>
          </a:p>
          <a:p>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cs typeface="Meiryo UI" panose="020B0604030504040204" pitchFamily="50" charset="-128"/>
              </a:rPr>
              <a:t>国内外のスタートアップ、</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VC</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事業会社</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多様な交流・成長機会を用意</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分野別のグローバルピッチコンテスト</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海外経営人材とのマッチング</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分野別のマッチングブースの確保</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　・国内大手企業と国内外のスタートアップの</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マッチング</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に向けた</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アテンド体制確保</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全国のディープテック関係機関を</a:t>
            </a: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視察先とした</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オンサイトツアー</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a:lnSpc>
                <a:spcPct val="150000"/>
              </a:lnSpc>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分野を跨いだ合同ネットワーキング</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テキスト ボックス 25">
            <a:extLst>
              <a:ext uri="{FF2B5EF4-FFF2-40B4-BE49-F238E27FC236}">
                <a16:creationId xmlns:a16="http://schemas.microsoft.com/office/drawing/2014/main" id="{94129743-ADD1-4997-941F-60CEC1F4D747}"/>
              </a:ext>
            </a:extLst>
          </p:cNvPr>
          <p:cNvSpPr txBox="1"/>
          <p:nvPr/>
        </p:nvSpPr>
        <p:spPr>
          <a:xfrm>
            <a:off x="416958" y="1183511"/>
            <a:ext cx="1888733" cy="340720"/>
          </a:xfrm>
          <a:prstGeom prst="rect">
            <a:avLst/>
          </a:prstGeom>
          <a:noFill/>
        </p:spPr>
        <p:txBody>
          <a:bodyPr wrap="square" rtlCol="0">
            <a:spAutoFit/>
          </a:bodyPr>
          <a:lstStyle/>
          <a:p>
            <a:pPr algn="ctr"/>
            <a:r>
              <a:rPr kumimoji="1" lang="en-US" altLang="ja-JP" sz="1600" b="1"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1" dirty="0">
                <a:latin typeface="Meiryo UI" panose="020B0604030504040204" pitchFamily="50" charset="-128"/>
                <a:ea typeface="Meiryo UI" panose="020B0604030504040204" pitchFamily="50" charset="-128"/>
                <a:cs typeface="Meiryo UI" panose="020B0604030504040204" pitchFamily="50" charset="-128"/>
              </a:rPr>
              <a:t>プレ活動</a:t>
            </a:r>
            <a:r>
              <a:rPr kumimoji="1" lang="en-US" altLang="ja-JP" sz="1600" b="1"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a:extLst>
              <a:ext uri="{FF2B5EF4-FFF2-40B4-BE49-F238E27FC236}">
                <a16:creationId xmlns:a16="http://schemas.microsoft.com/office/drawing/2014/main" id="{EE29CB70-8719-480E-836F-1460C9353C98}"/>
              </a:ext>
            </a:extLst>
          </p:cNvPr>
          <p:cNvSpPr/>
          <p:nvPr/>
        </p:nvSpPr>
        <p:spPr bwMode="auto">
          <a:xfrm>
            <a:off x="6736830" y="4299871"/>
            <a:ext cx="3172293" cy="1115414"/>
          </a:xfrm>
          <a:prstGeom prst="rect">
            <a:avLst/>
          </a:prstGeom>
          <a:noFill/>
          <a:ln w="9525">
            <a:noFill/>
            <a:miter lim="800000"/>
            <a:headEnd/>
            <a:tailEnd/>
          </a:ln>
          <a:effectLst/>
        </p:spPr>
        <p:txBody>
          <a:bodyPr wrap="square" rtlCol="0" anchor="t" anchorCtr="0"/>
          <a:lstStyle/>
          <a:p>
            <a:r>
              <a:rPr kumimoji="0" lang="ja-JP" altLang="en-US" sz="1050" dirty="0">
                <a:latin typeface="Meiryo UI" panose="020B0604030504040204" pitchFamily="50" charset="-128"/>
                <a:ea typeface="Meiryo UI" panose="020B0604030504040204" pitchFamily="50" charset="-128"/>
              </a:rPr>
              <a:t>・巨大テック企業も参画する世界最大級のグローバル</a:t>
            </a:r>
            <a:r>
              <a:rPr kumimoji="0" lang="en-US" altLang="ja-JP" sz="1050" dirty="0">
                <a:latin typeface="Meiryo UI" panose="020B0604030504040204" pitchFamily="50" charset="-128"/>
                <a:ea typeface="Meiryo UI" panose="020B0604030504040204" pitchFamily="50" charset="-128"/>
              </a:rPr>
              <a:t>CVC</a:t>
            </a:r>
            <a:r>
              <a:rPr kumimoji="0" lang="ja-JP" altLang="en-US" sz="1050" dirty="0">
                <a:latin typeface="Meiryo UI" panose="020B0604030504040204" pitchFamily="50" charset="-128"/>
                <a:ea typeface="Meiryo UI" panose="020B0604030504040204" pitchFamily="50" charset="-128"/>
              </a:rPr>
              <a:t>コミュニティの活動招致による国内</a:t>
            </a:r>
            <a:r>
              <a:rPr kumimoji="0" lang="en-US" altLang="ja-JP" sz="1050" dirty="0">
                <a:latin typeface="Meiryo UI" panose="020B0604030504040204" pitchFamily="50" charset="-128"/>
                <a:ea typeface="Meiryo UI" panose="020B0604030504040204" pitchFamily="50" charset="-128"/>
              </a:rPr>
              <a:t>CVC</a:t>
            </a:r>
            <a:r>
              <a:rPr kumimoji="0" lang="ja-JP" altLang="en-US" sz="1050" dirty="0">
                <a:latin typeface="Meiryo UI" panose="020B0604030504040204" pitchFamily="50" charset="-128"/>
                <a:ea typeface="Meiryo UI" panose="020B0604030504040204" pitchFamily="50" charset="-128"/>
              </a:rPr>
              <a:t>の活動促進</a:t>
            </a:r>
            <a:endParaRPr kumimoji="0" lang="en-US" altLang="ja-JP" sz="1050" dirty="0">
              <a:latin typeface="Meiryo UI" panose="020B0604030504040204" pitchFamily="50" charset="-128"/>
              <a:ea typeface="Meiryo UI" panose="020B0604030504040204" pitchFamily="50" charset="-128"/>
            </a:endParaRPr>
          </a:p>
          <a:p>
            <a:endParaRPr kumimoji="0" lang="en-US" altLang="ja-JP" sz="8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国内有力の研究機関の視察、ノーベル賞受賞者、関連企業との意見交換を通じた共創、事業連携</a:t>
            </a:r>
          </a:p>
        </p:txBody>
      </p:sp>
      <p:sp>
        <p:nvSpPr>
          <p:cNvPr id="4" name="テキスト ボックス 3">
            <a:extLst>
              <a:ext uri="{FF2B5EF4-FFF2-40B4-BE49-F238E27FC236}">
                <a16:creationId xmlns:a16="http://schemas.microsoft.com/office/drawing/2014/main" id="{4FA445AA-4DAE-4CCC-8EAA-8583F6C745C6}"/>
              </a:ext>
            </a:extLst>
          </p:cNvPr>
          <p:cNvSpPr txBox="1"/>
          <p:nvPr/>
        </p:nvSpPr>
        <p:spPr>
          <a:xfrm>
            <a:off x="59413" y="1642570"/>
            <a:ext cx="3097253" cy="338554"/>
          </a:xfrm>
          <a:prstGeom prst="rect">
            <a:avLst/>
          </a:prstGeom>
          <a:noFill/>
        </p:spPr>
        <p:txBody>
          <a:bodyPr wrap="square" rtlCol="0">
            <a:spAutoFit/>
          </a:bodyPr>
          <a:lstStyle/>
          <a:p>
            <a:r>
              <a:rPr lang="ja-JP" altLang="en-US" sz="1600" b="1" dirty="0">
                <a:latin typeface="Meiryo UI" panose="020B0604030504040204" pitchFamily="50" charset="-128"/>
                <a:ea typeface="Meiryo UI" panose="020B0604030504040204" pitchFamily="50" charset="-128"/>
                <a:cs typeface="Meiryo UI" panose="020B0604030504040204" pitchFamily="50" charset="-128"/>
              </a:rPr>
              <a:t>グローバルマインド醸成、参加促進</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3" name="直線矢印コネクタ 12">
            <a:extLst>
              <a:ext uri="{FF2B5EF4-FFF2-40B4-BE49-F238E27FC236}">
                <a16:creationId xmlns:a16="http://schemas.microsoft.com/office/drawing/2014/main" id="{231219CC-4AEC-4112-8511-F9AE7CA18D6F}"/>
              </a:ext>
            </a:extLst>
          </p:cNvPr>
          <p:cNvCxnSpPr>
            <a:cxnSpLocks/>
          </p:cNvCxnSpPr>
          <p:nvPr/>
        </p:nvCxnSpPr>
        <p:spPr>
          <a:xfrm>
            <a:off x="182481" y="2027233"/>
            <a:ext cx="297418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5842C393-E2A4-425C-8A6D-C3D076DDD323}"/>
              </a:ext>
            </a:extLst>
          </p:cNvPr>
          <p:cNvSpPr txBox="1"/>
          <p:nvPr/>
        </p:nvSpPr>
        <p:spPr>
          <a:xfrm>
            <a:off x="181744" y="3575922"/>
            <a:ext cx="2950075" cy="338554"/>
          </a:xfrm>
          <a:prstGeom prst="rect">
            <a:avLst/>
          </a:prstGeom>
          <a:noFill/>
        </p:spPr>
        <p:txBody>
          <a:bodyPr wrap="square" rtlCol="0">
            <a:spAutoFit/>
          </a:bodyPr>
          <a:lstStyle/>
          <a:p>
            <a:r>
              <a:rPr lang="ja-JP" altLang="en-US" sz="1600" b="1" dirty="0">
                <a:latin typeface="Meiryo UI" panose="020B0604030504040204" pitchFamily="50" charset="-128"/>
                <a:ea typeface="Meiryo UI" panose="020B0604030504040204" pitchFamily="50" charset="-128"/>
                <a:cs typeface="Meiryo UI" panose="020B0604030504040204" pitchFamily="50" charset="-128"/>
              </a:rPr>
              <a:t>海外進出前の伴走支援等</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3" name="直線矢印コネクタ 32">
            <a:extLst>
              <a:ext uri="{FF2B5EF4-FFF2-40B4-BE49-F238E27FC236}">
                <a16:creationId xmlns:a16="http://schemas.microsoft.com/office/drawing/2014/main" id="{922C156D-90C8-4F64-9B8F-08E8C9CA6E6E}"/>
              </a:ext>
            </a:extLst>
          </p:cNvPr>
          <p:cNvCxnSpPr>
            <a:cxnSpLocks/>
          </p:cNvCxnSpPr>
          <p:nvPr/>
        </p:nvCxnSpPr>
        <p:spPr>
          <a:xfrm>
            <a:off x="218869" y="3932203"/>
            <a:ext cx="297418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EDFE2402-C7A5-406E-B268-AA80CB2CF57D}"/>
              </a:ext>
            </a:extLst>
          </p:cNvPr>
          <p:cNvCxnSpPr>
            <a:cxnSpLocks/>
          </p:cNvCxnSpPr>
          <p:nvPr/>
        </p:nvCxnSpPr>
        <p:spPr>
          <a:xfrm>
            <a:off x="6618293" y="1839826"/>
            <a:ext cx="297418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F2E8B308-A92C-4C31-92A0-A9B0924C3061}"/>
              </a:ext>
            </a:extLst>
          </p:cNvPr>
          <p:cNvSpPr txBox="1"/>
          <p:nvPr/>
        </p:nvSpPr>
        <p:spPr>
          <a:xfrm>
            <a:off x="145356" y="5342942"/>
            <a:ext cx="2751956" cy="338554"/>
          </a:xfrm>
          <a:prstGeom prst="rect">
            <a:avLst/>
          </a:prstGeom>
          <a:noFill/>
        </p:spPr>
        <p:txBody>
          <a:bodyPr wrap="square" rtlCol="0">
            <a:spAutoFit/>
          </a:bodyPr>
          <a:lstStyle/>
          <a:p>
            <a:r>
              <a:rPr lang="ja-JP" altLang="en-US" sz="1600" b="1" dirty="0">
                <a:latin typeface="Meiryo UI" panose="020B0604030504040204" pitchFamily="50" charset="-128"/>
                <a:ea typeface="Meiryo UI" panose="020B0604030504040204" pitchFamily="50" charset="-128"/>
                <a:cs typeface="Meiryo UI" panose="020B0604030504040204" pitchFamily="50" charset="-128"/>
              </a:rPr>
              <a:t>実装化機能の成果の披露</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1" name="直線矢印コネクタ 40">
            <a:extLst>
              <a:ext uri="{FF2B5EF4-FFF2-40B4-BE49-F238E27FC236}">
                <a16:creationId xmlns:a16="http://schemas.microsoft.com/office/drawing/2014/main" id="{5FCC7196-5C23-440F-BB78-3635C1A8D687}"/>
              </a:ext>
            </a:extLst>
          </p:cNvPr>
          <p:cNvCxnSpPr>
            <a:cxnSpLocks/>
          </p:cNvCxnSpPr>
          <p:nvPr/>
        </p:nvCxnSpPr>
        <p:spPr>
          <a:xfrm>
            <a:off x="182481" y="5699223"/>
            <a:ext cx="297418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E2305EBE-6C85-4EB3-837F-523D8C81F8D0}"/>
              </a:ext>
            </a:extLst>
          </p:cNvPr>
          <p:cNvSpPr txBox="1"/>
          <p:nvPr/>
        </p:nvSpPr>
        <p:spPr>
          <a:xfrm>
            <a:off x="6618293" y="1453530"/>
            <a:ext cx="2950075" cy="338554"/>
          </a:xfrm>
          <a:prstGeom prst="rect">
            <a:avLst/>
          </a:prstGeom>
          <a:noFill/>
        </p:spPr>
        <p:txBody>
          <a:bodyPr wrap="square" rtlCol="0">
            <a:spAutoFit/>
          </a:bodyPr>
          <a:lstStyle/>
          <a:p>
            <a:r>
              <a:rPr lang="ja-JP" altLang="en-US" sz="1600" b="1" dirty="0">
                <a:latin typeface="Meiryo UI" panose="020B0604030504040204" pitchFamily="50" charset="-128"/>
                <a:ea typeface="Meiryo UI" panose="020B0604030504040204" pitchFamily="50" charset="-128"/>
                <a:cs typeface="Meiryo UI" panose="020B0604030504040204" pitchFamily="50" charset="-128"/>
              </a:rPr>
              <a:t>海外進出に向けた支援</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9" name="直線矢印コネクタ 28">
            <a:extLst>
              <a:ext uri="{FF2B5EF4-FFF2-40B4-BE49-F238E27FC236}">
                <a16:creationId xmlns:a16="http://schemas.microsoft.com/office/drawing/2014/main" id="{B87B6983-F99F-43C8-843E-C4D933D0414F}"/>
              </a:ext>
            </a:extLst>
          </p:cNvPr>
          <p:cNvCxnSpPr>
            <a:cxnSpLocks/>
          </p:cNvCxnSpPr>
          <p:nvPr/>
        </p:nvCxnSpPr>
        <p:spPr>
          <a:xfrm>
            <a:off x="6642403" y="4240186"/>
            <a:ext cx="297418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9CC0404D-3AC8-4806-8372-D386C3FCF525}"/>
              </a:ext>
            </a:extLst>
          </p:cNvPr>
          <p:cNvSpPr txBox="1"/>
          <p:nvPr/>
        </p:nvSpPr>
        <p:spPr>
          <a:xfrm>
            <a:off x="6642403" y="3896225"/>
            <a:ext cx="2950075" cy="338554"/>
          </a:xfrm>
          <a:prstGeom prst="rect">
            <a:avLst/>
          </a:prstGeom>
          <a:noFill/>
        </p:spPr>
        <p:txBody>
          <a:bodyPr wrap="square" rtlCol="0">
            <a:spAutoFit/>
          </a:bodyPr>
          <a:lstStyle/>
          <a:p>
            <a:r>
              <a:rPr lang="ja-JP" altLang="en-US" sz="1600" b="1" dirty="0">
                <a:latin typeface="Meiryo UI" panose="020B0604030504040204" pitchFamily="50" charset="-128"/>
                <a:ea typeface="Meiryo UI" panose="020B0604030504040204" pitchFamily="50" charset="-128"/>
                <a:cs typeface="Meiryo UI" panose="020B0604030504040204" pitchFamily="50" charset="-128"/>
              </a:rPr>
              <a:t>海外</a:t>
            </a:r>
            <a:r>
              <a:rPr lang="en-US" altLang="ja-JP" sz="1600" b="1" dirty="0">
                <a:latin typeface="Meiryo UI" panose="020B0604030504040204" pitchFamily="50" charset="-128"/>
                <a:ea typeface="Meiryo UI" panose="020B0604030504040204" pitchFamily="50" charset="-128"/>
                <a:cs typeface="Meiryo UI" panose="020B0604030504040204" pitchFamily="50" charset="-128"/>
              </a:rPr>
              <a:t>SU</a:t>
            </a:r>
            <a:r>
              <a:rPr lang="ja-JP" altLang="en-US" sz="1600" b="1" dirty="0">
                <a:latin typeface="Meiryo UI" panose="020B0604030504040204" pitchFamily="50" charset="-128"/>
                <a:ea typeface="Meiryo UI" panose="020B0604030504040204" pitchFamily="50" charset="-128"/>
                <a:cs typeface="Meiryo UI" panose="020B0604030504040204" pitchFamily="50" charset="-128"/>
              </a:rPr>
              <a:t>、</a:t>
            </a:r>
            <a:r>
              <a:rPr lang="en-US" altLang="ja-JP" sz="1600" b="1" dirty="0">
                <a:latin typeface="Meiryo UI" panose="020B0604030504040204" pitchFamily="50" charset="-128"/>
                <a:ea typeface="Meiryo UI" panose="020B0604030504040204" pitchFamily="50" charset="-128"/>
                <a:cs typeface="Meiryo UI" panose="020B0604030504040204" pitchFamily="50" charset="-128"/>
              </a:rPr>
              <a:t>VC</a:t>
            </a:r>
            <a:r>
              <a:rPr lang="ja-JP" altLang="en-US" sz="1600" b="1" dirty="0">
                <a:latin typeface="Meiryo UI" panose="020B0604030504040204" pitchFamily="50" charset="-128"/>
                <a:ea typeface="Meiryo UI" panose="020B0604030504040204" pitchFamily="50" charset="-128"/>
                <a:cs typeface="Meiryo UI" panose="020B0604030504040204" pitchFamily="50" charset="-128"/>
              </a:rPr>
              <a:t>活動定着の支援</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a:extLst>
              <a:ext uri="{FF2B5EF4-FFF2-40B4-BE49-F238E27FC236}">
                <a16:creationId xmlns:a16="http://schemas.microsoft.com/office/drawing/2014/main" id="{E36E4793-59A5-4C47-B66A-3B7A3C0837DA}"/>
              </a:ext>
            </a:extLst>
          </p:cNvPr>
          <p:cNvSpPr/>
          <p:nvPr/>
        </p:nvSpPr>
        <p:spPr bwMode="auto">
          <a:xfrm>
            <a:off x="324991" y="5801617"/>
            <a:ext cx="3182370" cy="357290"/>
          </a:xfrm>
          <a:prstGeom prst="rect">
            <a:avLst/>
          </a:prstGeom>
          <a:noFill/>
          <a:ln w="9525">
            <a:noFill/>
            <a:miter lim="800000"/>
            <a:headEnd/>
            <a:tailEnd/>
          </a:ln>
          <a:effectLst/>
        </p:spPr>
        <p:txBody>
          <a:bodyPr wrap="square" rtlCol="0" anchor="ctr"/>
          <a:lstStyle/>
          <a:p>
            <a:r>
              <a:rPr kumimoji="0" lang="ja-JP" altLang="en-US" sz="1050" dirty="0">
                <a:latin typeface="Meiryo UI" panose="020B0604030504040204" pitchFamily="50" charset="-128"/>
                <a:ea typeface="Meiryo UI" panose="020B0604030504040204" pitchFamily="50" charset="-128"/>
              </a:rPr>
              <a:t>・万博で披露された技術の実装化における成果や進捗を国内外に発信</a:t>
            </a:r>
            <a:endParaRPr kumimoji="0" lang="en-US" altLang="ja-JP" sz="1050" dirty="0">
              <a:latin typeface="Meiryo UI" panose="020B0604030504040204" pitchFamily="50" charset="-128"/>
              <a:ea typeface="Meiryo UI" panose="020B0604030504040204" pitchFamily="50" charset="-128"/>
            </a:endParaRPr>
          </a:p>
        </p:txBody>
      </p:sp>
      <p:sp>
        <p:nvSpPr>
          <p:cNvPr id="28" name="四角形: 角を丸くする 27">
            <a:extLst>
              <a:ext uri="{FF2B5EF4-FFF2-40B4-BE49-F238E27FC236}">
                <a16:creationId xmlns:a16="http://schemas.microsoft.com/office/drawing/2014/main" id="{42C54B41-9D68-4A70-938C-610DF8B7CFEC}"/>
              </a:ext>
            </a:extLst>
          </p:cNvPr>
          <p:cNvSpPr/>
          <p:nvPr/>
        </p:nvSpPr>
        <p:spPr bwMode="auto">
          <a:xfrm>
            <a:off x="6463175" y="3290521"/>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30" name="四角形: 角を丸くする 29">
            <a:extLst>
              <a:ext uri="{FF2B5EF4-FFF2-40B4-BE49-F238E27FC236}">
                <a16:creationId xmlns:a16="http://schemas.microsoft.com/office/drawing/2014/main" id="{7689DF4E-C5B9-484F-8E70-4A4BAE412017}"/>
              </a:ext>
            </a:extLst>
          </p:cNvPr>
          <p:cNvSpPr/>
          <p:nvPr/>
        </p:nvSpPr>
        <p:spPr bwMode="auto">
          <a:xfrm>
            <a:off x="6463175" y="2934062"/>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34" name="四角形: 角を丸くする 33">
            <a:extLst>
              <a:ext uri="{FF2B5EF4-FFF2-40B4-BE49-F238E27FC236}">
                <a16:creationId xmlns:a16="http://schemas.microsoft.com/office/drawing/2014/main" id="{5FB5940B-7771-4198-840B-7A66E0D4B757}"/>
              </a:ext>
            </a:extLst>
          </p:cNvPr>
          <p:cNvSpPr/>
          <p:nvPr/>
        </p:nvSpPr>
        <p:spPr bwMode="auto">
          <a:xfrm>
            <a:off x="6442627" y="4376000"/>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51DAC92-BEBB-43D9-9B16-00D5A18868E7}"/>
              </a:ext>
            </a:extLst>
          </p:cNvPr>
          <p:cNvSpPr/>
          <p:nvPr/>
        </p:nvSpPr>
        <p:spPr bwMode="auto">
          <a:xfrm>
            <a:off x="6683447" y="5505091"/>
            <a:ext cx="3333856" cy="1066326"/>
          </a:xfrm>
          <a:prstGeom prst="rect">
            <a:avLst/>
          </a:prstGeom>
          <a:noFill/>
          <a:ln w="9525">
            <a:noFill/>
            <a:miter lim="800000"/>
            <a:headEnd/>
            <a:tailEnd/>
          </a:ln>
          <a:effectLst/>
        </p:spPr>
        <p:txBody>
          <a:bodyPr wrap="square" rtlCol="0" anchor="t" anchorCtr="0"/>
          <a:lstStyle/>
          <a:p>
            <a:r>
              <a:rPr kumimoji="0" lang="ja-JP" altLang="en-US" sz="1050" dirty="0">
                <a:latin typeface="Meiryo UI" panose="020B0604030504040204" pitchFamily="50" charset="-128"/>
                <a:ea typeface="Meiryo UI" panose="020B0604030504040204" pitchFamily="50" charset="-128"/>
              </a:rPr>
              <a:t>・ピッチコンテスト受賞者に対し、実装化機能による大阪・</a:t>
            </a:r>
            <a:endParaRPr kumimoji="0" lang="en-US" altLang="ja-JP" sz="105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関西での社会実装を支援</a:t>
            </a:r>
            <a:endParaRPr kumimoji="0" lang="en-US" altLang="ja-JP" sz="1050" dirty="0">
              <a:latin typeface="Meiryo UI" panose="020B0604030504040204" pitchFamily="50" charset="-128"/>
              <a:ea typeface="Meiryo UI" panose="020B0604030504040204" pitchFamily="50" charset="-128"/>
            </a:endParaRPr>
          </a:p>
          <a:p>
            <a:endParaRPr kumimoji="0" lang="en-US" altLang="ja-JP" sz="6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官民実証推進チーム等による国内外スタートアップの社会実証を支援</a:t>
            </a:r>
            <a:endParaRPr kumimoji="0" lang="en-US" altLang="ja-JP" sz="1050" dirty="0">
              <a:latin typeface="Meiryo UI" panose="020B0604030504040204" pitchFamily="50" charset="-128"/>
              <a:ea typeface="Meiryo UI" panose="020B0604030504040204" pitchFamily="50" charset="-128"/>
            </a:endParaRPr>
          </a:p>
          <a:p>
            <a:endParaRPr kumimoji="0" lang="en-US" altLang="ja-JP" sz="60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関西インキュベーションプログラム「起動」を通じた国内</a:t>
            </a:r>
            <a:endParaRPr kumimoji="0" lang="en-US" altLang="ja-JP" sz="105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大手企業等との協業による社会実装、事業化・成長</a:t>
            </a:r>
            <a:endParaRPr kumimoji="0" lang="en-US" altLang="ja-JP" sz="1050" dirty="0">
              <a:latin typeface="Meiryo UI" panose="020B0604030504040204" pitchFamily="50" charset="-128"/>
              <a:ea typeface="Meiryo UI" panose="020B0604030504040204" pitchFamily="50" charset="-128"/>
            </a:endParaRPr>
          </a:p>
          <a:p>
            <a:r>
              <a:rPr kumimoji="0" lang="ja-JP" altLang="en-US" sz="1050" dirty="0">
                <a:latin typeface="Meiryo UI" panose="020B0604030504040204" pitchFamily="50" charset="-128"/>
                <a:ea typeface="Meiryo UI" panose="020B0604030504040204" pitchFamily="50" charset="-128"/>
              </a:rPr>
              <a:t>支援</a:t>
            </a:r>
            <a:endParaRPr kumimoji="0" lang="en-US" altLang="ja-JP" sz="1050" dirty="0">
              <a:latin typeface="Meiryo UI" panose="020B0604030504040204" pitchFamily="50" charset="-128"/>
              <a:ea typeface="Meiryo UI" panose="020B0604030504040204" pitchFamily="50" charset="-128"/>
            </a:endParaRPr>
          </a:p>
        </p:txBody>
      </p:sp>
      <p:sp>
        <p:nvSpPr>
          <p:cNvPr id="37" name="四角形: 角を丸くする 36">
            <a:extLst>
              <a:ext uri="{FF2B5EF4-FFF2-40B4-BE49-F238E27FC236}">
                <a16:creationId xmlns:a16="http://schemas.microsoft.com/office/drawing/2014/main" id="{614B820E-214E-44B1-944D-62FDF91A2645}"/>
              </a:ext>
            </a:extLst>
          </p:cNvPr>
          <p:cNvSpPr/>
          <p:nvPr/>
        </p:nvSpPr>
        <p:spPr bwMode="auto">
          <a:xfrm>
            <a:off x="6442627" y="4743807"/>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cxnSp>
        <p:nvCxnSpPr>
          <p:cNvPr id="42" name="直線矢印コネクタ 41">
            <a:extLst>
              <a:ext uri="{FF2B5EF4-FFF2-40B4-BE49-F238E27FC236}">
                <a16:creationId xmlns:a16="http://schemas.microsoft.com/office/drawing/2014/main" id="{0B8EBE7C-29C6-426C-9E28-6B9700692CEB}"/>
              </a:ext>
            </a:extLst>
          </p:cNvPr>
          <p:cNvCxnSpPr>
            <a:cxnSpLocks/>
          </p:cNvCxnSpPr>
          <p:nvPr/>
        </p:nvCxnSpPr>
        <p:spPr>
          <a:xfrm>
            <a:off x="6701027" y="5455259"/>
            <a:ext cx="297418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3955EA00-135E-43E6-BA55-989ABAFB2418}"/>
              </a:ext>
            </a:extLst>
          </p:cNvPr>
          <p:cNvSpPr txBox="1"/>
          <p:nvPr/>
        </p:nvSpPr>
        <p:spPr>
          <a:xfrm>
            <a:off x="6666513" y="5116705"/>
            <a:ext cx="2950075" cy="338554"/>
          </a:xfrm>
          <a:prstGeom prst="rect">
            <a:avLst/>
          </a:prstGeom>
          <a:noFill/>
        </p:spPr>
        <p:txBody>
          <a:bodyPr wrap="square" rtlCol="0">
            <a:spAutoFit/>
          </a:bodyPr>
          <a:lstStyle/>
          <a:p>
            <a:r>
              <a:rPr lang="ja-JP" altLang="en-US" sz="1600" b="1" dirty="0">
                <a:latin typeface="Meiryo UI" panose="020B0604030504040204" pitchFamily="50" charset="-128"/>
                <a:ea typeface="Meiryo UI" panose="020B0604030504040204" pitchFamily="50" charset="-128"/>
                <a:cs typeface="Meiryo UI" panose="020B0604030504040204" pitchFamily="50" charset="-128"/>
              </a:rPr>
              <a:t>実証、実装化に向けた支援</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四角形: 角を丸くする 43">
            <a:extLst>
              <a:ext uri="{FF2B5EF4-FFF2-40B4-BE49-F238E27FC236}">
                <a16:creationId xmlns:a16="http://schemas.microsoft.com/office/drawing/2014/main" id="{D5903F2F-4887-424A-A3E1-AE8881076F27}"/>
              </a:ext>
            </a:extLst>
          </p:cNvPr>
          <p:cNvSpPr/>
          <p:nvPr/>
        </p:nvSpPr>
        <p:spPr bwMode="auto">
          <a:xfrm>
            <a:off x="54709" y="3229519"/>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45" name="四角形: 角を丸くする 44">
            <a:extLst>
              <a:ext uri="{FF2B5EF4-FFF2-40B4-BE49-F238E27FC236}">
                <a16:creationId xmlns:a16="http://schemas.microsoft.com/office/drawing/2014/main" id="{CDB64B1E-DC8E-4E72-A094-56AE89204923}"/>
              </a:ext>
            </a:extLst>
          </p:cNvPr>
          <p:cNvSpPr/>
          <p:nvPr/>
        </p:nvSpPr>
        <p:spPr bwMode="auto">
          <a:xfrm>
            <a:off x="6442627" y="5559763"/>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46" name="四角形: 角を丸くする 45">
            <a:extLst>
              <a:ext uri="{FF2B5EF4-FFF2-40B4-BE49-F238E27FC236}">
                <a16:creationId xmlns:a16="http://schemas.microsoft.com/office/drawing/2014/main" id="{91EF0CBA-9359-4CAC-8741-2B2B558DDA76}"/>
              </a:ext>
            </a:extLst>
          </p:cNvPr>
          <p:cNvSpPr/>
          <p:nvPr/>
        </p:nvSpPr>
        <p:spPr bwMode="auto">
          <a:xfrm>
            <a:off x="64033" y="4590628"/>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47" name="四角形: 角を丸くする 46">
            <a:extLst>
              <a:ext uri="{FF2B5EF4-FFF2-40B4-BE49-F238E27FC236}">
                <a16:creationId xmlns:a16="http://schemas.microsoft.com/office/drawing/2014/main" id="{701E8709-5A9C-4F78-8E1A-7FB82F85E885}"/>
              </a:ext>
            </a:extLst>
          </p:cNvPr>
          <p:cNvSpPr/>
          <p:nvPr/>
        </p:nvSpPr>
        <p:spPr bwMode="auto">
          <a:xfrm>
            <a:off x="64033" y="5794105"/>
            <a:ext cx="287388" cy="200212"/>
          </a:xfrm>
          <a:prstGeom prst="roundRect">
            <a:avLst/>
          </a:prstGeom>
          <a:solidFill>
            <a:srgbClr val="FAF7B8"/>
          </a:solidFill>
          <a:ln w="9525">
            <a:solidFill>
              <a:srgbClr val="B2B2B2"/>
            </a:solidFill>
            <a:miter lim="800000"/>
            <a:headEnd/>
            <a:tailEnd/>
          </a:ln>
          <a:effectLst/>
        </p:spPr>
        <p:txBody>
          <a:bodyPr wrap="none" rtlCol="0" anchor="ctr"/>
          <a:lstStyle/>
          <a:p>
            <a:pPr algn="ctr"/>
            <a:r>
              <a:rPr kumimoji="0" lang="ja-JP" altLang="en-US" sz="700" dirty="0">
                <a:latin typeface="Meiryo UI" panose="020B0604030504040204" pitchFamily="50" charset="-128"/>
                <a:ea typeface="Meiryo UI" panose="020B0604030504040204" pitchFamily="50" charset="-128"/>
              </a:rPr>
              <a:t>国内初</a:t>
            </a:r>
            <a:endParaRPr kumimoji="0" lang="ja-JP" altLang="en-US" sz="1000" dirty="0">
              <a:latin typeface="Meiryo UI" panose="020B0604030504040204" pitchFamily="50" charset="-128"/>
              <a:ea typeface="Meiryo UI" panose="020B0604030504040204" pitchFamily="50" charset="-128"/>
            </a:endParaRPr>
          </a:p>
        </p:txBody>
      </p:sp>
      <p:sp>
        <p:nvSpPr>
          <p:cNvPr id="48" name="スライド番号プレースホルダー 222211">
            <a:extLst>
              <a:ext uri="{FF2B5EF4-FFF2-40B4-BE49-F238E27FC236}">
                <a16:creationId xmlns:a16="http://schemas.microsoft.com/office/drawing/2014/main" id="{8D28659B-98AA-4CA3-AD42-AEA171188307}"/>
              </a:ext>
            </a:extLst>
          </p:cNvPr>
          <p:cNvSpPr>
            <a:spLocks noGrp="1"/>
          </p:cNvSpPr>
          <p:nvPr>
            <p:ph type="sldNum" sz="quarter" idx="11"/>
          </p:nvPr>
        </p:nvSpPr>
        <p:spPr>
          <a:xfrm>
            <a:off x="7605295" y="6398345"/>
            <a:ext cx="2311400" cy="365125"/>
          </a:xfrm>
        </p:spPr>
        <p:txBody>
          <a:bodyPr/>
          <a:lstStyle/>
          <a:p>
            <a:r>
              <a:rPr lang="en-US" altLang="ja-JP" dirty="0"/>
              <a:t>8</a:t>
            </a:r>
            <a:endParaRPr lang="ja-JP" altLang="en-US" dirty="0"/>
          </a:p>
        </p:txBody>
      </p:sp>
    </p:spTree>
    <p:extLst>
      <p:ext uri="{BB962C8B-B14F-4D97-AF65-F5344CB8AC3E}">
        <p14:creationId xmlns:p14="http://schemas.microsoft.com/office/powerpoint/2010/main" val="395033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B7D664C5-CCAF-421C-963D-506CF0AB2DB4}" vid="{F6C70EF9-1A84-446C-8597-70017663E58C}"/>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7072</Words>
  <Application>Microsoft Office PowerPoint</Application>
  <PresentationFormat>A4 210 x 297 mm</PresentationFormat>
  <Paragraphs>677</Paragraphs>
  <Slides>11</Slides>
  <Notes>1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20" baseType="lpstr">
      <vt:lpstr>BIZ UDPゴシック</vt:lpstr>
      <vt:lpstr>Meiryo UI</vt:lpstr>
      <vt:lpstr>ＭＳ Ｐゴシック</vt:lpstr>
      <vt:lpstr>メイリオ</vt:lpstr>
      <vt:lpstr>Arial</vt:lpstr>
      <vt:lpstr>Calibri</vt:lpstr>
      <vt:lpstr>Wingdings</vt:lpstr>
      <vt:lpstr>【機○・記載例なし】</vt:lpstr>
      <vt:lpstr>think-cell スライド</vt:lpstr>
      <vt:lpstr>Global Startup EXPO ; 2026 提案書</vt:lpstr>
      <vt:lpstr>２-1. 全体ビジョン</vt:lpstr>
      <vt:lpstr>２-2. イベント概要・KPI（GSE2026全体構成）</vt:lpstr>
      <vt:lpstr>２-2. イベント概要・KPI（GSE2026　テーマ・基調講演・セッション）</vt:lpstr>
      <vt:lpstr>２-2. イベント概要・KPI（GSE2026　フロアレイアウト、コンテンツ）</vt:lpstr>
      <vt:lpstr>２-2. イベント概要・KPI（サイドイベント）</vt:lpstr>
      <vt:lpstr>PowerPoint プレゼンテーション</vt:lpstr>
      <vt:lpstr>２-2. イベント概要・KPI（海外ネットワーク（グローバルの強み））</vt:lpstr>
      <vt:lpstr>PowerPoint プレゼンテーション</vt:lpstr>
      <vt:lpstr>２-3. 実施体制（実施体制（実行委員会／プロデューサー）</vt:lpstr>
      <vt:lpstr>２-3. 実施体制（実施体制（過去実績）</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3-08-14T08:04:51Z</dcterms:created>
  <dcterms:modified xsi:type="dcterms:W3CDTF">2026-02-10T02:51:22Z</dcterms:modified>
</cp:coreProperties>
</file>